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2.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3.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765" r:id="rId5"/>
    <p:sldMasterId id="2147484677" r:id="rId6"/>
    <p:sldMasterId id="2147484570" r:id="rId7"/>
    <p:sldMasterId id="2147484449" r:id="rId8"/>
  </p:sldMasterIdLst>
  <p:notesMasterIdLst>
    <p:notesMasterId r:id="rId20"/>
  </p:notesMasterIdLst>
  <p:handoutMasterIdLst>
    <p:handoutMasterId r:id="rId21"/>
  </p:handoutMasterIdLst>
  <p:sldIdLst>
    <p:sldId id="5829" r:id="rId9"/>
    <p:sldId id="5813" r:id="rId10"/>
    <p:sldId id="5833" r:id="rId11"/>
    <p:sldId id="5834" r:id="rId12"/>
    <p:sldId id="5831" r:id="rId13"/>
    <p:sldId id="5858" r:id="rId14"/>
    <p:sldId id="358" r:id="rId15"/>
    <p:sldId id="338" r:id="rId16"/>
    <p:sldId id="5839" r:id="rId17"/>
    <p:sldId id="5817" r:id="rId18"/>
    <p:sldId id="5818" r:id="rId19"/>
  </p:sldIdLst>
  <p:sldSz cx="12192000" cy="6858000"/>
  <p:notesSz cx="7023100" cy="93091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7"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nita Francais" initials="AF" lastIdx="6" clrIdx="6">
    <p:extLst>
      <p:ext uri="{19B8F6BF-5375-455C-9EA6-DF929625EA0E}">
        <p15:presenceInfo xmlns:p15="http://schemas.microsoft.com/office/powerpoint/2012/main" userId="S::afrancais_northhighland.com#ext#@cordence.onmicrosoft.com::1ae14848-b0db-4064-8613-9552e16dc731" providerId="AD"/>
      </p:ext>
    </p:extLst>
  </p:cmAuthor>
  <p:cmAuthor id="1" name="Susana Rodriguez" initials="SR" lastIdx="0" clrIdx="0">
    <p:extLst>
      <p:ext uri="{19B8F6BF-5375-455C-9EA6-DF929625EA0E}">
        <p15:presenceInfo xmlns:p15="http://schemas.microsoft.com/office/powerpoint/2012/main" userId="S-1-5-21-3360281-886071811-1384523041-56011" providerId="AD"/>
      </p:ext>
    </p:extLst>
  </p:cmAuthor>
  <p:cmAuthor id="8" name="Andrew Keene" initials="AK [2]" lastIdx="2" clrIdx="7">
    <p:extLst>
      <p:ext uri="{19B8F6BF-5375-455C-9EA6-DF929625EA0E}">
        <p15:presenceInfo xmlns:p15="http://schemas.microsoft.com/office/powerpoint/2012/main" userId="8c1de1c06cf3c926" providerId="Windows Live"/>
      </p:ext>
    </p:extLst>
  </p:cmAuthor>
  <p:cmAuthor id="2" name="Stephanie Goetschalckx" initials="SG" lastIdx="15" clrIdx="1">
    <p:extLst>
      <p:ext uri="{19B8F6BF-5375-455C-9EA6-DF929625EA0E}">
        <p15:presenceInfo xmlns:p15="http://schemas.microsoft.com/office/powerpoint/2012/main" userId="S::stlee@northhighland.com::f97b13a0-29a9-4091-b88f-8a8ccadba455" providerId="AD"/>
      </p:ext>
    </p:extLst>
  </p:cmAuthor>
  <p:cmAuthor id="3" name="Evelyn Wronkowski" initials="EW" lastIdx="1" clrIdx="2">
    <p:extLst>
      <p:ext uri="{19B8F6BF-5375-455C-9EA6-DF929625EA0E}">
        <p15:presenceInfo xmlns:p15="http://schemas.microsoft.com/office/powerpoint/2012/main" userId="S::ewronkowski_northhighland.com#ext#@cordence.onmicrosoft.com::1bb22176-8d95-4a14-9026-6e404a06287b" providerId="AD"/>
      </p:ext>
    </p:extLst>
  </p:cmAuthor>
  <p:cmAuthor id="4" name="Stephanie Goetschalckx" initials="SG [2]" lastIdx="1" clrIdx="3">
    <p:extLst>
      <p:ext uri="{19B8F6BF-5375-455C-9EA6-DF929625EA0E}">
        <p15:presenceInfo xmlns:p15="http://schemas.microsoft.com/office/powerpoint/2012/main" userId="S::stlee_northhighland.com#ext#@cordence.onmicrosoft.com::1af9896d-3346-40c8-8b77-b7f689dfc9dc" providerId="AD"/>
      </p:ext>
    </p:extLst>
  </p:cmAuthor>
  <p:cmAuthor id="5" name="Alison Williams" initials="AW" lastIdx="5" clrIdx="4">
    <p:extLst>
      <p:ext uri="{19B8F6BF-5375-455C-9EA6-DF929625EA0E}">
        <p15:presenceInfo xmlns:p15="http://schemas.microsoft.com/office/powerpoint/2012/main" userId="S::atrendell@northhighland.com::10c3a105-59e6-415f-9162-8dcbb530dd24" providerId="AD"/>
      </p:ext>
    </p:extLst>
  </p:cmAuthor>
  <p:cmAuthor id="6" name="Andrew Keene" initials="AK" lastIdx="2" clrIdx="5">
    <p:extLst>
      <p:ext uri="{19B8F6BF-5375-455C-9EA6-DF929625EA0E}">
        <p15:presenceInfo xmlns:p15="http://schemas.microsoft.com/office/powerpoint/2012/main" userId="Andrew Keen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573C5"/>
    <a:srgbClr val="2A3469"/>
    <a:srgbClr val="17425A"/>
    <a:srgbClr val="9ECDE0"/>
    <a:srgbClr val="1293C8"/>
    <a:srgbClr val="50A2B4"/>
    <a:srgbClr val="AFD6EB"/>
    <a:srgbClr val="D3D3D3"/>
    <a:srgbClr val="CBD0EB"/>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2F553AC-BBEC-AEF0-A58E-38BE1CE454E0}" v="358" dt="2024-09-08T13:02:53.822"/>
    <p1510:client id="{765A4AE7-8D05-FE54-E68D-913F82578776}" v="42" dt="2024-09-08T08:49:52.252"/>
    <p1510:client id="{76FC0763-5433-47D0-B660-020B52871288}" v="97" dt="2024-09-08T13:25:10.27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384" autoAdjust="0"/>
  </p:normalViewPr>
  <p:slideViewPr>
    <p:cSldViewPr snapToGrid="0">
      <p:cViewPr varScale="1">
        <p:scale>
          <a:sx n="60" d="100"/>
          <a:sy n="60" d="100"/>
        </p:scale>
        <p:origin x="816" y="32"/>
      </p:cViewPr>
      <p:guideLst>
        <p:guide orient="horz" pos="2137"/>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commentAuthors" Target="commentAuthors.xml"/><Relationship Id="rId27"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43343" cy="46545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8133" y="0"/>
            <a:ext cx="3043343" cy="465455"/>
          </a:xfrm>
          <a:prstGeom prst="rect">
            <a:avLst/>
          </a:prstGeom>
        </p:spPr>
        <p:txBody>
          <a:bodyPr vert="horz" lIns="91440" tIns="45720" rIns="91440" bIns="45720" rtlCol="0"/>
          <a:lstStyle>
            <a:lvl1pPr algn="r">
              <a:defRPr sz="1200"/>
            </a:lvl1pPr>
          </a:lstStyle>
          <a:p>
            <a:fld id="{FE864B3D-A617-274B-AFBA-41247C8C317D}" type="datetime1">
              <a:rPr lang="en-US" smtClean="0"/>
              <a:t>17-Sep-24</a:t>
            </a:fld>
            <a:endParaRPr lang="en-US"/>
          </a:p>
        </p:txBody>
      </p:sp>
      <p:sp>
        <p:nvSpPr>
          <p:cNvPr id="4" name="Footer Placeholder 3"/>
          <p:cNvSpPr>
            <a:spLocks noGrp="1"/>
          </p:cNvSpPr>
          <p:nvPr>
            <p:ph type="ftr" sz="quarter" idx="2"/>
          </p:nvPr>
        </p:nvSpPr>
        <p:spPr>
          <a:xfrm>
            <a:off x="1" y="8842029"/>
            <a:ext cx="3043343" cy="46545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8133" y="8842029"/>
            <a:ext cx="3043343" cy="465455"/>
          </a:xfrm>
          <a:prstGeom prst="rect">
            <a:avLst/>
          </a:prstGeom>
        </p:spPr>
        <p:txBody>
          <a:bodyPr vert="horz" lIns="91440" tIns="45720" rIns="91440" bIns="45720" rtlCol="0" anchor="b"/>
          <a:lstStyle>
            <a:lvl1pPr algn="r">
              <a:defRPr sz="1200"/>
            </a:lvl1pPr>
          </a:lstStyle>
          <a:p>
            <a:fld id="{60149A84-E399-9B4E-A4C6-0BD1BC01A6F3}" type="slidenum">
              <a:rPr lang="en-US" smtClean="0"/>
              <a:t>‹#›</a:t>
            </a:fld>
            <a:endParaRPr lang="en-US"/>
          </a:p>
        </p:txBody>
      </p:sp>
    </p:spTree>
    <p:extLst>
      <p:ext uri="{BB962C8B-B14F-4D97-AF65-F5344CB8AC3E}">
        <p14:creationId xmlns:p14="http://schemas.microsoft.com/office/powerpoint/2010/main" val="378798610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43343" cy="46545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8133" y="0"/>
            <a:ext cx="3043343" cy="465455"/>
          </a:xfrm>
          <a:prstGeom prst="rect">
            <a:avLst/>
          </a:prstGeom>
        </p:spPr>
        <p:txBody>
          <a:bodyPr vert="horz" lIns="91440" tIns="45720" rIns="91440" bIns="45720" rtlCol="0"/>
          <a:lstStyle>
            <a:lvl1pPr algn="r">
              <a:defRPr sz="1200"/>
            </a:lvl1pPr>
          </a:lstStyle>
          <a:p>
            <a:fld id="{4DF2CC14-DF34-024D-8D5D-F49CE0787F28}" type="datetime1">
              <a:rPr lang="en-US" smtClean="0"/>
              <a:t>17-Sep-24</a:t>
            </a:fld>
            <a:endParaRPr lang="en-US"/>
          </a:p>
        </p:txBody>
      </p:sp>
      <p:sp>
        <p:nvSpPr>
          <p:cNvPr id="4" name="Slide Image Placeholder 3"/>
          <p:cNvSpPr>
            <a:spLocks noGrp="1" noRot="1" noChangeAspect="1"/>
          </p:cNvSpPr>
          <p:nvPr>
            <p:ph type="sldImg" idx="2"/>
          </p:nvPr>
        </p:nvSpPr>
        <p:spPr>
          <a:xfrm>
            <a:off x="409575" y="698500"/>
            <a:ext cx="6203950" cy="3490913"/>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842029"/>
            <a:ext cx="3043343" cy="46545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8133" y="8842029"/>
            <a:ext cx="3043343" cy="465455"/>
          </a:xfrm>
          <a:prstGeom prst="rect">
            <a:avLst/>
          </a:prstGeom>
        </p:spPr>
        <p:txBody>
          <a:bodyPr vert="horz" lIns="91440" tIns="45720" rIns="91440" bIns="45720" rtlCol="0" anchor="b"/>
          <a:lstStyle>
            <a:lvl1pPr algn="r">
              <a:defRPr sz="1200"/>
            </a:lvl1pPr>
          </a:lstStyle>
          <a:p>
            <a:fld id="{5D9B1FCC-6E8E-AD47-A978-C52D97FAB78D}" type="slidenum">
              <a:rPr lang="en-US" smtClean="0"/>
              <a:t>‹#›</a:t>
            </a:fld>
            <a:endParaRPr lang="en-US"/>
          </a:p>
        </p:txBody>
      </p:sp>
    </p:spTree>
    <p:extLst>
      <p:ext uri="{BB962C8B-B14F-4D97-AF65-F5344CB8AC3E}">
        <p14:creationId xmlns:p14="http://schemas.microsoft.com/office/powerpoint/2010/main" val="1925614430"/>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pening Slide</a:t>
            </a:r>
          </a:p>
        </p:txBody>
      </p:sp>
      <p:sp>
        <p:nvSpPr>
          <p:cNvPr id="4" name="Slide Number Placeholder 3"/>
          <p:cNvSpPr>
            <a:spLocks noGrp="1"/>
          </p:cNvSpPr>
          <p:nvPr>
            <p:ph type="sldNum" sz="quarter" idx="5"/>
          </p:nvPr>
        </p:nvSpPr>
        <p:spPr/>
        <p:txBody>
          <a:bodyPr/>
          <a:lstStyle/>
          <a:p>
            <a:fld id="{5D9B1FCC-6E8E-AD47-A978-C52D97FAB78D}" type="slidenum">
              <a:rPr lang="en-US" smtClean="0"/>
              <a:t>1</a:t>
            </a:fld>
            <a:endParaRPr lang="en-US"/>
          </a:p>
        </p:txBody>
      </p:sp>
    </p:spTree>
    <p:extLst>
      <p:ext uri="{BB962C8B-B14F-4D97-AF65-F5344CB8AC3E}">
        <p14:creationId xmlns:p14="http://schemas.microsoft.com/office/powerpoint/2010/main" val="17804029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7AB2505-4129-CA4B-ACF7-5F39B8AE13C0}" type="slidenum">
              <a:rPr lang="en-US" smtClean="0"/>
              <a:pPr/>
              <a:t>10</a:t>
            </a:fld>
            <a:endParaRPr lang="en-US"/>
          </a:p>
        </p:txBody>
      </p:sp>
    </p:spTree>
    <p:extLst>
      <p:ext uri="{BB962C8B-B14F-4D97-AF65-F5344CB8AC3E}">
        <p14:creationId xmlns:p14="http://schemas.microsoft.com/office/powerpoint/2010/main" val="7683949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11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4.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4.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8.png"/><Relationship Id="rId4" Type="http://schemas.openxmlformats.org/officeDocument/2006/relationships/image" Target="../media/image7.jpeg"/></Relationships>
</file>

<file path=ppt/slideLayouts/_rels/slideLayout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2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3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1.png"/></Relationships>
</file>

<file path=ppt/slideLayouts/_rels/slideLayout3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Master" Target="../slideMasters/slideMaster2.xml"/><Relationship Id="rId5" Type="http://schemas.openxmlformats.org/officeDocument/2006/relationships/image" Target="../media/image8.png"/><Relationship Id="rId4" Type="http://schemas.openxmlformats.org/officeDocument/2006/relationships/image" Target="../media/image7.jpeg"/></Relationships>
</file>

<file path=ppt/slideLayouts/_rels/slideLayout5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5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12.jpeg"/></Relationships>
</file>

<file path=ppt/slideLayouts/_rels/slideLayout7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12.jpe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 Id="rId5" Type="http://schemas.openxmlformats.org/officeDocument/2006/relationships/image" Target="../media/image13.svg"/><Relationship Id="rId4" Type="http://schemas.openxmlformats.org/officeDocument/2006/relationships/image" Target="../media/image4.png"/></Relationships>
</file>

<file path=ppt/slideLayouts/_rels/slideLayout7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ntent Slide - 04A">
    <p:spTree>
      <p:nvGrpSpPr>
        <p:cNvPr id="1" name=""/>
        <p:cNvGrpSpPr/>
        <p:nvPr/>
      </p:nvGrpSpPr>
      <p:grpSpPr>
        <a:xfrm>
          <a:off x="0" y="0"/>
          <a:ext cx="0" cy="0"/>
          <a:chOff x="0" y="0"/>
          <a:chExt cx="0" cy="0"/>
        </a:xfrm>
      </p:grpSpPr>
      <p:sp>
        <p:nvSpPr>
          <p:cNvPr id="16" name="Title 1"/>
          <p:cNvSpPr>
            <a:spLocks noGrp="1"/>
          </p:cNvSpPr>
          <p:nvPr>
            <p:ph type="title"/>
          </p:nvPr>
        </p:nvSpPr>
        <p:spPr>
          <a:xfrm>
            <a:off x="342242" y="194430"/>
            <a:ext cx="11528917" cy="594360"/>
          </a:xfrm>
        </p:spPr>
        <p:txBody>
          <a:bodyPr>
            <a:noAutofit/>
          </a:bodyPr>
          <a:lstStyle>
            <a:lvl1pPr>
              <a:defRPr sz="2585"/>
            </a:lvl1pPr>
          </a:lstStyle>
          <a:p>
            <a:r>
              <a:rPr lang="en-US"/>
              <a:t>Click to edit Master title style</a:t>
            </a:r>
          </a:p>
        </p:txBody>
      </p:sp>
      <p:sp>
        <p:nvSpPr>
          <p:cNvPr id="7" name="Rectangle 6"/>
          <p:cNvSpPr/>
          <p:nvPr userDrawn="1"/>
        </p:nvSpPr>
        <p:spPr>
          <a:xfrm>
            <a:off x="0" y="6766408"/>
            <a:ext cx="12192000" cy="73152"/>
          </a:xfrm>
          <a:prstGeom prst="rect">
            <a:avLst/>
          </a:prstGeom>
          <a:solidFill>
            <a:srgbClr val="1843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6" name="Content Placeholder 2"/>
          <p:cNvSpPr>
            <a:spLocks noGrp="1"/>
          </p:cNvSpPr>
          <p:nvPr>
            <p:ph idx="13"/>
          </p:nvPr>
        </p:nvSpPr>
        <p:spPr>
          <a:xfrm>
            <a:off x="342242" y="801394"/>
            <a:ext cx="11528917" cy="5227769"/>
          </a:xfrm>
        </p:spPr>
        <p:txBody>
          <a:bodyPr>
            <a:noAutofit/>
          </a:bodyPr>
          <a:lstStyle>
            <a:lvl1pPr marL="0" indent="0">
              <a:buFontTx/>
              <a:buNone/>
              <a:defRPr sz="1477"/>
            </a:lvl1pPr>
            <a:lvl2pPr marL="450186" indent="-225092">
              <a:buSzPct val="110000"/>
              <a:buFont typeface="Arial"/>
              <a:buChar char="•"/>
              <a:defRPr sz="1477"/>
            </a:lvl2pPr>
            <a:lvl3pPr marL="900372" indent="-225092">
              <a:buSzPct val="90000"/>
              <a:buFont typeface="Courier New"/>
              <a:buChar char="o"/>
              <a:defRPr sz="1477"/>
            </a:lvl3pPr>
            <a:lvl4pPr marL="1350558" indent="-225092">
              <a:buSzPct val="110000"/>
              <a:buFont typeface="Arial"/>
              <a:buChar char="•"/>
              <a:defRPr sz="1477"/>
            </a:lvl4pPr>
            <a:lvl5pPr marL="1800744" indent="-225092">
              <a:buSzPct val="90000"/>
              <a:buFont typeface="Courier New"/>
              <a:buChar char="o"/>
              <a:defRPr sz="14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60598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able of Contets">
    <p:bg>
      <p:bgPr>
        <a:solidFill>
          <a:srgbClr val="2A3469"/>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42242" y="194430"/>
            <a:ext cx="11528917" cy="594360"/>
          </a:xfrm>
        </p:spPr>
        <p:txBody>
          <a:bodyPr>
            <a:noAutofit/>
          </a:bodyPr>
          <a:lstStyle>
            <a:lvl1pPr>
              <a:defRPr sz="2585">
                <a:solidFill>
                  <a:schemeClr val="bg1"/>
                </a:solidFill>
              </a:defRPr>
            </a:lvl1pPr>
          </a:lstStyle>
          <a:p>
            <a:r>
              <a:rPr lang="en-US"/>
              <a:t>Click to edit Master title style</a:t>
            </a:r>
          </a:p>
        </p:txBody>
      </p:sp>
      <p:sp>
        <p:nvSpPr>
          <p:cNvPr id="3" name="Content Placeholder 2"/>
          <p:cNvSpPr>
            <a:spLocks noGrp="1"/>
          </p:cNvSpPr>
          <p:nvPr>
            <p:ph idx="1"/>
          </p:nvPr>
        </p:nvSpPr>
        <p:spPr>
          <a:xfrm>
            <a:off x="342242" y="801390"/>
            <a:ext cx="11528917" cy="5227768"/>
          </a:xfrm>
        </p:spPr>
        <p:txBody>
          <a:bodyPr>
            <a:noAutofit/>
          </a:bodyPr>
          <a:lstStyle>
            <a:lvl1pPr>
              <a:spcAft>
                <a:spcPts val="738"/>
              </a:spcAft>
              <a:buClr>
                <a:schemeClr val="bg1"/>
              </a:buClr>
              <a:defRPr sz="1969">
                <a:solidFill>
                  <a:schemeClr val="bg1"/>
                </a:solidFill>
              </a:defRPr>
            </a:lvl1pPr>
            <a:lvl2pPr marL="450186">
              <a:buClr>
                <a:schemeClr val="bg1"/>
              </a:buClr>
              <a:defRPr sz="1969">
                <a:solidFill>
                  <a:schemeClr val="bg1"/>
                </a:solidFill>
              </a:defRPr>
            </a:lvl2pPr>
            <a:lvl3pPr marL="900372">
              <a:buClr>
                <a:schemeClr val="bg1"/>
              </a:buClr>
              <a:defRPr sz="1969">
                <a:solidFill>
                  <a:schemeClr val="bg1"/>
                </a:solidFill>
              </a:defRPr>
            </a:lvl3pPr>
            <a:lvl4pPr marL="1350558">
              <a:buClr>
                <a:schemeClr val="bg1"/>
              </a:buClr>
              <a:defRPr sz="1969">
                <a:solidFill>
                  <a:schemeClr val="bg1"/>
                </a:solidFill>
              </a:defRPr>
            </a:lvl4pPr>
            <a:lvl5pPr marL="1800744">
              <a:buClr>
                <a:schemeClr val="bg1"/>
              </a:buClr>
              <a:defRPr sz="196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p:cNvGrpSpPr/>
          <p:nvPr userDrawn="1"/>
        </p:nvGrpSpPr>
        <p:grpSpPr>
          <a:xfrm>
            <a:off x="5" y="6792455"/>
            <a:ext cx="12191999" cy="73745"/>
            <a:chOff x="1" y="6792449"/>
            <a:chExt cx="9143999" cy="73745"/>
          </a:xfrm>
        </p:grpSpPr>
        <p:sp>
          <p:nvSpPr>
            <p:cNvPr id="8" name="Rectangle 7"/>
            <p:cNvSpPr/>
            <p:nvPr/>
          </p:nvSpPr>
          <p:spPr>
            <a:xfrm>
              <a:off x="5486400" y="6792449"/>
              <a:ext cx="1828800" cy="73745"/>
            </a:xfrm>
            <a:prstGeom prst="rect">
              <a:avLst/>
            </a:prstGeom>
            <a:solidFill>
              <a:srgbClr val="1740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9" name="Rectangle 8"/>
            <p:cNvSpPr/>
            <p:nvPr/>
          </p:nvSpPr>
          <p:spPr>
            <a:xfrm>
              <a:off x="1" y="6792449"/>
              <a:ext cx="1828800" cy="73745"/>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0" name="Rectangle 9"/>
            <p:cNvSpPr/>
            <p:nvPr/>
          </p:nvSpPr>
          <p:spPr>
            <a:xfrm>
              <a:off x="1828801" y="6792449"/>
              <a:ext cx="1828800" cy="73745"/>
            </a:xfrm>
            <a:prstGeom prst="rect">
              <a:avLst/>
            </a:prstGeom>
            <a:solidFill>
              <a:srgbClr val="2428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1" name="Rectangle 10"/>
            <p:cNvSpPr/>
            <p:nvPr/>
          </p:nvSpPr>
          <p:spPr>
            <a:xfrm>
              <a:off x="3657601" y="6792450"/>
              <a:ext cx="1828800" cy="73743"/>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2" name="Rectangle 11"/>
            <p:cNvSpPr/>
            <p:nvPr/>
          </p:nvSpPr>
          <p:spPr>
            <a:xfrm>
              <a:off x="7315200" y="6792450"/>
              <a:ext cx="1828800" cy="73743"/>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grpSp>
      <p:sp>
        <p:nvSpPr>
          <p:cNvPr id="14" name="Slide Number Placeholder 5"/>
          <p:cNvSpPr>
            <a:spLocks noGrp="1"/>
          </p:cNvSpPr>
          <p:nvPr>
            <p:ph type="sldNum" sz="quarter" idx="4"/>
          </p:nvPr>
        </p:nvSpPr>
        <p:spPr>
          <a:xfrm>
            <a:off x="342240" y="6356358"/>
            <a:ext cx="2844800" cy="365125"/>
          </a:xfrm>
          <a:prstGeom prst="rect">
            <a:avLst/>
          </a:prstGeom>
        </p:spPr>
        <p:txBody>
          <a:bodyPr vert="horz" lIns="91440" tIns="45720" rIns="91440" bIns="45720" rtlCol="0" anchor="ctr"/>
          <a:lstStyle>
            <a:lvl1pPr algn="l">
              <a:defRPr sz="985" b="1">
                <a:solidFill>
                  <a:schemeClr val="bg1"/>
                </a:solidFill>
              </a:defRPr>
            </a:lvl1pPr>
          </a:lstStyle>
          <a:p>
            <a:fld id="{4F1FA912-FC24-3D46-8310-EAE10B51E2A1}" type="slidenum">
              <a:rPr lang="en-US" smtClean="0"/>
              <a:pPr/>
              <a:t>‹#›</a:t>
            </a:fld>
            <a:endParaRPr lang="en-US"/>
          </a:p>
        </p:txBody>
      </p:sp>
    </p:spTree>
    <p:extLst>
      <p:ext uri="{BB962C8B-B14F-4D97-AF65-F5344CB8AC3E}">
        <p14:creationId xmlns:p14="http://schemas.microsoft.com/office/powerpoint/2010/main" val="37530389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ntent Slide - 05A">
    <p:spTree>
      <p:nvGrpSpPr>
        <p:cNvPr id="1" name=""/>
        <p:cNvGrpSpPr/>
        <p:nvPr/>
      </p:nvGrpSpPr>
      <p:grpSpPr>
        <a:xfrm>
          <a:off x="0" y="0"/>
          <a:ext cx="0" cy="0"/>
          <a:chOff x="0" y="0"/>
          <a:chExt cx="0" cy="0"/>
        </a:xfrm>
      </p:grpSpPr>
      <p:sp>
        <p:nvSpPr>
          <p:cNvPr id="16" name="Title 1"/>
          <p:cNvSpPr>
            <a:spLocks noGrp="1"/>
          </p:cNvSpPr>
          <p:nvPr>
            <p:ph type="title"/>
          </p:nvPr>
        </p:nvSpPr>
        <p:spPr>
          <a:xfrm>
            <a:off x="342242" y="194430"/>
            <a:ext cx="11528917" cy="594360"/>
          </a:xfrm>
        </p:spPr>
        <p:txBody>
          <a:bodyPr>
            <a:noAutofit/>
          </a:bodyPr>
          <a:lstStyle>
            <a:lvl1pPr>
              <a:defRPr sz="2585"/>
            </a:lvl1pPr>
          </a:lstStyle>
          <a:p>
            <a:r>
              <a:rPr lang="en-US"/>
              <a:t>Click to edit Master title style</a:t>
            </a:r>
          </a:p>
        </p:txBody>
      </p:sp>
      <p:sp>
        <p:nvSpPr>
          <p:cNvPr id="7" name="Rectangle 6"/>
          <p:cNvSpPr/>
          <p:nvPr userDrawn="1"/>
        </p:nvSpPr>
        <p:spPr>
          <a:xfrm>
            <a:off x="0" y="6793042"/>
            <a:ext cx="12192000" cy="73152"/>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0" name="Slide Number Placeholder 5"/>
          <p:cNvSpPr>
            <a:spLocks noGrp="1"/>
          </p:cNvSpPr>
          <p:nvPr>
            <p:ph type="sldNum" sz="quarter" idx="4"/>
          </p:nvPr>
        </p:nvSpPr>
        <p:spPr>
          <a:xfrm>
            <a:off x="342240" y="6356358"/>
            <a:ext cx="2844800" cy="365125"/>
          </a:xfrm>
          <a:prstGeom prst="rect">
            <a:avLst/>
          </a:prstGeom>
        </p:spPr>
        <p:txBody>
          <a:bodyPr vert="horz" lIns="91440" tIns="45720" rIns="91440" bIns="45720" rtlCol="0" anchor="ctr"/>
          <a:lstStyle>
            <a:lvl1pPr algn="l">
              <a:defRPr sz="985" b="1">
                <a:solidFill>
                  <a:schemeClr val="tx1"/>
                </a:solidFill>
              </a:defRPr>
            </a:lvl1pPr>
          </a:lstStyle>
          <a:p>
            <a:fld id="{4F1FA912-FC24-3D46-8310-EAE10B51E2A1}" type="slidenum">
              <a:rPr lang="en-US" smtClean="0"/>
              <a:t>‹#›</a:t>
            </a:fld>
            <a:endParaRPr lang="en-US"/>
          </a:p>
        </p:txBody>
      </p:sp>
      <p:sp>
        <p:nvSpPr>
          <p:cNvPr id="6" name="Content Placeholder 2"/>
          <p:cNvSpPr>
            <a:spLocks noGrp="1"/>
          </p:cNvSpPr>
          <p:nvPr>
            <p:ph idx="13"/>
          </p:nvPr>
        </p:nvSpPr>
        <p:spPr>
          <a:xfrm>
            <a:off x="342242" y="801394"/>
            <a:ext cx="11528917" cy="5227769"/>
          </a:xfrm>
        </p:spPr>
        <p:txBody>
          <a:bodyPr>
            <a:noAutofit/>
          </a:bodyPr>
          <a:lstStyle>
            <a:lvl1pPr marL="0" indent="0">
              <a:buFontTx/>
              <a:buNone/>
              <a:defRPr sz="1477"/>
            </a:lvl1pPr>
            <a:lvl2pPr marL="450186" indent="-225092">
              <a:buSzPct val="110000"/>
              <a:buFont typeface="Arial"/>
              <a:buChar char="•"/>
              <a:defRPr sz="1477"/>
            </a:lvl2pPr>
            <a:lvl3pPr marL="900372" indent="-225092">
              <a:buSzPct val="90000"/>
              <a:buFont typeface="Courier New"/>
              <a:buChar char="o"/>
              <a:defRPr sz="1477"/>
            </a:lvl3pPr>
            <a:lvl4pPr marL="1350558" indent="-225092">
              <a:buSzPct val="110000"/>
              <a:buFont typeface="Arial"/>
              <a:buChar char="•"/>
              <a:defRPr sz="1477"/>
            </a:lvl4pPr>
            <a:lvl5pPr marL="1800744" indent="-225092">
              <a:buSzPct val="90000"/>
              <a:buFont typeface="Courier New"/>
              <a:buChar char="o"/>
              <a:defRPr sz="14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605988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ent Slide - 05B">
    <p:spTree>
      <p:nvGrpSpPr>
        <p:cNvPr id="1" name=""/>
        <p:cNvGrpSpPr/>
        <p:nvPr/>
      </p:nvGrpSpPr>
      <p:grpSpPr>
        <a:xfrm>
          <a:off x="0" y="0"/>
          <a:ext cx="0" cy="0"/>
          <a:chOff x="0" y="0"/>
          <a:chExt cx="0" cy="0"/>
        </a:xfrm>
      </p:grpSpPr>
      <p:sp>
        <p:nvSpPr>
          <p:cNvPr id="16" name="Title 1"/>
          <p:cNvSpPr>
            <a:spLocks noGrp="1"/>
          </p:cNvSpPr>
          <p:nvPr>
            <p:ph type="title"/>
          </p:nvPr>
        </p:nvSpPr>
        <p:spPr>
          <a:xfrm>
            <a:off x="342242" y="194436"/>
            <a:ext cx="11528917" cy="394087"/>
          </a:xfrm>
        </p:spPr>
        <p:txBody>
          <a:bodyPr>
            <a:noAutofit/>
          </a:bodyPr>
          <a:lstStyle>
            <a:lvl1pPr>
              <a:defRPr sz="2585"/>
            </a:lvl1pPr>
          </a:lstStyle>
          <a:p>
            <a:r>
              <a:rPr lang="en-US"/>
              <a:t>Click to edit Master title style</a:t>
            </a:r>
          </a:p>
        </p:txBody>
      </p:sp>
      <p:sp>
        <p:nvSpPr>
          <p:cNvPr id="3" name="Text Placeholder 2"/>
          <p:cNvSpPr>
            <a:spLocks noGrp="1"/>
          </p:cNvSpPr>
          <p:nvPr>
            <p:ph type="body" sz="quarter" idx="14"/>
          </p:nvPr>
        </p:nvSpPr>
        <p:spPr>
          <a:xfrm>
            <a:off x="342243" y="601885"/>
            <a:ext cx="11540737" cy="373062"/>
          </a:xfrm>
        </p:spPr>
        <p:txBody>
          <a:bodyPr/>
          <a:lstStyle>
            <a:lvl1pPr marL="0" indent="0">
              <a:buNone/>
              <a:defRPr>
                <a:solidFill>
                  <a:schemeClr val="tx1">
                    <a:lumMod val="50000"/>
                    <a:lumOff val="50000"/>
                  </a:schemeClr>
                </a:solidFill>
              </a:defRPr>
            </a:lvl1pPr>
            <a:lvl2pPr marL="675278" indent="0">
              <a:buNone/>
              <a:defRPr/>
            </a:lvl2pPr>
            <a:lvl3pPr marL="1181738" indent="0">
              <a:buNone/>
              <a:defRPr/>
            </a:lvl3pPr>
            <a:lvl4pPr marL="1744472" indent="0">
              <a:buNone/>
              <a:defRPr/>
            </a:lvl4pPr>
            <a:lvl5pPr marL="2307205" indent="0">
              <a:buNone/>
              <a:defRPr/>
            </a:lvl5pPr>
          </a:lstStyle>
          <a:p>
            <a:pPr lvl="0"/>
            <a:r>
              <a:rPr lang="en-US"/>
              <a:t>Click to edit Master text styles</a:t>
            </a:r>
          </a:p>
        </p:txBody>
      </p:sp>
      <p:sp>
        <p:nvSpPr>
          <p:cNvPr id="9" name="Rectangle 8"/>
          <p:cNvSpPr/>
          <p:nvPr userDrawn="1"/>
        </p:nvSpPr>
        <p:spPr>
          <a:xfrm>
            <a:off x="0" y="6793042"/>
            <a:ext cx="12192000" cy="73152"/>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0" name="Slide Number Placeholder 5"/>
          <p:cNvSpPr>
            <a:spLocks noGrp="1"/>
          </p:cNvSpPr>
          <p:nvPr>
            <p:ph type="sldNum" sz="quarter" idx="4"/>
          </p:nvPr>
        </p:nvSpPr>
        <p:spPr>
          <a:xfrm>
            <a:off x="342240" y="6356358"/>
            <a:ext cx="2844800" cy="365125"/>
          </a:xfrm>
          <a:prstGeom prst="rect">
            <a:avLst/>
          </a:prstGeom>
        </p:spPr>
        <p:txBody>
          <a:bodyPr vert="horz" lIns="91440" tIns="45720" rIns="91440" bIns="45720" rtlCol="0" anchor="ctr"/>
          <a:lstStyle>
            <a:lvl1pPr algn="l">
              <a:defRPr sz="985" b="1">
                <a:solidFill>
                  <a:schemeClr val="tx1"/>
                </a:solidFill>
              </a:defRPr>
            </a:lvl1pPr>
          </a:lstStyle>
          <a:p>
            <a:fld id="{4F1FA912-FC24-3D46-8310-EAE10B51E2A1}" type="slidenum">
              <a:rPr lang="en-US" smtClean="0"/>
              <a:t>‹#›</a:t>
            </a:fld>
            <a:endParaRPr lang="en-US"/>
          </a:p>
        </p:txBody>
      </p:sp>
      <p:sp>
        <p:nvSpPr>
          <p:cNvPr id="11" name="Content Placeholder 2"/>
          <p:cNvSpPr>
            <a:spLocks noGrp="1"/>
          </p:cNvSpPr>
          <p:nvPr>
            <p:ph idx="13" hasCustomPrompt="1"/>
          </p:nvPr>
        </p:nvSpPr>
        <p:spPr>
          <a:xfrm>
            <a:off x="342242" y="1231903"/>
            <a:ext cx="11528917" cy="4797261"/>
          </a:xfrm>
        </p:spPr>
        <p:txBody>
          <a:bodyPr>
            <a:noAutofit/>
          </a:bodyPr>
          <a:lstStyle>
            <a:lvl1pPr marL="0" indent="0">
              <a:spcAft>
                <a:spcPts val="1231"/>
              </a:spcAft>
              <a:buFontTx/>
              <a:buNone/>
              <a:defRPr sz="1477" b="1">
                <a:solidFill>
                  <a:srgbClr val="1573C5"/>
                </a:solidFill>
              </a:defRPr>
            </a:lvl1pPr>
            <a:lvl2pPr marL="0" indent="0">
              <a:buSzPct val="110000"/>
              <a:buFont typeface="Arial"/>
              <a:buNone/>
              <a:defRPr sz="1477"/>
            </a:lvl2pPr>
            <a:lvl3pPr marL="450186" indent="-225092">
              <a:buSzPct val="110000"/>
              <a:buFont typeface="Arial"/>
              <a:buChar char="•"/>
              <a:defRPr sz="1477"/>
            </a:lvl3pPr>
            <a:lvl4pPr marL="900372" indent="-225092">
              <a:buSzPct val="90000"/>
              <a:buFont typeface="Courier New"/>
              <a:buChar char="o"/>
              <a:defRPr sz="1477"/>
            </a:lvl4pPr>
            <a:lvl5pPr marL="1350558" indent="-225092">
              <a:buSzPct val="110000"/>
              <a:buFont typeface="Arial"/>
              <a:buChar char="•"/>
              <a:defRPr sz="14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562499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Break - Blue 01">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BEEE3D23-30C1-F34A-B827-52BBC0B19443}" type="slidenum">
              <a:rPr lang="en-US" smtClean="0"/>
              <a:t>‹#›</a:t>
            </a:fld>
            <a:endParaRPr lang="en-US"/>
          </a:p>
        </p:txBody>
      </p:sp>
      <p:sp>
        <p:nvSpPr>
          <p:cNvPr id="8" name="Rectangle 7"/>
          <p:cNvSpPr/>
          <p:nvPr userDrawn="1"/>
        </p:nvSpPr>
        <p:spPr>
          <a:xfrm>
            <a:off x="-1" y="2078182"/>
            <a:ext cx="12191999" cy="2514600"/>
          </a:xfrm>
          <a:prstGeom prst="rect">
            <a:avLst/>
          </a:prstGeom>
          <a:gradFill flip="none" rotWithShape="1">
            <a:gsLst>
              <a:gs pos="0">
                <a:srgbClr val="0E6BB9">
                  <a:alpha val="85000"/>
                </a:srgbClr>
              </a:gs>
              <a:gs pos="100000">
                <a:srgbClr val="1055AA"/>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9" name="Rectangle 8"/>
          <p:cNvSpPr/>
          <p:nvPr userDrawn="1"/>
        </p:nvSpPr>
        <p:spPr>
          <a:xfrm>
            <a:off x="0" y="4532998"/>
            <a:ext cx="12192000" cy="73152"/>
          </a:xfrm>
          <a:prstGeom prst="rect">
            <a:avLst/>
          </a:prstGeom>
          <a:solidFill>
            <a:srgbClr val="5AA2A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cxnSp>
        <p:nvCxnSpPr>
          <p:cNvPr id="10" name="Straight Connector 9"/>
          <p:cNvCxnSpPr/>
          <p:nvPr userDrawn="1"/>
        </p:nvCxnSpPr>
        <p:spPr>
          <a:xfrm>
            <a:off x="472791" y="2753758"/>
            <a:ext cx="4174448"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324851" y="2824376"/>
            <a:ext cx="5949402" cy="1346575"/>
          </a:xfrm>
        </p:spPr>
        <p:txBody>
          <a:bodyPr>
            <a:noAutofit/>
          </a:bodyPr>
          <a:lstStyle>
            <a:lvl1pPr>
              <a:defRPr sz="3939">
                <a:solidFill>
                  <a:schemeClr val="bg1"/>
                </a:solidFill>
              </a:defRPr>
            </a:lvl1pPr>
          </a:lstStyle>
          <a:p>
            <a:r>
              <a:rPr lang="en-US"/>
              <a:t>Click to edit Master title style</a:t>
            </a:r>
          </a:p>
        </p:txBody>
      </p:sp>
    </p:spTree>
    <p:extLst>
      <p:ext uri="{BB962C8B-B14F-4D97-AF65-F5344CB8AC3E}">
        <p14:creationId xmlns:p14="http://schemas.microsoft.com/office/powerpoint/2010/main" val="163259310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Break - Blue 0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9441407B-9616-429E-9B34-B916AF0BA336}"/>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rcRect/>
          <a:stretch/>
        </p:blipFill>
        <p:spPr>
          <a:xfrm>
            <a:off x="0" y="2078183"/>
            <a:ext cx="12192000" cy="2527968"/>
          </a:xfrm>
          <a:prstGeom prst="rect">
            <a:avLst/>
          </a:prstGeom>
        </p:spPr>
      </p:pic>
      <p:sp>
        <p:nvSpPr>
          <p:cNvPr id="7" name="Slide Number Placeholder 6"/>
          <p:cNvSpPr>
            <a:spLocks noGrp="1"/>
          </p:cNvSpPr>
          <p:nvPr>
            <p:ph type="sldNum" sz="quarter" idx="12"/>
          </p:nvPr>
        </p:nvSpPr>
        <p:spPr/>
        <p:txBody>
          <a:bodyPr/>
          <a:lstStyle/>
          <a:p>
            <a:fld id="{BEEE3D23-30C1-F34A-B827-52BBC0B19443}" type="slidenum">
              <a:rPr lang="en-US" smtClean="0"/>
              <a:t>‹#›</a:t>
            </a:fld>
            <a:endParaRPr lang="en-US"/>
          </a:p>
        </p:txBody>
      </p:sp>
      <p:sp>
        <p:nvSpPr>
          <p:cNvPr id="8" name="Rectangle 7"/>
          <p:cNvSpPr/>
          <p:nvPr userDrawn="1"/>
        </p:nvSpPr>
        <p:spPr>
          <a:xfrm>
            <a:off x="0" y="2078182"/>
            <a:ext cx="12192000" cy="2514600"/>
          </a:xfrm>
          <a:prstGeom prst="rect">
            <a:avLst/>
          </a:prstGeom>
          <a:gradFill flip="none" rotWithShape="1">
            <a:gsLst>
              <a:gs pos="0">
                <a:srgbClr val="0E6BB9">
                  <a:alpha val="85000"/>
                </a:srgbClr>
              </a:gs>
              <a:gs pos="100000">
                <a:srgbClr val="1055AA"/>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9" name="Rectangle 8"/>
          <p:cNvSpPr/>
          <p:nvPr userDrawn="1"/>
        </p:nvSpPr>
        <p:spPr>
          <a:xfrm>
            <a:off x="0" y="4532998"/>
            <a:ext cx="12192000" cy="73152"/>
          </a:xfrm>
          <a:prstGeom prst="rect">
            <a:avLst/>
          </a:prstGeom>
          <a:solidFill>
            <a:srgbClr val="5AA2A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cxnSp>
        <p:nvCxnSpPr>
          <p:cNvPr id="10" name="Straight Connector 9"/>
          <p:cNvCxnSpPr/>
          <p:nvPr userDrawn="1"/>
        </p:nvCxnSpPr>
        <p:spPr>
          <a:xfrm>
            <a:off x="472791" y="2753758"/>
            <a:ext cx="4174448"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324851" y="2824376"/>
            <a:ext cx="5949402" cy="1346575"/>
          </a:xfrm>
        </p:spPr>
        <p:txBody>
          <a:bodyPr>
            <a:noAutofit/>
          </a:bodyPr>
          <a:lstStyle>
            <a:lvl1pPr>
              <a:defRPr sz="3939">
                <a:solidFill>
                  <a:schemeClr val="bg1"/>
                </a:solidFill>
              </a:defRPr>
            </a:lvl1pPr>
          </a:lstStyle>
          <a:p>
            <a:r>
              <a:rPr lang="en-US"/>
              <a:t>Click to edit Master title style</a:t>
            </a:r>
          </a:p>
        </p:txBody>
      </p:sp>
      <p:pic>
        <p:nvPicPr>
          <p:cNvPr id="4" name="Picture 3">
            <a:extLst>
              <a:ext uri="{FF2B5EF4-FFF2-40B4-BE49-F238E27FC236}">
                <a16:creationId xmlns:a16="http://schemas.microsoft.com/office/drawing/2014/main" id="{8540F4FD-7476-44CA-A763-325863ACF7BB}"/>
              </a:ext>
            </a:extLst>
          </p:cNvPr>
          <p:cNvPicPr>
            <a:picLocks noChangeAspect="1"/>
          </p:cNvPicPr>
          <p:nvPr userDrawn="1"/>
        </p:nvPicPr>
        <p:blipFill>
          <a:blip r:embed="rId4" cstate="screen">
            <a:alphaModFix amt="35000"/>
            <a:extLst>
              <a:ext uri="{28A0092B-C50C-407E-A947-70E740481C1C}">
                <a14:useLocalDpi xmlns:a14="http://schemas.microsoft.com/office/drawing/2010/main"/>
              </a:ext>
            </a:extLst>
          </a:blip>
          <a:stretch>
            <a:fillRect/>
          </a:stretch>
        </p:blipFill>
        <p:spPr>
          <a:xfrm>
            <a:off x="7374239" y="1937050"/>
            <a:ext cx="4492910" cy="3324425"/>
          </a:xfrm>
          <a:prstGeom prst="rect">
            <a:avLst/>
          </a:prstGeom>
        </p:spPr>
      </p:pic>
    </p:spTree>
    <p:extLst>
      <p:ext uri="{BB962C8B-B14F-4D97-AF65-F5344CB8AC3E}">
        <p14:creationId xmlns:p14="http://schemas.microsoft.com/office/powerpoint/2010/main" val="163259310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Break - Blue 0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58CFF82-ACC0-1832-AD59-891F876B3F2E}"/>
              </a:ext>
            </a:extLst>
          </p:cNvPr>
          <p:cNvPicPr>
            <a:picLocks noChangeAspect="1"/>
          </p:cNvPicPr>
          <p:nvPr userDrawn="1"/>
        </p:nvPicPr>
        <p:blipFill>
          <a:blip r:embed="rId2"/>
          <a:stretch>
            <a:fillRect/>
          </a:stretch>
        </p:blipFill>
        <p:spPr>
          <a:xfrm>
            <a:off x="10483698" y="38161"/>
            <a:ext cx="1323837" cy="750629"/>
          </a:xfrm>
          <a:prstGeom prst="rect">
            <a:avLst/>
          </a:prstGeom>
        </p:spPr>
      </p:pic>
    </p:spTree>
    <p:extLst>
      <p:ext uri="{BB962C8B-B14F-4D97-AF65-F5344CB8AC3E}">
        <p14:creationId xmlns:p14="http://schemas.microsoft.com/office/powerpoint/2010/main" val="71615802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Break - Blue 02">
    <p:spTree>
      <p:nvGrpSpPr>
        <p:cNvPr id="1" name=""/>
        <p:cNvGrpSpPr/>
        <p:nvPr/>
      </p:nvGrpSpPr>
      <p:grpSpPr>
        <a:xfrm>
          <a:off x="0" y="0"/>
          <a:ext cx="0" cy="0"/>
          <a:chOff x="0" y="0"/>
          <a:chExt cx="0" cy="0"/>
        </a:xfrm>
      </p:grpSpPr>
    </p:spTree>
    <p:extLst>
      <p:ext uri="{BB962C8B-B14F-4D97-AF65-F5344CB8AC3E}">
        <p14:creationId xmlns:p14="http://schemas.microsoft.com/office/powerpoint/2010/main" val="71615802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Break - Blue 03">
    <p:spTree>
      <p:nvGrpSpPr>
        <p:cNvPr id="1" name=""/>
        <p:cNvGrpSpPr/>
        <p:nvPr/>
      </p:nvGrpSpPr>
      <p:grpSpPr>
        <a:xfrm>
          <a:off x="0" y="0"/>
          <a:ext cx="0" cy="0"/>
          <a:chOff x="0" y="0"/>
          <a:chExt cx="0" cy="0"/>
        </a:xfrm>
      </p:grpSpPr>
      <p:sp>
        <p:nvSpPr>
          <p:cNvPr id="5" name="Rectangle 4"/>
          <p:cNvSpPr/>
          <p:nvPr userDrawn="1"/>
        </p:nvSpPr>
        <p:spPr>
          <a:xfrm>
            <a:off x="0" y="2078182"/>
            <a:ext cx="12192000" cy="2514600"/>
          </a:xfrm>
          <a:prstGeom prst="rect">
            <a:avLst/>
          </a:prstGeom>
          <a:gradFill flip="none" rotWithShape="1">
            <a:gsLst>
              <a:gs pos="0">
                <a:srgbClr val="0E6BB9">
                  <a:alpha val="85000"/>
                </a:srgbClr>
              </a:gs>
              <a:gs pos="100000">
                <a:srgbClr val="1055AA"/>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9" name="Rectangle 8"/>
          <p:cNvSpPr/>
          <p:nvPr userDrawn="1"/>
        </p:nvSpPr>
        <p:spPr>
          <a:xfrm>
            <a:off x="0" y="4532998"/>
            <a:ext cx="12192000" cy="73152"/>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cxnSp>
        <p:nvCxnSpPr>
          <p:cNvPr id="7" name="Straight Connector 6"/>
          <p:cNvCxnSpPr/>
          <p:nvPr userDrawn="1"/>
        </p:nvCxnSpPr>
        <p:spPr>
          <a:xfrm>
            <a:off x="472791" y="2753758"/>
            <a:ext cx="4174448"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0" name="Slide Number Placeholder 6"/>
          <p:cNvSpPr>
            <a:spLocks noGrp="1"/>
          </p:cNvSpPr>
          <p:nvPr>
            <p:ph type="sldNum" sz="quarter" idx="12"/>
          </p:nvPr>
        </p:nvSpPr>
        <p:spPr>
          <a:xfrm>
            <a:off x="342240" y="6356358"/>
            <a:ext cx="2844800" cy="365125"/>
          </a:xfrm>
        </p:spPr>
        <p:txBody>
          <a:bodyPr/>
          <a:lstStyle/>
          <a:p>
            <a:fld id="{BEEE3D23-30C1-F34A-B827-52BBC0B19443}" type="slidenum">
              <a:rPr lang="en-US" smtClean="0"/>
              <a:t>‹#›</a:t>
            </a:fld>
            <a:endParaRPr lang="en-US"/>
          </a:p>
        </p:txBody>
      </p:sp>
      <p:sp>
        <p:nvSpPr>
          <p:cNvPr id="13" name="Title 1"/>
          <p:cNvSpPr>
            <a:spLocks noGrp="1"/>
          </p:cNvSpPr>
          <p:nvPr>
            <p:ph type="title"/>
          </p:nvPr>
        </p:nvSpPr>
        <p:spPr>
          <a:xfrm>
            <a:off x="324851" y="2824376"/>
            <a:ext cx="5949402" cy="1346575"/>
          </a:xfrm>
        </p:spPr>
        <p:txBody>
          <a:bodyPr>
            <a:noAutofit/>
          </a:bodyPr>
          <a:lstStyle>
            <a:lvl1pPr>
              <a:defRPr sz="3939">
                <a:solidFill>
                  <a:schemeClr val="bg1"/>
                </a:solidFill>
              </a:defRPr>
            </a:lvl1pPr>
          </a:lstStyle>
          <a:p>
            <a:r>
              <a:rPr lang="en-US"/>
              <a:t>Click to edit Master title style</a:t>
            </a:r>
          </a:p>
        </p:txBody>
      </p:sp>
    </p:spTree>
    <p:extLst>
      <p:ext uri="{BB962C8B-B14F-4D97-AF65-F5344CB8AC3E}">
        <p14:creationId xmlns:p14="http://schemas.microsoft.com/office/powerpoint/2010/main" val="102721395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Break - Accent Color 04">
    <p:spTree>
      <p:nvGrpSpPr>
        <p:cNvPr id="1" name=""/>
        <p:cNvGrpSpPr/>
        <p:nvPr/>
      </p:nvGrpSpPr>
      <p:grpSpPr>
        <a:xfrm>
          <a:off x="0" y="0"/>
          <a:ext cx="0" cy="0"/>
          <a:chOff x="0" y="0"/>
          <a:chExt cx="0" cy="0"/>
        </a:xfrm>
      </p:grpSpPr>
      <p:sp>
        <p:nvSpPr>
          <p:cNvPr id="5" name="Rectangle 4"/>
          <p:cNvSpPr/>
          <p:nvPr userDrawn="1"/>
        </p:nvSpPr>
        <p:spPr>
          <a:xfrm>
            <a:off x="0" y="2078182"/>
            <a:ext cx="12192000" cy="2514600"/>
          </a:xfrm>
          <a:prstGeom prst="rect">
            <a:avLst/>
          </a:prstGeom>
          <a:solidFill>
            <a:srgbClr val="1740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1" name="Rectangle 10"/>
          <p:cNvSpPr/>
          <p:nvPr userDrawn="1"/>
        </p:nvSpPr>
        <p:spPr>
          <a:xfrm>
            <a:off x="0" y="4546366"/>
            <a:ext cx="12192000" cy="73152"/>
          </a:xfrm>
          <a:prstGeom prst="rect">
            <a:avLst/>
          </a:prstGeom>
          <a:solidFill>
            <a:srgbClr val="1573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3" name="Slide Number Placeholder 2"/>
          <p:cNvSpPr>
            <a:spLocks noGrp="1"/>
          </p:cNvSpPr>
          <p:nvPr>
            <p:ph type="sldNum" sz="quarter" idx="10"/>
          </p:nvPr>
        </p:nvSpPr>
        <p:spPr/>
        <p:txBody>
          <a:bodyPr/>
          <a:lstStyle/>
          <a:p>
            <a:fld id="{BEEE3D23-30C1-F34A-B827-52BBC0B19443}" type="slidenum">
              <a:rPr lang="en-US" smtClean="0"/>
              <a:pPr/>
              <a:t>‹#›</a:t>
            </a:fld>
            <a:endParaRPr lang="en-US"/>
          </a:p>
        </p:txBody>
      </p:sp>
      <p:cxnSp>
        <p:nvCxnSpPr>
          <p:cNvPr id="7" name="Straight Connector 6"/>
          <p:cNvCxnSpPr/>
          <p:nvPr userDrawn="1"/>
        </p:nvCxnSpPr>
        <p:spPr>
          <a:xfrm>
            <a:off x="472791" y="2753758"/>
            <a:ext cx="4174448"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Title 1"/>
          <p:cNvSpPr>
            <a:spLocks noGrp="1"/>
          </p:cNvSpPr>
          <p:nvPr>
            <p:ph type="title"/>
          </p:nvPr>
        </p:nvSpPr>
        <p:spPr>
          <a:xfrm>
            <a:off x="324851" y="2824376"/>
            <a:ext cx="5949402" cy="1346575"/>
          </a:xfrm>
        </p:spPr>
        <p:txBody>
          <a:bodyPr>
            <a:noAutofit/>
          </a:bodyPr>
          <a:lstStyle>
            <a:lvl1pPr>
              <a:defRPr sz="3939">
                <a:solidFill>
                  <a:schemeClr val="bg1"/>
                </a:solidFill>
              </a:defRPr>
            </a:lvl1pPr>
          </a:lstStyle>
          <a:p>
            <a:r>
              <a:rPr lang="en-US"/>
              <a:t>Click to edit Master title style</a:t>
            </a:r>
          </a:p>
        </p:txBody>
      </p:sp>
    </p:spTree>
    <p:extLst>
      <p:ext uri="{BB962C8B-B14F-4D97-AF65-F5344CB8AC3E}">
        <p14:creationId xmlns:p14="http://schemas.microsoft.com/office/powerpoint/2010/main" val="179298640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Break - Accent Color 05">
    <p:spTree>
      <p:nvGrpSpPr>
        <p:cNvPr id="1" name=""/>
        <p:cNvGrpSpPr/>
        <p:nvPr/>
      </p:nvGrpSpPr>
      <p:grpSpPr>
        <a:xfrm>
          <a:off x="0" y="0"/>
          <a:ext cx="0" cy="0"/>
          <a:chOff x="0" y="0"/>
          <a:chExt cx="0" cy="0"/>
        </a:xfrm>
      </p:grpSpPr>
      <p:sp>
        <p:nvSpPr>
          <p:cNvPr id="5" name="Rectangle 4"/>
          <p:cNvSpPr/>
          <p:nvPr userDrawn="1"/>
        </p:nvSpPr>
        <p:spPr>
          <a:xfrm>
            <a:off x="0" y="2078182"/>
            <a:ext cx="12192000" cy="2514600"/>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1" name="Rectangle 10"/>
          <p:cNvSpPr/>
          <p:nvPr userDrawn="1"/>
        </p:nvSpPr>
        <p:spPr>
          <a:xfrm>
            <a:off x="0" y="4546366"/>
            <a:ext cx="12192000" cy="73152"/>
          </a:xfrm>
          <a:prstGeom prst="rect">
            <a:avLst/>
          </a:prstGeom>
          <a:solidFill>
            <a:srgbClr val="1573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3" name="Slide Number Placeholder 2"/>
          <p:cNvSpPr>
            <a:spLocks noGrp="1"/>
          </p:cNvSpPr>
          <p:nvPr>
            <p:ph type="sldNum" sz="quarter" idx="10"/>
          </p:nvPr>
        </p:nvSpPr>
        <p:spPr/>
        <p:txBody>
          <a:bodyPr/>
          <a:lstStyle/>
          <a:p>
            <a:fld id="{BEEE3D23-30C1-F34A-B827-52BBC0B19443}" type="slidenum">
              <a:rPr lang="en-US" smtClean="0"/>
              <a:pPr/>
              <a:t>‹#›</a:t>
            </a:fld>
            <a:endParaRPr lang="en-US"/>
          </a:p>
        </p:txBody>
      </p:sp>
      <p:cxnSp>
        <p:nvCxnSpPr>
          <p:cNvPr id="7" name="Straight Connector 6"/>
          <p:cNvCxnSpPr/>
          <p:nvPr userDrawn="1"/>
        </p:nvCxnSpPr>
        <p:spPr>
          <a:xfrm>
            <a:off x="472791" y="2753758"/>
            <a:ext cx="4174448"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Title 1"/>
          <p:cNvSpPr>
            <a:spLocks noGrp="1"/>
          </p:cNvSpPr>
          <p:nvPr>
            <p:ph type="title"/>
          </p:nvPr>
        </p:nvSpPr>
        <p:spPr>
          <a:xfrm>
            <a:off x="324851" y="2824376"/>
            <a:ext cx="5949402" cy="1346575"/>
          </a:xfrm>
        </p:spPr>
        <p:txBody>
          <a:bodyPr>
            <a:noAutofit/>
          </a:bodyPr>
          <a:lstStyle>
            <a:lvl1pPr>
              <a:defRPr sz="3939">
                <a:solidFill>
                  <a:schemeClr val="bg1"/>
                </a:solidFill>
              </a:defRPr>
            </a:lvl1pPr>
          </a:lstStyle>
          <a:p>
            <a:r>
              <a:rPr lang="en-US"/>
              <a:t>Click to edit Master title style</a:t>
            </a:r>
          </a:p>
        </p:txBody>
      </p:sp>
    </p:spTree>
    <p:extLst>
      <p:ext uri="{BB962C8B-B14F-4D97-AF65-F5344CB8AC3E}">
        <p14:creationId xmlns:p14="http://schemas.microsoft.com/office/powerpoint/2010/main" val="398312855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Break - Blue 03">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8C8D473-5E1D-4F9B-AD5D-0BBA9C9E9E4D}"/>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rcRect/>
          <a:stretch/>
        </p:blipFill>
        <p:spPr>
          <a:xfrm>
            <a:off x="0" y="2078183"/>
            <a:ext cx="12192000" cy="2527968"/>
          </a:xfrm>
          <a:prstGeom prst="rect">
            <a:avLst/>
          </a:prstGeom>
        </p:spPr>
      </p:pic>
      <p:sp>
        <p:nvSpPr>
          <p:cNvPr id="5" name="Rectangle 4"/>
          <p:cNvSpPr/>
          <p:nvPr userDrawn="1"/>
        </p:nvSpPr>
        <p:spPr>
          <a:xfrm>
            <a:off x="0" y="2078182"/>
            <a:ext cx="12192000" cy="2514600"/>
          </a:xfrm>
          <a:prstGeom prst="rect">
            <a:avLst/>
          </a:prstGeom>
          <a:gradFill flip="none" rotWithShape="1">
            <a:gsLst>
              <a:gs pos="0">
                <a:srgbClr val="0E6BB9">
                  <a:alpha val="85000"/>
                </a:srgbClr>
              </a:gs>
              <a:gs pos="100000">
                <a:srgbClr val="1055AA"/>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9" name="Rectangle 8"/>
          <p:cNvSpPr/>
          <p:nvPr userDrawn="1"/>
        </p:nvSpPr>
        <p:spPr>
          <a:xfrm>
            <a:off x="0" y="4532998"/>
            <a:ext cx="12192000" cy="73152"/>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cxnSp>
        <p:nvCxnSpPr>
          <p:cNvPr id="7" name="Straight Connector 6"/>
          <p:cNvCxnSpPr/>
          <p:nvPr userDrawn="1"/>
        </p:nvCxnSpPr>
        <p:spPr>
          <a:xfrm>
            <a:off x="472791" y="2753758"/>
            <a:ext cx="4174448"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0" name="Slide Number Placeholder 6"/>
          <p:cNvSpPr>
            <a:spLocks noGrp="1"/>
          </p:cNvSpPr>
          <p:nvPr>
            <p:ph type="sldNum" sz="quarter" idx="12"/>
          </p:nvPr>
        </p:nvSpPr>
        <p:spPr>
          <a:xfrm>
            <a:off x="342240" y="6356358"/>
            <a:ext cx="2844800" cy="365125"/>
          </a:xfrm>
        </p:spPr>
        <p:txBody>
          <a:bodyPr/>
          <a:lstStyle/>
          <a:p>
            <a:fld id="{BEEE3D23-30C1-F34A-B827-52BBC0B19443}" type="slidenum">
              <a:rPr lang="en-US" smtClean="0"/>
              <a:t>‹#›</a:t>
            </a:fld>
            <a:endParaRPr lang="en-US"/>
          </a:p>
        </p:txBody>
      </p:sp>
      <p:sp>
        <p:nvSpPr>
          <p:cNvPr id="13" name="Title 1"/>
          <p:cNvSpPr>
            <a:spLocks noGrp="1"/>
          </p:cNvSpPr>
          <p:nvPr>
            <p:ph type="title"/>
          </p:nvPr>
        </p:nvSpPr>
        <p:spPr>
          <a:xfrm>
            <a:off x="324851" y="2824376"/>
            <a:ext cx="5949402" cy="1346575"/>
          </a:xfrm>
        </p:spPr>
        <p:txBody>
          <a:bodyPr>
            <a:noAutofit/>
          </a:bodyPr>
          <a:lstStyle>
            <a:lvl1pPr>
              <a:defRPr sz="3939">
                <a:solidFill>
                  <a:schemeClr val="bg1"/>
                </a:solidFill>
              </a:defRPr>
            </a:lvl1pPr>
          </a:lstStyle>
          <a:p>
            <a:r>
              <a:rPr lang="en-US"/>
              <a:t>Click to edit Master title style</a:t>
            </a:r>
          </a:p>
        </p:txBody>
      </p:sp>
      <p:pic>
        <p:nvPicPr>
          <p:cNvPr id="11" name="Picture 10">
            <a:extLst>
              <a:ext uri="{FF2B5EF4-FFF2-40B4-BE49-F238E27FC236}">
                <a16:creationId xmlns:a16="http://schemas.microsoft.com/office/drawing/2014/main" id="{7E6AF962-9BC5-4993-B892-3B4139730C45}"/>
              </a:ext>
            </a:extLst>
          </p:cNvPr>
          <p:cNvPicPr>
            <a:picLocks noChangeAspect="1"/>
          </p:cNvPicPr>
          <p:nvPr userDrawn="1"/>
        </p:nvPicPr>
        <p:blipFill>
          <a:blip r:embed="rId4" cstate="screen">
            <a:alphaModFix amt="35000"/>
            <a:extLst>
              <a:ext uri="{28A0092B-C50C-407E-A947-70E740481C1C}">
                <a14:useLocalDpi xmlns:a14="http://schemas.microsoft.com/office/drawing/2010/main"/>
              </a:ext>
            </a:extLst>
          </a:blip>
          <a:stretch>
            <a:fillRect/>
          </a:stretch>
        </p:blipFill>
        <p:spPr>
          <a:xfrm>
            <a:off x="7374239" y="1937050"/>
            <a:ext cx="4492910" cy="3324425"/>
          </a:xfrm>
          <a:prstGeom prst="rect">
            <a:avLst/>
          </a:prstGeom>
        </p:spPr>
      </p:pic>
    </p:spTree>
    <p:extLst>
      <p:ext uri="{BB962C8B-B14F-4D97-AF65-F5344CB8AC3E}">
        <p14:creationId xmlns:p14="http://schemas.microsoft.com/office/powerpoint/2010/main" val="10272139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Table of Contets">
    <p:bg>
      <p:bgPr>
        <a:solidFill>
          <a:srgbClr val="277DA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42242" y="194430"/>
            <a:ext cx="11528917" cy="594360"/>
          </a:xfrm>
        </p:spPr>
        <p:txBody>
          <a:bodyPr>
            <a:noAutofit/>
          </a:bodyPr>
          <a:lstStyle>
            <a:lvl1pPr>
              <a:defRPr sz="2585">
                <a:solidFill>
                  <a:schemeClr val="bg1"/>
                </a:solidFill>
              </a:defRPr>
            </a:lvl1pPr>
          </a:lstStyle>
          <a:p>
            <a:r>
              <a:rPr lang="en-US"/>
              <a:t>Click to edit Master title style</a:t>
            </a:r>
          </a:p>
        </p:txBody>
      </p:sp>
      <p:sp>
        <p:nvSpPr>
          <p:cNvPr id="3" name="Content Placeholder 2"/>
          <p:cNvSpPr>
            <a:spLocks noGrp="1"/>
          </p:cNvSpPr>
          <p:nvPr>
            <p:ph idx="1"/>
          </p:nvPr>
        </p:nvSpPr>
        <p:spPr>
          <a:xfrm>
            <a:off x="342242" y="801390"/>
            <a:ext cx="11528917" cy="5227768"/>
          </a:xfrm>
        </p:spPr>
        <p:txBody>
          <a:bodyPr>
            <a:noAutofit/>
          </a:bodyPr>
          <a:lstStyle>
            <a:lvl1pPr>
              <a:spcAft>
                <a:spcPts val="738"/>
              </a:spcAft>
              <a:buClr>
                <a:schemeClr val="bg1"/>
              </a:buClr>
              <a:defRPr sz="1969">
                <a:solidFill>
                  <a:schemeClr val="bg1"/>
                </a:solidFill>
              </a:defRPr>
            </a:lvl1pPr>
            <a:lvl2pPr marL="450186">
              <a:buClr>
                <a:schemeClr val="bg1"/>
              </a:buClr>
              <a:defRPr sz="1969">
                <a:solidFill>
                  <a:schemeClr val="bg1"/>
                </a:solidFill>
              </a:defRPr>
            </a:lvl2pPr>
            <a:lvl3pPr marL="900372">
              <a:buClr>
                <a:schemeClr val="bg1"/>
              </a:buClr>
              <a:defRPr sz="1969">
                <a:solidFill>
                  <a:schemeClr val="bg1"/>
                </a:solidFill>
              </a:defRPr>
            </a:lvl3pPr>
            <a:lvl4pPr marL="1350558">
              <a:buClr>
                <a:schemeClr val="bg1"/>
              </a:buClr>
              <a:defRPr sz="1969">
                <a:solidFill>
                  <a:schemeClr val="bg1"/>
                </a:solidFill>
              </a:defRPr>
            </a:lvl4pPr>
            <a:lvl5pPr marL="1800744">
              <a:buClr>
                <a:schemeClr val="bg1"/>
              </a:buClr>
              <a:defRPr sz="196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p:cNvGrpSpPr/>
          <p:nvPr userDrawn="1"/>
        </p:nvGrpSpPr>
        <p:grpSpPr>
          <a:xfrm>
            <a:off x="5" y="6792455"/>
            <a:ext cx="12191999" cy="73745"/>
            <a:chOff x="1" y="6792449"/>
            <a:chExt cx="9143999" cy="73745"/>
          </a:xfrm>
        </p:grpSpPr>
        <p:sp>
          <p:nvSpPr>
            <p:cNvPr id="8" name="Rectangle 7"/>
            <p:cNvSpPr/>
            <p:nvPr/>
          </p:nvSpPr>
          <p:spPr>
            <a:xfrm>
              <a:off x="5486400" y="6792449"/>
              <a:ext cx="1828800" cy="73745"/>
            </a:xfrm>
            <a:prstGeom prst="rect">
              <a:avLst/>
            </a:prstGeom>
            <a:solidFill>
              <a:srgbClr val="1740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9" name="Rectangle 8"/>
            <p:cNvSpPr/>
            <p:nvPr/>
          </p:nvSpPr>
          <p:spPr>
            <a:xfrm>
              <a:off x="1" y="6792449"/>
              <a:ext cx="1828800" cy="73745"/>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0" name="Rectangle 9"/>
            <p:cNvSpPr/>
            <p:nvPr/>
          </p:nvSpPr>
          <p:spPr>
            <a:xfrm>
              <a:off x="1828801" y="6792449"/>
              <a:ext cx="1828800" cy="73745"/>
            </a:xfrm>
            <a:prstGeom prst="rect">
              <a:avLst/>
            </a:prstGeom>
            <a:solidFill>
              <a:srgbClr val="2428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1" name="Rectangle 10"/>
            <p:cNvSpPr/>
            <p:nvPr/>
          </p:nvSpPr>
          <p:spPr>
            <a:xfrm>
              <a:off x="3657601" y="6792450"/>
              <a:ext cx="1828800" cy="73743"/>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2" name="Rectangle 11"/>
            <p:cNvSpPr/>
            <p:nvPr/>
          </p:nvSpPr>
          <p:spPr>
            <a:xfrm>
              <a:off x="7315200" y="6792450"/>
              <a:ext cx="1828800" cy="73743"/>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grpSp>
      <p:sp>
        <p:nvSpPr>
          <p:cNvPr id="14" name="Slide Number Placeholder 5"/>
          <p:cNvSpPr>
            <a:spLocks noGrp="1"/>
          </p:cNvSpPr>
          <p:nvPr>
            <p:ph type="sldNum" sz="quarter" idx="4"/>
          </p:nvPr>
        </p:nvSpPr>
        <p:spPr>
          <a:xfrm>
            <a:off x="342240" y="6356358"/>
            <a:ext cx="2844800" cy="365125"/>
          </a:xfrm>
          <a:prstGeom prst="rect">
            <a:avLst/>
          </a:prstGeom>
        </p:spPr>
        <p:txBody>
          <a:bodyPr vert="horz" lIns="91440" tIns="45720" rIns="91440" bIns="45720" rtlCol="0" anchor="ctr"/>
          <a:lstStyle>
            <a:lvl1pPr algn="l">
              <a:defRPr sz="985" b="1">
                <a:solidFill>
                  <a:schemeClr val="bg1"/>
                </a:solidFill>
              </a:defRPr>
            </a:lvl1pPr>
          </a:lstStyle>
          <a:p>
            <a:fld id="{4F1FA912-FC24-3D46-8310-EAE10B51E2A1}" type="slidenum">
              <a:rPr lang="en-US" smtClean="0"/>
              <a:pPr/>
              <a:t>‹#›</a:t>
            </a:fld>
            <a:endParaRPr lang="en-US"/>
          </a:p>
        </p:txBody>
      </p:sp>
    </p:spTree>
    <p:extLst>
      <p:ext uri="{BB962C8B-B14F-4D97-AF65-F5344CB8AC3E}">
        <p14:creationId xmlns:p14="http://schemas.microsoft.com/office/powerpoint/2010/main" val="322534206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Break - Blue 04">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C0865AB1-8472-4803-B90A-90F4CA896422}"/>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rcRect/>
          <a:stretch/>
        </p:blipFill>
        <p:spPr>
          <a:xfrm>
            <a:off x="0" y="2078183"/>
            <a:ext cx="12192000" cy="2527968"/>
          </a:xfrm>
          <a:prstGeom prst="rect">
            <a:avLst/>
          </a:prstGeom>
        </p:spPr>
      </p:pic>
      <p:sp>
        <p:nvSpPr>
          <p:cNvPr id="5" name="Rectangle 4"/>
          <p:cNvSpPr/>
          <p:nvPr userDrawn="1"/>
        </p:nvSpPr>
        <p:spPr>
          <a:xfrm>
            <a:off x="0" y="2078182"/>
            <a:ext cx="12192000" cy="2514600"/>
          </a:xfrm>
          <a:prstGeom prst="rect">
            <a:avLst/>
          </a:prstGeom>
          <a:gradFill flip="none" rotWithShape="1">
            <a:gsLst>
              <a:gs pos="0">
                <a:srgbClr val="0E6BB9">
                  <a:alpha val="85000"/>
                </a:srgbClr>
              </a:gs>
              <a:gs pos="100000">
                <a:srgbClr val="1055AA"/>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0" name="Rectangle 9"/>
          <p:cNvSpPr/>
          <p:nvPr userDrawn="1"/>
        </p:nvSpPr>
        <p:spPr>
          <a:xfrm>
            <a:off x="0" y="4532998"/>
            <a:ext cx="12192000" cy="73152"/>
          </a:xfrm>
          <a:prstGeom prst="rect">
            <a:avLst/>
          </a:prstGeom>
          <a:solidFill>
            <a:srgbClr val="1843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cxnSp>
        <p:nvCxnSpPr>
          <p:cNvPr id="7" name="Straight Connector 6"/>
          <p:cNvCxnSpPr/>
          <p:nvPr userDrawn="1"/>
        </p:nvCxnSpPr>
        <p:spPr>
          <a:xfrm>
            <a:off x="472791" y="2753758"/>
            <a:ext cx="4174448"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Slide Number Placeholder 6"/>
          <p:cNvSpPr>
            <a:spLocks noGrp="1"/>
          </p:cNvSpPr>
          <p:nvPr>
            <p:ph type="sldNum" sz="quarter" idx="12"/>
          </p:nvPr>
        </p:nvSpPr>
        <p:spPr>
          <a:xfrm>
            <a:off x="342240" y="6356358"/>
            <a:ext cx="2844800" cy="365125"/>
          </a:xfrm>
        </p:spPr>
        <p:txBody>
          <a:bodyPr/>
          <a:lstStyle/>
          <a:p>
            <a:fld id="{BEEE3D23-30C1-F34A-B827-52BBC0B19443}" type="slidenum">
              <a:rPr lang="en-US" smtClean="0"/>
              <a:t>‹#›</a:t>
            </a:fld>
            <a:endParaRPr lang="en-US"/>
          </a:p>
        </p:txBody>
      </p:sp>
      <p:sp>
        <p:nvSpPr>
          <p:cNvPr id="13" name="Title 1"/>
          <p:cNvSpPr>
            <a:spLocks noGrp="1"/>
          </p:cNvSpPr>
          <p:nvPr>
            <p:ph type="title"/>
          </p:nvPr>
        </p:nvSpPr>
        <p:spPr>
          <a:xfrm>
            <a:off x="324851" y="2824376"/>
            <a:ext cx="5949402" cy="1346575"/>
          </a:xfrm>
        </p:spPr>
        <p:txBody>
          <a:bodyPr>
            <a:noAutofit/>
          </a:bodyPr>
          <a:lstStyle>
            <a:lvl1pPr>
              <a:defRPr sz="3939">
                <a:solidFill>
                  <a:schemeClr val="bg1"/>
                </a:solidFill>
              </a:defRPr>
            </a:lvl1pPr>
          </a:lstStyle>
          <a:p>
            <a:r>
              <a:rPr lang="en-US"/>
              <a:t>Click to edit Master title style</a:t>
            </a:r>
          </a:p>
        </p:txBody>
      </p:sp>
      <p:pic>
        <p:nvPicPr>
          <p:cNvPr id="11" name="Picture 10">
            <a:extLst>
              <a:ext uri="{FF2B5EF4-FFF2-40B4-BE49-F238E27FC236}">
                <a16:creationId xmlns:a16="http://schemas.microsoft.com/office/drawing/2014/main" id="{80E8B67A-C57D-425D-B487-46F5553FC644}"/>
              </a:ext>
            </a:extLst>
          </p:cNvPr>
          <p:cNvPicPr>
            <a:picLocks noChangeAspect="1"/>
          </p:cNvPicPr>
          <p:nvPr userDrawn="1"/>
        </p:nvPicPr>
        <p:blipFill>
          <a:blip r:embed="rId4" cstate="screen">
            <a:alphaModFix amt="35000"/>
            <a:extLst>
              <a:ext uri="{28A0092B-C50C-407E-A947-70E740481C1C}">
                <a14:useLocalDpi xmlns:a14="http://schemas.microsoft.com/office/drawing/2010/main"/>
              </a:ext>
            </a:extLst>
          </a:blip>
          <a:stretch>
            <a:fillRect/>
          </a:stretch>
        </p:blipFill>
        <p:spPr>
          <a:xfrm>
            <a:off x="7374239" y="1937050"/>
            <a:ext cx="4492910" cy="3324425"/>
          </a:xfrm>
          <a:prstGeom prst="rect">
            <a:avLst/>
          </a:prstGeom>
        </p:spPr>
      </p:pic>
    </p:spTree>
    <p:extLst>
      <p:ext uri="{BB962C8B-B14F-4D97-AF65-F5344CB8AC3E}">
        <p14:creationId xmlns:p14="http://schemas.microsoft.com/office/powerpoint/2010/main" val="102721395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Break - Blue 05">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47CEEDB-D286-4C15-8213-CD79C06A1A5F}"/>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rcRect/>
          <a:stretch/>
        </p:blipFill>
        <p:spPr>
          <a:xfrm>
            <a:off x="0" y="2078183"/>
            <a:ext cx="12192000" cy="2527968"/>
          </a:xfrm>
          <a:prstGeom prst="rect">
            <a:avLst/>
          </a:prstGeom>
        </p:spPr>
      </p:pic>
      <p:sp>
        <p:nvSpPr>
          <p:cNvPr id="5" name="Rectangle 4"/>
          <p:cNvSpPr/>
          <p:nvPr userDrawn="1"/>
        </p:nvSpPr>
        <p:spPr>
          <a:xfrm>
            <a:off x="0" y="2078182"/>
            <a:ext cx="12192000" cy="2514600"/>
          </a:xfrm>
          <a:prstGeom prst="rect">
            <a:avLst/>
          </a:prstGeom>
          <a:gradFill flip="none" rotWithShape="1">
            <a:gsLst>
              <a:gs pos="0">
                <a:srgbClr val="0E6BB9">
                  <a:alpha val="85000"/>
                </a:srgbClr>
              </a:gs>
              <a:gs pos="100000">
                <a:srgbClr val="1055AA"/>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0" name="Rectangle 9"/>
          <p:cNvSpPr/>
          <p:nvPr userDrawn="1"/>
        </p:nvSpPr>
        <p:spPr>
          <a:xfrm>
            <a:off x="0" y="4532998"/>
            <a:ext cx="12192000" cy="73152"/>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cxnSp>
        <p:nvCxnSpPr>
          <p:cNvPr id="7" name="Straight Connector 6"/>
          <p:cNvCxnSpPr/>
          <p:nvPr userDrawn="1"/>
        </p:nvCxnSpPr>
        <p:spPr>
          <a:xfrm>
            <a:off x="472791" y="2753758"/>
            <a:ext cx="4174448"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Slide Number Placeholder 6"/>
          <p:cNvSpPr>
            <a:spLocks noGrp="1"/>
          </p:cNvSpPr>
          <p:nvPr>
            <p:ph type="sldNum" sz="quarter" idx="12"/>
          </p:nvPr>
        </p:nvSpPr>
        <p:spPr>
          <a:xfrm>
            <a:off x="342240" y="6356358"/>
            <a:ext cx="2844800" cy="365125"/>
          </a:xfrm>
        </p:spPr>
        <p:txBody>
          <a:bodyPr/>
          <a:lstStyle/>
          <a:p>
            <a:fld id="{BEEE3D23-30C1-F34A-B827-52BBC0B19443}" type="slidenum">
              <a:rPr lang="en-US" smtClean="0"/>
              <a:t>‹#›</a:t>
            </a:fld>
            <a:endParaRPr lang="en-US"/>
          </a:p>
        </p:txBody>
      </p:sp>
      <p:sp>
        <p:nvSpPr>
          <p:cNvPr id="13" name="Title 1"/>
          <p:cNvSpPr>
            <a:spLocks noGrp="1"/>
          </p:cNvSpPr>
          <p:nvPr>
            <p:ph type="title"/>
          </p:nvPr>
        </p:nvSpPr>
        <p:spPr>
          <a:xfrm>
            <a:off x="324851" y="2824376"/>
            <a:ext cx="5949402" cy="1346575"/>
          </a:xfrm>
        </p:spPr>
        <p:txBody>
          <a:bodyPr>
            <a:noAutofit/>
          </a:bodyPr>
          <a:lstStyle>
            <a:lvl1pPr>
              <a:defRPr sz="3939">
                <a:solidFill>
                  <a:schemeClr val="bg1"/>
                </a:solidFill>
              </a:defRPr>
            </a:lvl1pPr>
          </a:lstStyle>
          <a:p>
            <a:r>
              <a:rPr lang="en-US"/>
              <a:t>Click to edit Master title style</a:t>
            </a:r>
          </a:p>
        </p:txBody>
      </p:sp>
      <p:pic>
        <p:nvPicPr>
          <p:cNvPr id="11" name="Picture 10">
            <a:extLst>
              <a:ext uri="{FF2B5EF4-FFF2-40B4-BE49-F238E27FC236}">
                <a16:creationId xmlns:a16="http://schemas.microsoft.com/office/drawing/2014/main" id="{77294B00-FF46-410F-8192-50EC20CA3576}"/>
              </a:ext>
            </a:extLst>
          </p:cNvPr>
          <p:cNvPicPr>
            <a:picLocks noChangeAspect="1"/>
          </p:cNvPicPr>
          <p:nvPr userDrawn="1"/>
        </p:nvPicPr>
        <p:blipFill>
          <a:blip r:embed="rId4" cstate="screen">
            <a:alphaModFix amt="35000"/>
            <a:extLst>
              <a:ext uri="{28A0092B-C50C-407E-A947-70E740481C1C}">
                <a14:useLocalDpi xmlns:a14="http://schemas.microsoft.com/office/drawing/2010/main"/>
              </a:ext>
            </a:extLst>
          </a:blip>
          <a:stretch>
            <a:fillRect/>
          </a:stretch>
        </p:blipFill>
        <p:spPr>
          <a:xfrm>
            <a:off x="7374239" y="1937050"/>
            <a:ext cx="4492910" cy="3324425"/>
          </a:xfrm>
          <a:prstGeom prst="rect">
            <a:avLst/>
          </a:prstGeom>
        </p:spPr>
      </p:pic>
    </p:spTree>
    <p:extLst>
      <p:ext uri="{BB962C8B-B14F-4D97-AF65-F5344CB8AC3E}">
        <p14:creationId xmlns:p14="http://schemas.microsoft.com/office/powerpoint/2010/main" val="102721395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Break - Accent Color 01">
    <p:spTree>
      <p:nvGrpSpPr>
        <p:cNvPr id="1" name=""/>
        <p:cNvGrpSpPr/>
        <p:nvPr/>
      </p:nvGrpSpPr>
      <p:grpSpPr>
        <a:xfrm>
          <a:off x="0" y="0"/>
          <a:ext cx="0" cy="0"/>
          <a:chOff x="0" y="0"/>
          <a:chExt cx="0" cy="0"/>
        </a:xfrm>
      </p:grpSpPr>
      <p:sp>
        <p:nvSpPr>
          <p:cNvPr id="4" name="Rectangle 3"/>
          <p:cNvSpPr/>
          <p:nvPr userDrawn="1"/>
        </p:nvSpPr>
        <p:spPr>
          <a:xfrm>
            <a:off x="0" y="2078182"/>
            <a:ext cx="12192000" cy="2514600"/>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5" name="Rectangle 4"/>
          <p:cNvSpPr/>
          <p:nvPr userDrawn="1"/>
        </p:nvSpPr>
        <p:spPr>
          <a:xfrm>
            <a:off x="0" y="4532998"/>
            <a:ext cx="12192000" cy="73152"/>
          </a:xfrm>
          <a:prstGeom prst="rect">
            <a:avLst/>
          </a:prstGeom>
          <a:solidFill>
            <a:srgbClr val="1573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cxnSp>
        <p:nvCxnSpPr>
          <p:cNvPr id="6" name="Straight Connector 5"/>
          <p:cNvCxnSpPr/>
          <p:nvPr userDrawn="1"/>
        </p:nvCxnSpPr>
        <p:spPr>
          <a:xfrm>
            <a:off x="472791" y="2753758"/>
            <a:ext cx="4174448"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0" name="Slide Number Placeholder 6"/>
          <p:cNvSpPr>
            <a:spLocks noGrp="1"/>
          </p:cNvSpPr>
          <p:nvPr>
            <p:ph type="sldNum" sz="quarter" idx="12"/>
          </p:nvPr>
        </p:nvSpPr>
        <p:spPr>
          <a:xfrm>
            <a:off x="342240" y="6356358"/>
            <a:ext cx="2844800" cy="365125"/>
          </a:xfrm>
        </p:spPr>
        <p:txBody>
          <a:bodyPr/>
          <a:lstStyle/>
          <a:p>
            <a:fld id="{BEEE3D23-30C1-F34A-B827-52BBC0B19443}" type="slidenum">
              <a:rPr lang="en-US" smtClean="0"/>
              <a:t>‹#›</a:t>
            </a:fld>
            <a:endParaRPr lang="en-US"/>
          </a:p>
        </p:txBody>
      </p:sp>
      <p:sp>
        <p:nvSpPr>
          <p:cNvPr id="12" name="Title 1"/>
          <p:cNvSpPr>
            <a:spLocks noGrp="1"/>
          </p:cNvSpPr>
          <p:nvPr>
            <p:ph type="title"/>
          </p:nvPr>
        </p:nvSpPr>
        <p:spPr>
          <a:xfrm>
            <a:off x="324851" y="2824376"/>
            <a:ext cx="5949402" cy="1346575"/>
          </a:xfrm>
        </p:spPr>
        <p:txBody>
          <a:bodyPr>
            <a:noAutofit/>
          </a:bodyPr>
          <a:lstStyle>
            <a:lvl1pPr>
              <a:defRPr sz="3939">
                <a:solidFill>
                  <a:schemeClr val="bg1"/>
                </a:solidFill>
              </a:defRPr>
            </a:lvl1pPr>
          </a:lstStyle>
          <a:p>
            <a:r>
              <a:rPr lang="en-US"/>
              <a:t>Click to edit Master title style</a:t>
            </a:r>
          </a:p>
        </p:txBody>
      </p:sp>
      <p:pic>
        <p:nvPicPr>
          <p:cNvPr id="8" name="Picture 7">
            <a:extLst>
              <a:ext uri="{FF2B5EF4-FFF2-40B4-BE49-F238E27FC236}">
                <a16:creationId xmlns:a16="http://schemas.microsoft.com/office/drawing/2014/main" id="{DEB85114-7622-419D-B1AC-F15A45CA6BF5}"/>
              </a:ext>
            </a:extLst>
          </p:cNvPr>
          <p:cNvPicPr>
            <a:picLocks noChangeAspect="1"/>
          </p:cNvPicPr>
          <p:nvPr userDrawn="1"/>
        </p:nvPicPr>
        <p:blipFill>
          <a:blip r:embed="rId2" cstate="screen">
            <a:alphaModFix amt="35000"/>
            <a:extLst>
              <a:ext uri="{28A0092B-C50C-407E-A947-70E740481C1C}">
                <a14:useLocalDpi xmlns:a14="http://schemas.microsoft.com/office/drawing/2010/main"/>
              </a:ext>
            </a:extLst>
          </a:blip>
          <a:stretch>
            <a:fillRect/>
          </a:stretch>
        </p:blipFill>
        <p:spPr>
          <a:xfrm>
            <a:off x="7374239" y="1937050"/>
            <a:ext cx="4492910" cy="3324425"/>
          </a:xfrm>
          <a:prstGeom prst="rect">
            <a:avLst/>
          </a:prstGeom>
        </p:spPr>
      </p:pic>
    </p:spTree>
    <p:extLst>
      <p:ext uri="{BB962C8B-B14F-4D97-AF65-F5344CB8AC3E}">
        <p14:creationId xmlns:p14="http://schemas.microsoft.com/office/powerpoint/2010/main" val="309371823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Break - Accent Color 02">
    <p:spTree>
      <p:nvGrpSpPr>
        <p:cNvPr id="1" name=""/>
        <p:cNvGrpSpPr/>
        <p:nvPr/>
      </p:nvGrpSpPr>
      <p:grpSpPr>
        <a:xfrm>
          <a:off x="0" y="0"/>
          <a:ext cx="0" cy="0"/>
          <a:chOff x="0" y="0"/>
          <a:chExt cx="0" cy="0"/>
        </a:xfrm>
      </p:grpSpPr>
      <p:sp>
        <p:nvSpPr>
          <p:cNvPr id="18" name="Rectangle 17"/>
          <p:cNvSpPr/>
          <p:nvPr userDrawn="1"/>
        </p:nvSpPr>
        <p:spPr>
          <a:xfrm>
            <a:off x="0" y="2078182"/>
            <a:ext cx="12192000" cy="2514600"/>
          </a:xfrm>
          <a:prstGeom prst="rect">
            <a:avLst/>
          </a:prstGeom>
          <a:solidFill>
            <a:srgbClr val="2A346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24" name="Rectangle 23"/>
          <p:cNvSpPr/>
          <p:nvPr userDrawn="1"/>
        </p:nvSpPr>
        <p:spPr>
          <a:xfrm>
            <a:off x="0" y="4546366"/>
            <a:ext cx="12192000" cy="73152"/>
          </a:xfrm>
          <a:prstGeom prst="rect">
            <a:avLst/>
          </a:prstGeom>
          <a:solidFill>
            <a:srgbClr val="1573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cxnSp>
        <p:nvCxnSpPr>
          <p:cNvPr id="20" name="Straight Connector 19"/>
          <p:cNvCxnSpPr/>
          <p:nvPr userDrawn="1"/>
        </p:nvCxnSpPr>
        <p:spPr>
          <a:xfrm>
            <a:off x="472791" y="2753758"/>
            <a:ext cx="4174448"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userDrawn="1"/>
        </p:nvCxnSpPr>
        <p:spPr>
          <a:xfrm>
            <a:off x="472791" y="2753758"/>
            <a:ext cx="4174448"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Slide Number Placeholder 6"/>
          <p:cNvSpPr>
            <a:spLocks noGrp="1"/>
          </p:cNvSpPr>
          <p:nvPr>
            <p:ph type="sldNum" sz="quarter" idx="12"/>
          </p:nvPr>
        </p:nvSpPr>
        <p:spPr>
          <a:xfrm>
            <a:off x="342240" y="6356358"/>
            <a:ext cx="2844800" cy="365125"/>
          </a:xfrm>
        </p:spPr>
        <p:txBody>
          <a:bodyPr/>
          <a:lstStyle/>
          <a:p>
            <a:fld id="{BEEE3D23-30C1-F34A-B827-52BBC0B19443}" type="slidenum">
              <a:rPr lang="en-US" smtClean="0"/>
              <a:t>‹#›</a:t>
            </a:fld>
            <a:endParaRPr lang="en-US"/>
          </a:p>
        </p:txBody>
      </p:sp>
      <p:sp>
        <p:nvSpPr>
          <p:cNvPr id="26" name="Title 1"/>
          <p:cNvSpPr>
            <a:spLocks noGrp="1"/>
          </p:cNvSpPr>
          <p:nvPr>
            <p:ph type="title"/>
          </p:nvPr>
        </p:nvSpPr>
        <p:spPr>
          <a:xfrm>
            <a:off x="324851" y="2824376"/>
            <a:ext cx="5949402" cy="1346575"/>
          </a:xfrm>
        </p:spPr>
        <p:txBody>
          <a:bodyPr>
            <a:noAutofit/>
          </a:bodyPr>
          <a:lstStyle>
            <a:lvl1pPr>
              <a:defRPr sz="3939">
                <a:solidFill>
                  <a:schemeClr val="bg1"/>
                </a:solidFill>
              </a:defRPr>
            </a:lvl1pPr>
          </a:lstStyle>
          <a:p>
            <a:r>
              <a:rPr lang="en-US"/>
              <a:t>Click to edit Master title style</a:t>
            </a:r>
          </a:p>
        </p:txBody>
      </p:sp>
      <p:pic>
        <p:nvPicPr>
          <p:cNvPr id="10" name="Picture 9">
            <a:extLst>
              <a:ext uri="{FF2B5EF4-FFF2-40B4-BE49-F238E27FC236}">
                <a16:creationId xmlns:a16="http://schemas.microsoft.com/office/drawing/2014/main" id="{8196C54B-284A-41BD-A378-60BCF994C283}"/>
              </a:ext>
            </a:extLst>
          </p:cNvPr>
          <p:cNvPicPr>
            <a:picLocks noChangeAspect="1"/>
          </p:cNvPicPr>
          <p:nvPr userDrawn="1"/>
        </p:nvPicPr>
        <p:blipFill>
          <a:blip r:embed="rId2" cstate="screen">
            <a:alphaModFix amt="35000"/>
            <a:extLst>
              <a:ext uri="{28A0092B-C50C-407E-A947-70E740481C1C}">
                <a14:useLocalDpi xmlns:a14="http://schemas.microsoft.com/office/drawing/2010/main"/>
              </a:ext>
            </a:extLst>
          </a:blip>
          <a:stretch>
            <a:fillRect/>
          </a:stretch>
        </p:blipFill>
        <p:spPr>
          <a:xfrm>
            <a:off x="7374239" y="1937050"/>
            <a:ext cx="4492910" cy="3324425"/>
          </a:xfrm>
          <a:prstGeom prst="rect">
            <a:avLst/>
          </a:prstGeom>
        </p:spPr>
      </p:pic>
    </p:spTree>
    <p:extLst>
      <p:ext uri="{BB962C8B-B14F-4D97-AF65-F5344CB8AC3E}">
        <p14:creationId xmlns:p14="http://schemas.microsoft.com/office/powerpoint/2010/main" val="313253822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Break - Accent Color 03">
    <p:spTree>
      <p:nvGrpSpPr>
        <p:cNvPr id="1" name=""/>
        <p:cNvGrpSpPr/>
        <p:nvPr/>
      </p:nvGrpSpPr>
      <p:grpSpPr>
        <a:xfrm>
          <a:off x="0" y="0"/>
          <a:ext cx="0" cy="0"/>
          <a:chOff x="0" y="0"/>
          <a:chExt cx="0" cy="0"/>
        </a:xfrm>
      </p:grpSpPr>
      <p:sp>
        <p:nvSpPr>
          <p:cNvPr id="5" name="Rectangle 4"/>
          <p:cNvSpPr/>
          <p:nvPr userDrawn="1"/>
        </p:nvSpPr>
        <p:spPr>
          <a:xfrm>
            <a:off x="0" y="2078182"/>
            <a:ext cx="12192000" cy="2514600"/>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6" name="Rectangle 15"/>
          <p:cNvSpPr/>
          <p:nvPr userDrawn="1"/>
        </p:nvSpPr>
        <p:spPr>
          <a:xfrm>
            <a:off x="0" y="4546366"/>
            <a:ext cx="12192000" cy="73152"/>
          </a:xfrm>
          <a:prstGeom prst="rect">
            <a:avLst/>
          </a:prstGeom>
          <a:solidFill>
            <a:srgbClr val="1573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cxnSp>
        <p:nvCxnSpPr>
          <p:cNvPr id="7" name="Straight Connector 6"/>
          <p:cNvCxnSpPr/>
          <p:nvPr userDrawn="1"/>
        </p:nvCxnSpPr>
        <p:spPr>
          <a:xfrm>
            <a:off x="472791" y="2753758"/>
            <a:ext cx="4174448"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Slide Number Placeholder 6"/>
          <p:cNvSpPr>
            <a:spLocks noGrp="1"/>
          </p:cNvSpPr>
          <p:nvPr>
            <p:ph type="sldNum" sz="quarter" idx="12"/>
          </p:nvPr>
        </p:nvSpPr>
        <p:spPr>
          <a:xfrm>
            <a:off x="342240" y="6356358"/>
            <a:ext cx="2844800" cy="365125"/>
          </a:xfrm>
        </p:spPr>
        <p:txBody>
          <a:bodyPr/>
          <a:lstStyle/>
          <a:p>
            <a:fld id="{BEEE3D23-30C1-F34A-B827-52BBC0B19443}" type="slidenum">
              <a:rPr lang="en-US" smtClean="0"/>
              <a:t>‹#›</a:t>
            </a:fld>
            <a:endParaRPr lang="en-US"/>
          </a:p>
        </p:txBody>
      </p:sp>
      <p:sp>
        <p:nvSpPr>
          <p:cNvPr id="17" name="Title 1"/>
          <p:cNvSpPr>
            <a:spLocks noGrp="1"/>
          </p:cNvSpPr>
          <p:nvPr>
            <p:ph type="title"/>
          </p:nvPr>
        </p:nvSpPr>
        <p:spPr>
          <a:xfrm>
            <a:off x="324851" y="2824376"/>
            <a:ext cx="5949402" cy="1346575"/>
          </a:xfrm>
        </p:spPr>
        <p:txBody>
          <a:bodyPr>
            <a:noAutofit/>
          </a:bodyPr>
          <a:lstStyle>
            <a:lvl1pPr>
              <a:defRPr sz="3939">
                <a:solidFill>
                  <a:schemeClr val="bg1"/>
                </a:solidFill>
              </a:defRPr>
            </a:lvl1pPr>
          </a:lstStyle>
          <a:p>
            <a:r>
              <a:rPr lang="en-US"/>
              <a:t>Click to edit Master title style</a:t>
            </a:r>
          </a:p>
        </p:txBody>
      </p:sp>
      <p:pic>
        <p:nvPicPr>
          <p:cNvPr id="10" name="Picture 9">
            <a:extLst>
              <a:ext uri="{FF2B5EF4-FFF2-40B4-BE49-F238E27FC236}">
                <a16:creationId xmlns:a16="http://schemas.microsoft.com/office/drawing/2014/main" id="{B2A739F8-C651-4461-BE32-FBAFE9FF2EEF}"/>
              </a:ext>
            </a:extLst>
          </p:cNvPr>
          <p:cNvPicPr>
            <a:picLocks noChangeAspect="1"/>
          </p:cNvPicPr>
          <p:nvPr userDrawn="1"/>
        </p:nvPicPr>
        <p:blipFill>
          <a:blip r:embed="rId2" cstate="screen">
            <a:alphaModFix amt="35000"/>
            <a:extLst>
              <a:ext uri="{28A0092B-C50C-407E-A947-70E740481C1C}">
                <a14:useLocalDpi xmlns:a14="http://schemas.microsoft.com/office/drawing/2010/main"/>
              </a:ext>
            </a:extLst>
          </a:blip>
          <a:stretch>
            <a:fillRect/>
          </a:stretch>
        </p:blipFill>
        <p:spPr>
          <a:xfrm>
            <a:off x="7374239" y="1937050"/>
            <a:ext cx="4492910" cy="3324425"/>
          </a:xfrm>
          <a:prstGeom prst="rect">
            <a:avLst/>
          </a:prstGeom>
        </p:spPr>
      </p:pic>
    </p:spTree>
    <p:extLst>
      <p:ext uri="{BB962C8B-B14F-4D97-AF65-F5344CB8AC3E}">
        <p14:creationId xmlns:p14="http://schemas.microsoft.com/office/powerpoint/2010/main" val="313253822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Break - Accent Color 04">
    <p:spTree>
      <p:nvGrpSpPr>
        <p:cNvPr id="1" name=""/>
        <p:cNvGrpSpPr/>
        <p:nvPr/>
      </p:nvGrpSpPr>
      <p:grpSpPr>
        <a:xfrm>
          <a:off x="0" y="0"/>
          <a:ext cx="0" cy="0"/>
          <a:chOff x="0" y="0"/>
          <a:chExt cx="0" cy="0"/>
        </a:xfrm>
      </p:grpSpPr>
      <p:sp>
        <p:nvSpPr>
          <p:cNvPr id="5" name="Rectangle 4"/>
          <p:cNvSpPr/>
          <p:nvPr userDrawn="1"/>
        </p:nvSpPr>
        <p:spPr>
          <a:xfrm>
            <a:off x="0" y="2078182"/>
            <a:ext cx="12192000" cy="2514600"/>
          </a:xfrm>
          <a:prstGeom prst="rect">
            <a:avLst/>
          </a:prstGeom>
          <a:solidFill>
            <a:srgbClr val="1740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1" name="Rectangle 10"/>
          <p:cNvSpPr/>
          <p:nvPr userDrawn="1"/>
        </p:nvSpPr>
        <p:spPr>
          <a:xfrm>
            <a:off x="0" y="4546366"/>
            <a:ext cx="12192000" cy="73152"/>
          </a:xfrm>
          <a:prstGeom prst="rect">
            <a:avLst/>
          </a:prstGeom>
          <a:solidFill>
            <a:srgbClr val="1573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3" name="Slide Number Placeholder 2"/>
          <p:cNvSpPr>
            <a:spLocks noGrp="1"/>
          </p:cNvSpPr>
          <p:nvPr>
            <p:ph type="sldNum" sz="quarter" idx="10"/>
          </p:nvPr>
        </p:nvSpPr>
        <p:spPr/>
        <p:txBody>
          <a:bodyPr/>
          <a:lstStyle/>
          <a:p>
            <a:fld id="{BEEE3D23-30C1-F34A-B827-52BBC0B19443}" type="slidenum">
              <a:rPr lang="en-US" smtClean="0"/>
              <a:pPr/>
              <a:t>‹#›</a:t>
            </a:fld>
            <a:endParaRPr lang="en-US"/>
          </a:p>
        </p:txBody>
      </p:sp>
      <p:cxnSp>
        <p:nvCxnSpPr>
          <p:cNvPr id="7" name="Straight Connector 6"/>
          <p:cNvCxnSpPr/>
          <p:nvPr userDrawn="1"/>
        </p:nvCxnSpPr>
        <p:spPr>
          <a:xfrm>
            <a:off x="472791" y="2753758"/>
            <a:ext cx="4174448"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Title 1"/>
          <p:cNvSpPr>
            <a:spLocks noGrp="1"/>
          </p:cNvSpPr>
          <p:nvPr>
            <p:ph type="title"/>
          </p:nvPr>
        </p:nvSpPr>
        <p:spPr>
          <a:xfrm>
            <a:off x="324851" y="2824376"/>
            <a:ext cx="5949402" cy="1346575"/>
          </a:xfrm>
        </p:spPr>
        <p:txBody>
          <a:bodyPr>
            <a:noAutofit/>
          </a:bodyPr>
          <a:lstStyle>
            <a:lvl1pPr>
              <a:defRPr sz="3939">
                <a:solidFill>
                  <a:schemeClr val="bg1"/>
                </a:solidFill>
              </a:defRPr>
            </a:lvl1pPr>
          </a:lstStyle>
          <a:p>
            <a:r>
              <a:rPr lang="en-US"/>
              <a:t>Click to edit Master title style</a:t>
            </a:r>
          </a:p>
        </p:txBody>
      </p:sp>
      <p:pic>
        <p:nvPicPr>
          <p:cNvPr id="9" name="Picture 8">
            <a:extLst>
              <a:ext uri="{FF2B5EF4-FFF2-40B4-BE49-F238E27FC236}">
                <a16:creationId xmlns:a16="http://schemas.microsoft.com/office/drawing/2014/main" id="{0B3F1FDD-C682-40F5-A4F0-9A55A4C6B0F2}"/>
              </a:ext>
            </a:extLst>
          </p:cNvPr>
          <p:cNvPicPr>
            <a:picLocks noChangeAspect="1"/>
          </p:cNvPicPr>
          <p:nvPr userDrawn="1"/>
        </p:nvPicPr>
        <p:blipFill>
          <a:blip r:embed="rId2" cstate="screen">
            <a:alphaModFix amt="35000"/>
            <a:extLst>
              <a:ext uri="{28A0092B-C50C-407E-A947-70E740481C1C}">
                <a14:useLocalDpi xmlns:a14="http://schemas.microsoft.com/office/drawing/2010/main"/>
              </a:ext>
            </a:extLst>
          </a:blip>
          <a:stretch>
            <a:fillRect/>
          </a:stretch>
        </p:blipFill>
        <p:spPr>
          <a:xfrm>
            <a:off x="7374239" y="1937050"/>
            <a:ext cx="4492910" cy="3324425"/>
          </a:xfrm>
          <a:prstGeom prst="rect">
            <a:avLst/>
          </a:prstGeom>
        </p:spPr>
      </p:pic>
    </p:spTree>
    <p:extLst>
      <p:ext uri="{BB962C8B-B14F-4D97-AF65-F5344CB8AC3E}">
        <p14:creationId xmlns:p14="http://schemas.microsoft.com/office/powerpoint/2010/main" val="179298640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Break - Accent Color 05">
    <p:spTree>
      <p:nvGrpSpPr>
        <p:cNvPr id="1" name=""/>
        <p:cNvGrpSpPr/>
        <p:nvPr/>
      </p:nvGrpSpPr>
      <p:grpSpPr>
        <a:xfrm>
          <a:off x="0" y="0"/>
          <a:ext cx="0" cy="0"/>
          <a:chOff x="0" y="0"/>
          <a:chExt cx="0" cy="0"/>
        </a:xfrm>
      </p:grpSpPr>
      <p:sp>
        <p:nvSpPr>
          <p:cNvPr id="5" name="Rectangle 4"/>
          <p:cNvSpPr/>
          <p:nvPr userDrawn="1"/>
        </p:nvSpPr>
        <p:spPr>
          <a:xfrm>
            <a:off x="0" y="2078182"/>
            <a:ext cx="12192000" cy="2514600"/>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1" name="Rectangle 10"/>
          <p:cNvSpPr/>
          <p:nvPr userDrawn="1"/>
        </p:nvSpPr>
        <p:spPr>
          <a:xfrm>
            <a:off x="0" y="4546366"/>
            <a:ext cx="12192000" cy="73152"/>
          </a:xfrm>
          <a:prstGeom prst="rect">
            <a:avLst/>
          </a:prstGeom>
          <a:solidFill>
            <a:srgbClr val="1573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3" name="Slide Number Placeholder 2"/>
          <p:cNvSpPr>
            <a:spLocks noGrp="1"/>
          </p:cNvSpPr>
          <p:nvPr>
            <p:ph type="sldNum" sz="quarter" idx="10"/>
          </p:nvPr>
        </p:nvSpPr>
        <p:spPr/>
        <p:txBody>
          <a:bodyPr/>
          <a:lstStyle/>
          <a:p>
            <a:fld id="{BEEE3D23-30C1-F34A-B827-52BBC0B19443}" type="slidenum">
              <a:rPr lang="en-US" smtClean="0"/>
              <a:pPr/>
              <a:t>‹#›</a:t>
            </a:fld>
            <a:endParaRPr lang="en-US"/>
          </a:p>
        </p:txBody>
      </p:sp>
      <p:cxnSp>
        <p:nvCxnSpPr>
          <p:cNvPr id="7" name="Straight Connector 6"/>
          <p:cNvCxnSpPr/>
          <p:nvPr userDrawn="1"/>
        </p:nvCxnSpPr>
        <p:spPr>
          <a:xfrm>
            <a:off x="472791" y="2753758"/>
            <a:ext cx="4174448"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Title 1"/>
          <p:cNvSpPr>
            <a:spLocks noGrp="1"/>
          </p:cNvSpPr>
          <p:nvPr>
            <p:ph type="title"/>
          </p:nvPr>
        </p:nvSpPr>
        <p:spPr>
          <a:xfrm>
            <a:off x="324851" y="2824376"/>
            <a:ext cx="5949402" cy="1346575"/>
          </a:xfrm>
        </p:spPr>
        <p:txBody>
          <a:bodyPr>
            <a:noAutofit/>
          </a:bodyPr>
          <a:lstStyle>
            <a:lvl1pPr>
              <a:defRPr sz="3939">
                <a:solidFill>
                  <a:schemeClr val="bg1"/>
                </a:solidFill>
              </a:defRPr>
            </a:lvl1pPr>
          </a:lstStyle>
          <a:p>
            <a:r>
              <a:rPr lang="en-US"/>
              <a:t>Click to edit Master title style</a:t>
            </a:r>
          </a:p>
        </p:txBody>
      </p:sp>
      <p:pic>
        <p:nvPicPr>
          <p:cNvPr id="9" name="Picture 8">
            <a:extLst>
              <a:ext uri="{FF2B5EF4-FFF2-40B4-BE49-F238E27FC236}">
                <a16:creationId xmlns:a16="http://schemas.microsoft.com/office/drawing/2014/main" id="{35232120-72FA-41D4-88AB-D6AA1F9BE48C}"/>
              </a:ext>
            </a:extLst>
          </p:cNvPr>
          <p:cNvPicPr>
            <a:picLocks noChangeAspect="1"/>
          </p:cNvPicPr>
          <p:nvPr userDrawn="1"/>
        </p:nvPicPr>
        <p:blipFill>
          <a:blip r:embed="rId2" cstate="screen">
            <a:alphaModFix amt="35000"/>
            <a:extLst>
              <a:ext uri="{28A0092B-C50C-407E-A947-70E740481C1C}">
                <a14:useLocalDpi xmlns:a14="http://schemas.microsoft.com/office/drawing/2010/main"/>
              </a:ext>
            </a:extLst>
          </a:blip>
          <a:stretch>
            <a:fillRect/>
          </a:stretch>
        </p:blipFill>
        <p:spPr>
          <a:xfrm>
            <a:off x="7374239" y="1937050"/>
            <a:ext cx="4492910" cy="3324425"/>
          </a:xfrm>
          <a:prstGeom prst="rect">
            <a:avLst/>
          </a:prstGeom>
        </p:spPr>
      </p:pic>
    </p:spTree>
    <p:extLst>
      <p:ext uri="{BB962C8B-B14F-4D97-AF65-F5344CB8AC3E}">
        <p14:creationId xmlns:p14="http://schemas.microsoft.com/office/powerpoint/2010/main" val="398312855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69EE29D-97E5-4EAE-BA26-C4FCAA049970}"/>
              </a:ext>
            </a:extLst>
          </p:cNvPr>
          <p:cNvSpPr>
            <a:spLocks noGrp="1"/>
          </p:cNvSpPr>
          <p:nvPr>
            <p:ph type="sldNum" sz="quarter" idx="10"/>
          </p:nvPr>
        </p:nvSpPr>
        <p:spPr/>
        <p:txBody>
          <a:bodyPr/>
          <a:lstStyle/>
          <a:p>
            <a:fld id="{4F1FA912-FC24-3D46-8310-EAE10B51E2A1}" type="slidenum">
              <a:rPr lang="en-US" smtClean="0"/>
              <a:t>‹#›</a:t>
            </a:fld>
            <a:endParaRPr lang="en-US"/>
          </a:p>
        </p:txBody>
      </p:sp>
      <p:pic>
        <p:nvPicPr>
          <p:cNvPr id="3" name="Picture 2">
            <a:extLst>
              <a:ext uri="{FF2B5EF4-FFF2-40B4-BE49-F238E27FC236}">
                <a16:creationId xmlns:a16="http://schemas.microsoft.com/office/drawing/2014/main" id="{18F8D04B-1A10-0D4E-38B6-AA651801F2B1}"/>
              </a:ext>
            </a:extLst>
          </p:cNvPr>
          <p:cNvPicPr>
            <a:picLocks noChangeAspect="1"/>
          </p:cNvPicPr>
          <p:nvPr userDrawn="1"/>
        </p:nvPicPr>
        <p:blipFill>
          <a:blip r:embed="rId2"/>
          <a:stretch>
            <a:fillRect/>
          </a:stretch>
        </p:blipFill>
        <p:spPr>
          <a:xfrm>
            <a:off x="10483698" y="38161"/>
            <a:ext cx="1323837" cy="750629"/>
          </a:xfrm>
          <a:prstGeom prst="rect">
            <a:avLst/>
          </a:prstGeom>
        </p:spPr>
      </p:pic>
    </p:spTree>
    <p:extLst>
      <p:ext uri="{BB962C8B-B14F-4D97-AF65-F5344CB8AC3E}">
        <p14:creationId xmlns:p14="http://schemas.microsoft.com/office/powerpoint/2010/main" val="294177844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cSld name="Body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Slide Number Placeholder 5"/>
          <p:cNvSpPr>
            <a:spLocks noGrp="1"/>
          </p:cNvSpPr>
          <p:nvPr>
            <p:ph type="sldNum" sz="quarter" idx="12"/>
          </p:nvPr>
        </p:nvSpPr>
        <p:spPr/>
        <p:txBody>
          <a:bodyPr/>
          <a:lstStyle/>
          <a:p>
            <a:fld id="{2066355A-084C-D24E-9AD2-7E4FC41EA627}" type="slidenum">
              <a:rPr lang="en-US" smtClean="0"/>
              <a:pPr/>
              <a:t>‹#›</a:t>
            </a:fld>
            <a:endParaRPr lang="en-US"/>
          </a:p>
        </p:txBody>
      </p:sp>
    </p:spTree>
    <p:extLst>
      <p:ext uri="{BB962C8B-B14F-4D97-AF65-F5344CB8AC3E}">
        <p14:creationId xmlns:p14="http://schemas.microsoft.com/office/powerpoint/2010/main" val="6218498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69EE29D-97E5-4EAE-BA26-C4FCAA049970}"/>
              </a:ext>
            </a:extLst>
          </p:cNvPr>
          <p:cNvSpPr>
            <a:spLocks noGrp="1"/>
          </p:cNvSpPr>
          <p:nvPr>
            <p:ph type="sldNum" sz="quarter" idx="10"/>
          </p:nvPr>
        </p:nvSpPr>
        <p:spPr/>
        <p:txBody>
          <a:bodyPr/>
          <a:lstStyle/>
          <a:p>
            <a:fld id="{4F1FA912-FC24-3D46-8310-EAE10B51E2A1}" type="slidenum">
              <a:rPr lang="en-US" smtClean="0"/>
              <a:t>‹#›</a:t>
            </a:fld>
            <a:endParaRPr lang="en-US"/>
          </a:p>
        </p:txBody>
      </p:sp>
    </p:spTree>
    <p:extLst>
      <p:ext uri="{BB962C8B-B14F-4D97-AF65-F5344CB8AC3E}">
        <p14:creationId xmlns:p14="http://schemas.microsoft.com/office/powerpoint/2010/main" val="29417784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able of Contets">
    <p:bg>
      <p:bgPr>
        <a:solidFill>
          <a:srgbClr val="1293C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42242" y="194430"/>
            <a:ext cx="11528917" cy="594360"/>
          </a:xfrm>
        </p:spPr>
        <p:txBody>
          <a:bodyPr>
            <a:noAutofit/>
          </a:bodyPr>
          <a:lstStyle>
            <a:lvl1pPr>
              <a:defRPr sz="2585">
                <a:solidFill>
                  <a:schemeClr val="bg1"/>
                </a:solidFill>
              </a:defRPr>
            </a:lvl1pPr>
          </a:lstStyle>
          <a:p>
            <a:r>
              <a:rPr lang="en-US"/>
              <a:t>Click to edit Master title style</a:t>
            </a:r>
          </a:p>
        </p:txBody>
      </p:sp>
      <p:sp>
        <p:nvSpPr>
          <p:cNvPr id="3" name="Content Placeholder 2"/>
          <p:cNvSpPr>
            <a:spLocks noGrp="1"/>
          </p:cNvSpPr>
          <p:nvPr>
            <p:ph idx="1"/>
          </p:nvPr>
        </p:nvSpPr>
        <p:spPr>
          <a:xfrm>
            <a:off x="342242" y="801390"/>
            <a:ext cx="11528917" cy="5227768"/>
          </a:xfrm>
        </p:spPr>
        <p:txBody>
          <a:bodyPr>
            <a:noAutofit/>
          </a:bodyPr>
          <a:lstStyle>
            <a:lvl1pPr>
              <a:spcAft>
                <a:spcPts val="738"/>
              </a:spcAft>
              <a:buClr>
                <a:schemeClr val="bg1"/>
              </a:buClr>
              <a:defRPr sz="1969">
                <a:solidFill>
                  <a:schemeClr val="bg1"/>
                </a:solidFill>
              </a:defRPr>
            </a:lvl1pPr>
            <a:lvl2pPr marL="450186">
              <a:buClr>
                <a:schemeClr val="bg1"/>
              </a:buClr>
              <a:defRPr sz="1969">
                <a:solidFill>
                  <a:schemeClr val="bg1"/>
                </a:solidFill>
              </a:defRPr>
            </a:lvl2pPr>
            <a:lvl3pPr marL="900372">
              <a:buClr>
                <a:schemeClr val="bg1"/>
              </a:buClr>
              <a:defRPr sz="1969">
                <a:solidFill>
                  <a:schemeClr val="bg1"/>
                </a:solidFill>
              </a:defRPr>
            </a:lvl3pPr>
            <a:lvl4pPr marL="1350558">
              <a:buClr>
                <a:schemeClr val="bg1"/>
              </a:buClr>
              <a:defRPr sz="1969">
                <a:solidFill>
                  <a:schemeClr val="bg1"/>
                </a:solidFill>
              </a:defRPr>
            </a:lvl4pPr>
            <a:lvl5pPr marL="1800744">
              <a:buClr>
                <a:schemeClr val="bg1"/>
              </a:buClr>
              <a:defRPr sz="196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p:cNvGrpSpPr/>
          <p:nvPr userDrawn="1"/>
        </p:nvGrpSpPr>
        <p:grpSpPr>
          <a:xfrm>
            <a:off x="5" y="6792455"/>
            <a:ext cx="12191999" cy="73745"/>
            <a:chOff x="1" y="6792449"/>
            <a:chExt cx="9143999" cy="73745"/>
          </a:xfrm>
        </p:grpSpPr>
        <p:sp>
          <p:nvSpPr>
            <p:cNvPr id="8" name="Rectangle 7"/>
            <p:cNvSpPr/>
            <p:nvPr/>
          </p:nvSpPr>
          <p:spPr>
            <a:xfrm>
              <a:off x="5486400" y="6792449"/>
              <a:ext cx="1828800" cy="73745"/>
            </a:xfrm>
            <a:prstGeom prst="rect">
              <a:avLst/>
            </a:prstGeom>
            <a:solidFill>
              <a:srgbClr val="1740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9" name="Rectangle 8"/>
            <p:cNvSpPr/>
            <p:nvPr/>
          </p:nvSpPr>
          <p:spPr>
            <a:xfrm>
              <a:off x="1" y="6792449"/>
              <a:ext cx="1828800" cy="73745"/>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0" name="Rectangle 9"/>
            <p:cNvSpPr/>
            <p:nvPr/>
          </p:nvSpPr>
          <p:spPr>
            <a:xfrm>
              <a:off x="1828801" y="6792449"/>
              <a:ext cx="1828800" cy="73745"/>
            </a:xfrm>
            <a:prstGeom prst="rect">
              <a:avLst/>
            </a:prstGeom>
            <a:solidFill>
              <a:srgbClr val="2428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1" name="Rectangle 10"/>
            <p:cNvSpPr/>
            <p:nvPr/>
          </p:nvSpPr>
          <p:spPr>
            <a:xfrm>
              <a:off x="3657601" y="6792450"/>
              <a:ext cx="1828800" cy="73743"/>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2" name="Rectangle 11"/>
            <p:cNvSpPr/>
            <p:nvPr/>
          </p:nvSpPr>
          <p:spPr>
            <a:xfrm>
              <a:off x="7315200" y="6792450"/>
              <a:ext cx="1828800" cy="73743"/>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grpSp>
      <p:sp>
        <p:nvSpPr>
          <p:cNvPr id="14" name="Slide Number Placeholder 5"/>
          <p:cNvSpPr>
            <a:spLocks noGrp="1"/>
          </p:cNvSpPr>
          <p:nvPr>
            <p:ph type="sldNum" sz="quarter" idx="4"/>
          </p:nvPr>
        </p:nvSpPr>
        <p:spPr>
          <a:xfrm>
            <a:off x="342240" y="6356358"/>
            <a:ext cx="2844800" cy="365125"/>
          </a:xfrm>
          <a:prstGeom prst="rect">
            <a:avLst/>
          </a:prstGeom>
        </p:spPr>
        <p:txBody>
          <a:bodyPr vert="horz" lIns="91440" tIns="45720" rIns="91440" bIns="45720" rtlCol="0" anchor="ctr"/>
          <a:lstStyle>
            <a:lvl1pPr algn="l">
              <a:defRPr sz="985" b="1">
                <a:solidFill>
                  <a:schemeClr val="bg1"/>
                </a:solidFill>
              </a:defRPr>
            </a:lvl1pPr>
          </a:lstStyle>
          <a:p>
            <a:fld id="{4F1FA912-FC24-3D46-8310-EAE10B51E2A1}" type="slidenum">
              <a:rPr lang="en-US" smtClean="0"/>
              <a:pPr/>
              <a:t>‹#›</a:t>
            </a:fld>
            <a:endParaRPr lang="en-US"/>
          </a:p>
        </p:txBody>
      </p:sp>
    </p:spTree>
    <p:extLst>
      <p:ext uri="{BB962C8B-B14F-4D97-AF65-F5344CB8AC3E}">
        <p14:creationId xmlns:p14="http://schemas.microsoft.com/office/powerpoint/2010/main" val="415011042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matchingName="Table of Contets">
  <p:cSld name="8_Table of Contets">
    <p:spTree>
      <p:nvGrpSpPr>
        <p:cNvPr id="1" name="Shape 26"/>
        <p:cNvGrpSpPr/>
        <p:nvPr/>
      </p:nvGrpSpPr>
      <p:grpSpPr>
        <a:xfrm>
          <a:off x="0" y="0"/>
          <a:ext cx="0" cy="0"/>
          <a:chOff x="0" y="0"/>
          <a:chExt cx="0" cy="0"/>
        </a:xfrm>
      </p:grpSpPr>
      <p:sp>
        <p:nvSpPr>
          <p:cNvPr id="27" name="Google Shape;27;p41"/>
          <p:cNvSpPr txBox="1">
            <a:spLocks noGrp="1"/>
          </p:cNvSpPr>
          <p:nvPr>
            <p:ph type="title"/>
          </p:nvPr>
        </p:nvSpPr>
        <p:spPr>
          <a:xfrm>
            <a:off x="663083" y="559555"/>
            <a:ext cx="5556485" cy="594360"/>
          </a:xfrm>
          <a:prstGeom prst="rect">
            <a:avLst/>
          </a:prstGeom>
          <a:noFill/>
          <a:ln>
            <a:noFill/>
          </a:ln>
        </p:spPr>
        <p:txBody>
          <a:bodyPr spcFirstLastPara="1" wrap="square" lIns="0" tIns="45700" rIns="91425" bIns="45700" anchor="t" anchorCtr="0">
            <a:noAutofit/>
          </a:bodyPr>
          <a:lstStyle>
            <a:lvl1pPr lvl="0" algn="l">
              <a:spcBef>
                <a:spcPts val="0"/>
              </a:spcBef>
              <a:spcAft>
                <a:spcPts val="0"/>
              </a:spcAft>
              <a:buClr>
                <a:srgbClr val="1573C5"/>
              </a:buClr>
              <a:buSzPts val="2585"/>
              <a:buFont typeface="Arial"/>
              <a:buNone/>
              <a:defRPr sz="2585">
                <a:solidFill>
                  <a:srgbClr val="34333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 name="Google Shape;28;p41"/>
          <p:cNvSpPr txBox="1">
            <a:spLocks noGrp="1"/>
          </p:cNvSpPr>
          <p:nvPr>
            <p:ph type="body" idx="1"/>
          </p:nvPr>
        </p:nvSpPr>
        <p:spPr>
          <a:xfrm>
            <a:off x="663083" y="1680166"/>
            <a:ext cx="5070655" cy="4019207"/>
          </a:xfrm>
          <a:prstGeom prst="rect">
            <a:avLst/>
          </a:prstGeom>
          <a:noFill/>
          <a:ln>
            <a:noFill/>
          </a:ln>
        </p:spPr>
        <p:txBody>
          <a:bodyPr spcFirstLastPara="1" wrap="square" lIns="0" tIns="45700" rIns="91425" bIns="45700" anchor="t" anchorCtr="0">
            <a:noAutofit/>
          </a:bodyPr>
          <a:lstStyle>
            <a:lvl1pPr marL="457200" lvl="0" indent="-366134" algn="l">
              <a:spcBef>
                <a:spcPts val="394"/>
              </a:spcBef>
              <a:spcAft>
                <a:spcPts val="0"/>
              </a:spcAft>
              <a:buSzPts val="2166"/>
              <a:buChar char="•"/>
              <a:defRPr sz="1400"/>
            </a:lvl1pPr>
            <a:lvl2pPr marL="914400" lvl="1" indent="-341128" algn="l">
              <a:spcBef>
                <a:spcPts val="738"/>
              </a:spcBef>
              <a:spcAft>
                <a:spcPts val="0"/>
              </a:spcAft>
              <a:buSzPts val="1772"/>
              <a:buChar char="o"/>
              <a:defRPr sz="1969"/>
            </a:lvl2pPr>
            <a:lvl3pPr marL="1371600" lvl="2" indent="-366134" algn="l">
              <a:spcBef>
                <a:spcPts val="738"/>
              </a:spcBef>
              <a:spcAft>
                <a:spcPts val="0"/>
              </a:spcAft>
              <a:buSzPts val="2166"/>
              <a:buChar char="•"/>
              <a:defRPr sz="1969"/>
            </a:lvl3pPr>
            <a:lvl4pPr marL="1828800" lvl="3" indent="-328625" algn="l">
              <a:spcBef>
                <a:spcPts val="738"/>
              </a:spcBef>
              <a:spcAft>
                <a:spcPts val="0"/>
              </a:spcAft>
              <a:buSzPts val="1575"/>
              <a:buChar char="o"/>
              <a:defRPr sz="1969"/>
            </a:lvl4pPr>
            <a:lvl5pPr marL="2286000" lvl="4" indent="-353631" algn="l">
              <a:spcBef>
                <a:spcPts val="738"/>
              </a:spcBef>
              <a:spcAft>
                <a:spcPts val="0"/>
              </a:spcAft>
              <a:buSzPts val="1969"/>
              <a:buChar char="•"/>
              <a:defRPr sz="1969"/>
            </a:lvl5pPr>
            <a:lvl6pPr marL="2743200" lvl="5" indent="-342900" algn="l">
              <a:spcBef>
                <a:spcPts val="738"/>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grpSp>
        <p:nvGrpSpPr>
          <p:cNvPr id="29" name="Google Shape;29;p41"/>
          <p:cNvGrpSpPr/>
          <p:nvPr/>
        </p:nvGrpSpPr>
        <p:grpSpPr>
          <a:xfrm>
            <a:off x="5" y="6787979"/>
            <a:ext cx="12191999" cy="86459"/>
            <a:chOff x="1" y="6792449"/>
            <a:chExt cx="9143999" cy="73745"/>
          </a:xfrm>
        </p:grpSpPr>
        <p:sp>
          <p:nvSpPr>
            <p:cNvPr id="30" name="Google Shape;30;p41"/>
            <p:cNvSpPr/>
            <p:nvPr/>
          </p:nvSpPr>
          <p:spPr>
            <a:xfrm>
              <a:off x="5486400" y="6792449"/>
              <a:ext cx="1828800" cy="73745"/>
            </a:xfrm>
            <a:prstGeom prst="rect">
              <a:avLst/>
            </a:prstGeom>
            <a:solidFill>
              <a:srgbClr val="17405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215" b="0" i="0" u="none" strike="noStrike" cap="none">
                <a:solidFill>
                  <a:schemeClr val="lt1"/>
                </a:solidFill>
                <a:latin typeface="Arial"/>
                <a:ea typeface="Arial"/>
                <a:cs typeface="Arial"/>
                <a:sym typeface="Arial"/>
              </a:endParaRPr>
            </a:p>
          </p:txBody>
        </p:sp>
        <p:sp>
          <p:nvSpPr>
            <p:cNvPr id="31" name="Google Shape;31;p41"/>
            <p:cNvSpPr/>
            <p:nvPr/>
          </p:nvSpPr>
          <p:spPr>
            <a:xfrm>
              <a:off x="1" y="6792449"/>
              <a:ext cx="1828800" cy="73745"/>
            </a:xfrm>
            <a:prstGeom prst="rect">
              <a:avLst/>
            </a:prstGeom>
            <a:solidFill>
              <a:srgbClr val="50A2B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215" b="0" i="0" u="none" strike="noStrike" cap="none">
                <a:solidFill>
                  <a:schemeClr val="lt1"/>
                </a:solidFill>
                <a:latin typeface="Arial"/>
                <a:ea typeface="Arial"/>
                <a:cs typeface="Arial"/>
                <a:sym typeface="Arial"/>
              </a:endParaRPr>
            </a:p>
          </p:txBody>
        </p:sp>
        <p:sp>
          <p:nvSpPr>
            <p:cNvPr id="32" name="Google Shape;32;p41"/>
            <p:cNvSpPr/>
            <p:nvPr/>
          </p:nvSpPr>
          <p:spPr>
            <a:xfrm>
              <a:off x="1828801" y="6792449"/>
              <a:ext cx="1828800" cy="73745"/>
            </a:xfrm>
            <a:prstGeom prst="rect">
              <a:avLst/>
            </a:prstGeom>
            <a:solidFill>
              <a:srgbClr val="24285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215" b="0" i="0" u="none" strike="noStrike" cap="none">
                <a:solidFill>
                  <a:schemeClr val="lt1"/>
                </a:solidFill>
                <a:latin typeface="Arial"/>
                <a:ea typeface="Arial"/>
                <a:cs typeface="Arial"/>
                <a:sym typeface="Arial"/>
              </a:endParaRPr>
            </a:p>
          </p:txBody>
        </p:sp>
        <p:sp>
          <p:nvSpPr>
            <p:cNvPr id="33" name="Google Shape;33;p41"/>
            <p:cNvSpPr/>
            <p:nvPr/>
          </p:nvSpPr>
          <p:spPr>
            <a:xfrm>
              <a:off x="3657601" y="6792450"/>
              <a:ext cx="1828800" cy="73743"/>
            </a:xfrm>
            <a:prstGeom prst="rect">
              <a:avLst/>
            </a:prstGeom>
            <a:solidFill>
              <a:srgbClr val="1290C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215" b="0" i="0" u="none" strike="noStrike" cap="none">
                <a:solidFill>
                  <a:schemeClr val="lt1"/>
                </a:solidFill>
                <a:latin typeface="Arial"/>
                <a:ea typeface="Arial"/>
                <a:cs typeface="Arial"/>
                <a:sym typeface="Arial"/>
              </a:endParaRPr>
            </a:p>
          </p:txBody>
        </p:sp>
        <p:sp>
          <p:nvSpPr>
            <p:cNvPr id="34" name="Google Shape;34;p41"/>
            <p:cNvSpPr/>
            <p:nvPr/>
          </p:nvSpPr>
          <p:spPr>
            <a:xfrm>
              <a:off x="7315200" y="6792450"/>
              <a:ext cx="1828800" cy="73743"/>
            </a:xfrm>
            <a:prstGeom prst="rect">
              <a:avLst/>
            </a:prstGeom>
            <a:solidFill>
              <a:srgbClr val="9ECDE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215" b="0" i="0" u="none" strike="noStrike" cap="none">
                <a:solidFill>
                  <a:schemeClr val="lt1"/>
                </a:solidFill>
                <a:latin typeface="Arial"/>
                <a:ea typeface="Arial"/>
                <a:cs typeface="Arial"/>
                <a:sym typeface="Arial"/>
              </a:endParaRPr>
            </a:p>
          </p:txBody>
        </p:sp>
      </p:grpSp>
      <p:sp>
        <p:nvSpPr>
          <p:cNvPr id="35" name="Google Shape;35;p41"/>
          <p:cNvSpPr txBox="1">
            <a:spLocks noGrp="1"/>
          </p:cNvSpPr>
          <p:nvPr>
            <p:ph type="sldNum" idx="12"/>
          </p:nvPr>
        </p:nvSpPr>
        <p:spPr>
          <a:xfrm>
            <a:off x="264670" y="6283787"/>
            <a:ext cx="2844800" cy="365125"/>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sz="985" b="1" i="0" u="none" strike="noStrike" cap="none">
                <a:solidFill>
                  <a:srgbClr val="343332"/>
                </a:solidFill>
                <a:latin typeface="Arial"/>
                <a:ea typeface="Arial"/>
                <a:cs typeface="Arial"/>
                <a:sym typeface="Arial"/>
              </a:defRPr>
            </a:lvl1pPr>
            <a:lvl2pPr marL="0" lvl="1" indent="0" algn="l">
              <a:spcBef>
                <a:spcPts val="0"/>
              </a:spcBef>
              <a:buNone/>
              <a:defRPr sz="985" b="1" i="0" u="none" strike="noStrike" cap="none">
                <a:solidFill>
                  <a:schemeClr val="dk1"/>
                </a:solidFill>
                <a:latin typeface="Arial"/>
                <a:ea typeface="Arial"/>
                <a:cs typeface="Arial"/>
                <a:sym typeface="Arial"/>
              </a:defRPr>
            </a:lvl2pPr>
            <a:lvl3pPr marL="0" lvl="2" indent="0" algn="l">
              <a:spcBef>
                <a:spcPts val="0"/>
              </a:spcBef>
              <a:buNone/>
              <a:defRPr sz="985" b="1" i="0" u="none" strike="noStrike" cap="none">
                <a:solidFill>
                  <a:schemeClr val="dk1"/>
                </a:solidFill>
                <a:latin typeface="Arial"/>
                <a:ea typeface="Arial"/>
                <a:cs typeface="Arial"/>
                <a:sym typeface="Arial"/>
              </a:defRPr>
            </a:lvl3pPr>
            <a:lvl4pPr marL="0" lvl="3" indent="0" algn="l">
              <a:spcBef>
                <a:spcPts val="0"/>
              </a:spcBef>
              <a:buNone/>
              <a:defRPr sz="985" b="1" i="0" u="none" strike="noStrike" cap="none">
                <a:solidFill>
                  <a:schemeClr val="dk1"/>
                </a:solidFill>
                <a:latin typeface="Arial"/>
                <a:ea typeface="Arial"/>
                <a:cs typeface="Arial"/>
                <a:sym typeface="Arial"/>
              </a:defRPr>
            </a:lvl4pPr>
            <a:lvl5pPr marL="0" lvl="4" indent="0" algn="l">
              <a:spcBef>
                <a:spcPts val="0"/>
              </a:spcBef>
              <a:buNone/>
              <a:defRPr sz="985" b="1" i="0" u="none" strike="noStrike" cap="none">
                <a:solidFill>
                  <a:schemeClr val="dk1"/>
                </a:solidFill>
                <a:latin typeface="Arial"/>
                <a:ea typeface="Arial"/>
                <a:cs typeface="Arial"/>
                <a:sym typeface="Arial"/>
              </a:defRPr>
            </a:lvl5pPr>
            <a:lvl6pPr marL="0" lvl="5" indent="0" algn="l">
              <a:spcBef>
                <a:spcPts val="0"/>
              </a:spcBef>
              <a:buNone/>
              <a:defRPr sz="985" b="1" i="0" u="none" strike="noStrike" cap="none">
                <a:solidFill>
                  <a:schemeClr val="dk1"/>
                </a:solidFill>
                <a:latin typeface="Arial"/>
                <a:ea typeface="Arial"/>
                <a:cs typeface="Arial"/>
                <a:sym typeface="Arial"/>
              </a:defRPr>
            </a:lvl6pPr>
            <a:lvl7pPr marL="0" lvl="6" indent="0" algn="l">
              <a:spcBef>
                <a:spcPts val="0"/>
              </a:spcBef>
              <a:buNone/>
              <a:defRPr sz="985" b="1" i="0" u="none" strike="noStrike" cap="none">
                <a:solidFill>
                  <a:schemeClr val="dk1"/>
                </a:solidFill>
                <a:latin typeface="Arial"/>
                <a:ea typeface="Arial"/>
                <a:cs typeface="Arial"/>
                <a:sym typeface="Arial"/>
              </a:defRPr>
            </a:lvl7pPr>
            <a:lvl8pPr marL="0" lvl="7" indent="0" algn="l">
              <a:spcBef>
                <a:spcPts val="0"/>
              </a:spcBef>
              <a:buNone/>
              <a:defRPr sz="985" b="1" i="0" u="none" strike="noStrike" cap="none">
                <a:solidFill>
                  <a:schemeClr val="dk1"/>
                </a:solidFill>
                <a:latin typeface="Arial"/>
                <a:ea typeface="Arial"/>
                <a:cs typeface="Arial"/>
                <a:sym typeface="Arial"/>
              </a:defRPr>
            </a:lvl8pPr>
            <a:lvl9pPr marL="0" lvl="8" indent="0" algn="l">
              <a:spcBef>
                <a:spcPts val="0"/>
              </a:spcBef>
              <a:buNone/>
              <a:defRPr sz="985" b="1" i="0" u="none" strike="noStrike" cap="none">
                <a:solidFill>
                  <a:schemeClr val="dk1"/>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11129637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w/ Tit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8174B7BF-1E6C-431D-9A1C-0A8BB88559D6}"/>
              </a:ext>
            </a:extLst>
          </p:cNvPr>
          <p:cNvSpPr/>
          <p:nvPr userDrawn="1"/>
        </p:nvSpPr>
        <p:spPr>
          <a:xfrm>
            <a:off x="325457" y="278027"/>
            <a:ext cx="11541086" cy="6154308"/>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dirty="0">
              <a:solidFill>
                <a:schemeClr val="tx1"/>
              </a:solidFill>
            </a:endParaRPr>
          </a:p>
        </p:txBody>
      </p:sp>
      <p:pic>
        <p:nvPicPr>
          <p:cNvPr id="13" name="Graphic 12">
            <a:extLst>
              <a:ext uri="{FF2B5EF4-FFF2-40B4-BE49-F238E27FC236}">
                <a16:creationId xmlns:a16="http://schemas.microsoft.com/office/drawing/2014/main" id="{E29AEE81-645C-402E-A356-7D7F4D468EF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457" y="6551607"/>
            <a:ext cx="1852404" cy="171450"/>
          </a:xfrm>
          <a:prstGeom prst="rect">
            <a:avLst/>
          </a:prstGeom>
        </p:spPr>
      </p:pic>
      <p:sp>
        <p:nvSpPr>
          <p:cNvPr id="30" name="Text Placeholder 15">
            <a:extLst>
              <a:ext uri="{FF2B5EF4-FFF2-40B4-BE49-F238E27FC236}">
                <a16:creationId xmlns:a16="http://schemas.microsoft.com/office/drawing/2014/main" id="{DE7F8B16-B7BB-4112-9516-81357096A663}"/>
              </a:ext>
            </a:extLst>
          </p:cNvPr>
          <p:cNvSpPr>
            <a:spLocks noGrp="1"/>
          </p:cNvSpPr>
          <p:nvPr>
            <p:ph type="body" sz="quarter" idx="13" hasCustomPrompt="1"/>
          </p:nvPr>
        </p:nvSpPr>
        <p:spPr>
          <a:xfrm>
            <a:off x="480060" y="1803966"/>
            <a:ext cx="11130913" cy="4177734"/>
          </a:xfrm>
        </p:spPr>
        <p:txBody>
          <a:bodyPr numCol="1" spcCol="36000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31" name="Text Placeholder 40">
            <a:extLst>
              <a:ext uri="{FF2B5EF4-FFF2-40B4-BE49-F238E27FC236}">
                <a16:creationId xmlns:a16="http://schemas.microsoft.com/office/drawing/2014/main" id="{13F5135C-1559-4416-949F-5359B228CC35}"/>
              </a:ext>
            </a:extLst>
          </p:cNvPr>
          <p:cNvSpPr>
            <a:spLocks noGrp="1"/>
          </p:cNvSpPr>
          <p:nvPr>
            <p:ph type="body" sz="quarter" idx="19" hasCustomPrompt="1"/>
          </p:nvPr>
        </p:nvSpPr>
        <p:spPr>
          <a:xfrm>
            <a:off x="480060" y="1203325"/>
            <a:ext cx="11113623" cy="391636"/>
          </a:xfrm>
        </p:spPr>
        <p:txBody>
          <a:bodyPr/>
          <a:lstStyle>
            <a:lvl1pPr>
              <a:defRPr>
                <a:solidFill>
                  <a:schemeClr val="accent3"/>
                </a:solidFill>
              </a:defRPr>
            </a:lvl1pPr>
          </a:lstStyle>
          <a:p>
            <a:pPr lvl="0"/>
            <a:r>
              <a:rPr lang="en-US"/>
              <a:t>Click to insert subtitle</a:t>
            </a:r>
          </a:p>
        </p:txBody>
      </p:sp>
      <p:sp>
        <p:nvSpPr>
          <p:cNvPr id="3" name="Title 2">
            <a:extLst>
              <a:ext uri="{FF2B5EF4-FFF2-40B4-BE49-F238E27FC236}">
                <a16:creationId xmlns:a16="http://schemas.microsoft.com/office/drawing/2014/main" id="{1CF89B9E-08E3-4BC0-9C0C-CE6A2920DFD3}"/>
              </a:ext>
            </a:extLst>
          </p:cNvPr>
          <p:cNvSpPr>
            <a:spLocks noGrp="1"/>
          </p:cNvSpPr>
          <p:nvPr>
            <p:ph type="title" hasCustomPrompt="1"/>
          </p:nvPr>
        </p:nvSpPr>
        <p:spPr>
          <a:xfrm>
            <a:off x="480059" y="706279"/>
            <a:ext cx="11130913" cy="406241"/>
          </a:xfrm>
        </p:spPr>
        <p:txBody>
          <a:bodyPr/>
          <a:lstStyle>
            <a:lvl1pPr>
              <a:defRPr b="1">
                <a:solidFill>
                  <a:schemeClr val="accent1"/>
                </a:solidFill>
              </a:defRPr>
            </a:lvl1pPr>
          </a:lstStyle>
          <a:p>
            <a:r>
              <a:rPr lang="en-US"/>
              <a:t>CLICK TO INSERT TITLE</a:t>
            </a:r>
          </a:p>
        </p:txBody>
      </p:sp>
      <p:sp>
        <p:nvSpPr>
          <p:cNvPr id="5" name="Footer Placeholder 4">
            <a:extLst>
              <a:ext uri="{FF2B5EF4-FFF2-40B4-BE49-F238E27FC236}">
                <a16:creationId xmlns:a16="http://schemas.microsoft.com/office/drawing/2014/main" id="{0A99166D-B3A3-4A56-AE00-2E31D435F922}"/>
              </a:ext>
            </a:extLst>
          </p:cNvPr>
          <p:cNvSpPr>
            <a:spLocks noGrp="1"/>
          </p:cNvSpPr>
          <p:nvPr>
            <p:ph type="ftr" sz="quarter" idx="21"/>
          </p:nvPr>
        </p:nvSpPr>
        <p:spPr/>
        <p:txBody>
          <a:bodyPr/>
          <a:lstStyle/>
          <a:p>
            <a:endParaRPr lang="en-US" sz="600" noProof="0" dirty="0"/>
          </a:p>
        </p:txBody>
      </p:sp>
      <p:sp>
        <p:nvSpPr>
          <p:cNvPr id="6" name="Slide Number Placeholder 5">
            <a:extLst>
              <a:ext uri="{FF2B5EF4-FFF2-40B4-BE49-F238E27FC236}">
                <a16:creationId xmlns:a16="http://schemas.microsoft.com/office/drawing/2014/main" id="{67E5F057-544F-48E5-B9C4-F228688491CB}"/>
              </a:ext>
            </a:extLst>
          </p:cNvPr>
          <p:cNvSpPr>
            <a:spLocks noGrp="1"/>
          </p:cNvSpPr>
          <p:nvPr>
            <p:ph type="sldNum" sz="quarter" idx="22"/>
          </p:nvPr>
        </p:nvSpPr>
        <p:spPr/>
        <p:txBody>
          <a:bodyPr/>
          <a:lstStyle/>
          <a:p>
            <a:fld id="{5034EE70-12A8-400F-8E3D-398CDD8B315D}" type="slidenum">
              <a:rPr lang="en-US" smtClean="0"/>
              <a:pPr/>
              <a:t>‹#›</a:t>
            </a:fld>
            <a:endParaRPr lang="en-US" dirty="0"/>
          </a:p>
        </p:txBody>
      </p:sp>
    </p:spTree>
    <p:extLst>
      <p:ext uri="{BB962C8B-B14F-4D97-AF65-F5344CB8AC3E}">
        <p14:creationId xmlns:p14="http://schemas.microsoft.com/office/powerpoint/2010/main" val="31159423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Border">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6D1AC742-9D77-4E1A-906C-09D8F3C6EA31}"/>
              </a:ext>
            </a:extLst>
          </p:cNvPr>
          <p:cNvSpPr/>
          <p:nvPr userDrawn="1"/>
        </p:nvSpPr>
        <p:spPr>
          <a:xfrm>
            <a:off x="325457" y="278027"/>
            <a:ext cx="11541086" cy="6154308"/>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dirty="0">
              <a:solidFill>
                <a:schemeClr val="tx1"/>
              </a:solidFill>
            </a:endParaRPr>
          </a:p>
        </p:txBody>
      </p:sp>
      <p:pic>
        <p:nvPicPr>
          <p:cNvPr id="8" name="Graphic 7">
            <a:extLst>
              <a:ext uri="{FF2B5EF4-FFF2-40B4-BE49-F238E27FC236}">
                <a16:creationId xmlns:a16="http://schemas.microsoft.com/office/drawing/2014/main" id="{0C3CB897-B391-4E03-9B85-48270684D6A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457" y="6551607"/>
            <a:ext cx="1852404" cy="171450"/>
          </a:xfrm>
          <a:prstGeom prst="rect">
            <a:avLst/>
          </a:prstGeom>
        </p:spPr>
      </p:pic>
      <p:sp>
        <p:nvSpPr>
          <p:cNvPr id="4" name="Footer Placeholder 3">
            <a:extLst>
              <a:ext uri="{FF2B5EF4-FFF2-40B4-BE49-F238E27FC236}">
                <a16:creationId xmlns:a16="http://schemas.microsoft.com/office/drawing/2014/main" id="{E89DEFB2-E71C-4F14-B4A5-9023B67F0FF0}"/>
              </a:ext>
            </a:extLst>
          </p:cNvPr>
          <p:cNvSpPr>
            <a:spLocks noGrp="1"/>
          </p:cNvSpPr>
          <p:nvPr>
            <p:ph type="ftr" sz="quarter" idx="11"/>
          </p:nvPr>
        </p:nvSpPr>
        <p:spPr/>
        <p:txBody>
          <a:bodyPr/>
          <a:lstStyle/>
          <a:p>
            <a:endParaRPr lang="en-US" sz="600" noProof="0" dirty="0"/>
          </a:p>
        </p:txBody>
      </p:sp>
      <p:sp>
        <p:nvSpPr>
          <p:cNvPr id="5" name="Slide Number Placeholder 4">
            <a:extLst>
              <a:ext uri="{FF2B5EF4-FFF2-40B4-BE49-F238E27FC236}">
                <a16:creationId xmlns:a16="http://schemas.microsoft.com/office/drawing/2014/main" id="{A78AC1BA-F3AC-4F63-925D-AB5058507D75}"/>
              </a:ext>
            </a:extLst>
          </p:cNvPr>
          <p:cNvSpPr>
            <a:spLocks noGrp="1"/>
          </p:cNvSpPr>
          <p:nvPr>
            <p:ph type="sldNum" sz="quarter" idx="12"/>
          </p:nvPr>
        </p:nvSpPr>
        <p:spPr/>
        <p:txBody>
          <a:bodyPr/>
          <a:lstStyle/>
          <a:p>
            <a:fld id="{5034EE70-12A8-400F-8E3D-398CDD8B315D}" type="slidenum">
              <a:rPr lang="en-US" smtClean="0"/>
              <a:pPr/>
              <a:t>‹#›</a:t>
            </a:fld>
            <a:endParaRPr lang="en-US" dirty="0"/>
          </a:p>
        </p:txBody>
      </p:sp>
    </p:spTree>
    <p:extLst>
      <p:ext uri="{BB962C8B-B14F-4D97-AF65-F5344CB8AC3E}">
        <p14:creationId xmlns:p14="http://schemas.microsoft.com/office/powerpoint/2010/main" val="402608668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No Border">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D8BFB44C-4802-45D4-A276-E2560DE99BB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457" y="6551607"/>
            <a:ext cx="1852404" cy="171450"/>
          </a:xfrm>
          <a:prstGeom prst="rect">
            <a:avLst/>
          </a:prstGeom>
        </p:spPr>
      </p:pic>
      <p:sp>
        <p:nvSpPr>
          <p:cNvPr id="4" name="Footer Placeholder 3">
            <a:extLst>
              <a:ext uri="{FF2B5EF4-FFF2-40B4-BE49-F238E27FC236}">
                <a16:creationId xmlns:a16="http://schemas.microsoft.com/office/drawing/2014/main" id="{DDD0BD0A-E765-4013-8BFF-59100F7DBBA5}"/>
              </a:ext>
            </a:extLst>
          </p:cNvPr>
          <p:cNvSpPr>
            <a:spLocks noGrp="1"/>
          </p:cNvSpPr>
          <p:nvPr>
            <p:ph type="ftr" sz="quarter" idx="11"/>
          </p:nvPr>
        </p:nvSpPr>
        <p:spPr/>
        <p:txBody>
          <a:bodyPr/>
          <a:lstStyle/>
          <a:p>
            <a:endParaRPr lang="en-US" sz="600" noProof="0" dirty="0"/>
          </a:p>
        </p:txBody>
      </p:sp>
      <p:sp>
        <p:nvSpPr>
          <p:cNvPr id="9" name="Slide Number Placeholder 8">
            <a:extLst>
              <a:ext uri="{FF2B5EF4-FFF2-40B4-BE49-F238E27FC236}">
                <a16:creationId xmlns:a16="http://schemas.microsoft.com/office/drawing/2014/main" id="{F7A9B7B0-AEF9-47AC-B46E-05166D8E6D19}"/>
              </a:ext>
            </a:extLst>
          </p:cNvPr>
          <p:cNvSpPr>
            <a:spLocks noGrp="1"/>
          </p:cNvSpPr>
          <p:nvPr>
            <p:ph type="sldNum" sz="quarter" idx="12"/>
          </p:nvPr>
        </p:nvSpPr>
        <p:spPr/>
        <p:txBody>
          <a:bodyPr/>
          <a:lstStyle/>
          <a:p>
            <a:fld id="{5034EE70-12A8-400F-8E3D-398CDD8B315D}" type="slidenum">
              <a:rPr lang="en-US" smtClean="0"/>
              <a:pPr/>
              <a:t>‹#›</a:t>
            </a:fld>
            <a:endParaRPr lang="en-US" dirty="0"/>
          </a:p>
        </p:txBody>
      </p:sp>
    </p:spTree>
    <p:extLst>
      <p:ext uri="{BB962C8B-B14F-4D97-AF65-F5344CB8AC3E}">
        <p14:creationId xmlns:p14="http://schemas.microsoft.com/office/powerpoint/2010/main" val="373282560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Half &amp; Half Text">
    <p:spTree>
      <p:nvGrpSpPr>
        <p:cNvPr id="1" name=""/>
        <p:cNvGrpSpPr/>
        <p:nvPr/>
      </p:nvGrpSpPr>
      <p:grpSpPr>
        <a:xfrm>
          <a:off x="0" y="0"/>
          <a:ext cx="0" cy="0"/>
          <a:chOff x="0" y="0"/>
          <a:chExt cx="0" cy="0"/>
        </a:xfrm>
      </p:grpSpPr>
      <p:sp>
        <p:nvSpPr>
          <p:cNvPr id="17" name="Text Placeholder 5">
            <a:extLst>
              <a:ext uri="{FF2B5EF4-FFF2-40B4-BE49-F238E27FC236}">
                <a16:creationId xmlns:a16="http://schemas.microsoft.com/office/drawing/2014/main" id="{F6B21319-94FD-44C0-AFA2-86C6FC848BFA}"/>
              </a:ext>
            </a:extLst>
          </p:cNvPr>
          <p:cNvSpPr>
            <a:spLocks noGrp="1"/>
          </p:cNvSpPr>
          <p:nvPr>
            <p:ph type="body" sz="quarter" idx="22" hasCustomPrompt="1"/>
          </p:nvPr>
        </p:nvSpPr>
        <p:spPr>
          <a:xfrm>
            <a:off x="6096000" y="1676400"/>
            <a:ext cx="5770543" cy="4755935"/>
          </a:xfrm>
          <a:solidFill>
            <a:schemeClr val="accent1"/>
          </a:solidFill>
          <a:ln>
            <a:solidFill>
              <a:schemeClr val="accent1"/>
            </a:solidFill>
          </a:ln>
        </p:spPr>
        <p:txBody>
          <a:bodyPr/>
          <a:lstStyle>
            <a:lvl1pPr>
              <a:defRPr/>
            </a:lvl1pPr>
          </a:lstStyle>
          <a:p>
            <a:pPr lvl="0"/>
            <a:r>
              <a:rPr lang="en-US"/>
              <a:t> </a:t>
            </a:r>
          </a:p>
        </p:txBody>
      </p:sp>
      <p:sp>
        <p:nvSpPr>
          <p:cNvPr id="6" name="Text Placeholder 5">
            <a:extLst>
              <a:ext uri="{FF2B5EF4-FFF2-40B4-BE49-F238E27FC236}">
                <a16:creationId xmlns:a16="http://schemas.microsoft.com/office/drawing/2014/main" id="{9ECAEC95-3964-4E6C-A5D0-30153F49B91D}"/>
              </a:ext>
            </a:extLst>
          </p:cNvPr>
          <p:cNvSpPr>
            <a:spLocks noGrp="1"/>
          </p:cNvSpPr>
          <p:nvPr>
            <p:ph type="body" sz="quarter" idx="21" hasCustomPrompt="1"/>
          </p:nvPr>
        </p:nvSpPr>
        <p:spPr>
          <a:xfrm>
            <a:off x="325457" y="1676400"/>
            <a:ext cx="5770543" cy="4755935"/>
          </a:xfrm>
          <a:solidFill>
            <a:schemeClr val="bg2">
              <a:lumMod val="95000"/>
            </a:schemeClr>
          </a:solidFill>
          <a:ln>
            <a:solidFill>
              <a:schemeClr val="accent1"/>
            </a:solidFill>
          </a:ln>
        </p:spPr>
        <p:txBody>
          <a:bodyPr/>
          <a:lstStyle>
            <a:lvl1pPr>
              <a:defRPr/>
            </a:lvl1pPr>
          </a:lstStyle>
          <a:p>
            <a:pPr lvl="0"/>
            <a:r>
              <a:rPr lang="en-US"/>
              <a:t> </a:t>
            </a:r>
          </a:p>
        </p:txBody>
      </p:sp>
      <p:sp>
        <p:nvSpPr>
          <p:cNvPr id="16" name="Text Placeholder 15">
            <a:extLst>
              <a:ext uri="{FF2B5EF4-FFF2-40B4-BE49-F238E27FC236}">
                <a16:creationId xmlns:a16="http://schemas.microsoft.com/office/drawing/2014/main" id="{4302D653-33F6-4C1C-AB50-E1B7D310BEFE}"/>
              </a:ext>
            </a:extLst>
          </p:cNvPr>
          <p:cNvSpPr>
            <a:spLocks noGrp="1"/>
          </p:cNvSpPr>
          <p:nvPr>
            <p:ph type="body" sz="quarter" idx="13" hasCustomPrompt="1"/>
          </p:nvPr>
        </p:nvSpPr>
        <p:spPr>
          <a:xfrm>
            <a:off x="480060" y="1803966"/>
            <a:ext cx="5074920" cy="4347744"/>
          </a:xfrm>
        </p:spPr>
        <p:txBody>
          <a:bodyPr numCol="1" spcCol="36000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noProof="0"/>
              <a:t>Click to inser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le 2">
            <a:extLst>
              <a:ext uri="{FF2B5EF4-FFF2-40B4-BE49-F238E27FC236}">
                <a16:creationId xmlns:a16="http://schemas.microsoft.com/office/drawing/2014/main" id="{1CF89B9E-08E3-4BC0-9C0C-CE6A2920DFD3}"/>
              </a:ext>
            </a:extLst>
          </p:cNvPr>
          <p:cNvSpPr>
            <a:spLocks noGrp="1"/>
          </p:cNvSpPr>
          <p:nvPr>
            <p:ph type="title" hasCustomPrompt="1"/>
          </p:nvPr>
        </p:nvSpPr>
        <p:spPr>
          <a:xfrm>
            <a:off x="480059" y="706279"/>
            <a:ext cx="11130913" cy="406241"/>
          </a:xfrm>
        </p:spPr>
        <p:txBody>
          <a:bodyPr/>
          <a:lstStyle>
            <a:lvl1pPr>
              <a:defRPr b="1">
                <a:solidFill>
                  <a:schemeClr val="accent1"/>
                </a:solidFill>
              </a:defRPr>
            </a:lvl1pPr>
          </a:lstStyle>
          <a:p>
            <a:r>
              <a:rPr lang="en-US" noProof="0"/>
              <a:t>CLICK TO INSERT TITLE</a:t>
            </a:r>
          </a:p>
        </p:txBody>
      </p:sp>
      <p:sp>
        <p:nvSpPr>
          <p:cNvPr id="46" name="Text Placeholder 40">
            <a:extLst>
              <a:ext uri="{FF2B5EF4-FFF2-40B4-BE49-F238E27FC236}">
                <a16:creationId xmlns:a16="http://schemas.microsoft.com/office/drawing/2014/main" id="{64C03B7A-31ED-49AD-8945-639BCC829CD2}"/>
              </a:ext>
            </a:extLst>
          </p:cNvPr>
          <p:cNvSpPr>
            <a:spLocks noGrp="1"/>
          </p:cNvSpPr>
          <p:nvPr>
            <p:ph type="body" sz="quarter" idx="19" hasCustomPrompt="1"/>
          </p:nvPr>
        </p:nvSpPr>
        <p:spPr>
          <a:xfrm>
            <a:off x="480059" y="1203325"/>
            <a:ext cx="11123611" cy="391636"/>
          </a:xfrm>
        </p:spPr>
        <p:txBody>
          <a:bodyPr/>
          <a:lstStyle>
            <a:lvl1pPr>
              <a:defRPr>
                <a:solidFill>
                  <a:schemeClr val="accent3"/>
                </a:solidFill>
              </a:defRPr>
            </a:lvl1pPr>
          </a:lstStyle>
          <a:p>
            <a:pPr lvl="0"/>
            <a:r>
              <a:rPr lang="en-US" noProof="0"/>
              <a:t>Click to insert subtitle</a:t>
            </a:r>
          </a:p>
        </p:txBody>
      </p:sp>
      <p:sp>
        <p:nvSpPr>
          <p:cNvPr id="11" name="Text Placeholder 15">
            <a:extLst>
              <a:ext uri="{FF2B5EF4-FFF2-40B4-BE49-F238E27FC236}">
                <a16:creationId xmlns:a16="http://schemas.microsoft.com/office/drawing/2014/main" id="{B181C734-1610-42FD-8980-124B33BDE38B}"/>
              </a:ext>
            </a:extLst>
          </p:cNvPr>
          <p:cNvSpPr>
            <a:spLocks noGrp="1"/>
          </p:cNvSpPr>
          <p:nvPr>
            <p:ph type="body" sz="quarter" idx="20" hasCustomPrompt="1"/>
          </p:nvPr>
        </p:nvSpPr>
        <p:spPr>
          <a:xfrm>
            <a:off x="6528750" y="1803966"/>
            <a:ext cx="5074920" cy="4347744"/>
          </a:xfrm>
        </p:spPr>
        <p:txBody>
          <a:bodyPr numCol="1" spcCol="36000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noProof="0"/>
              <a:t>Click to insert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Freeform: Shape 11">
            <a:extLst>
              <a:ext uri="{FF2B5EF4-FFF2-40B4-BE49-F238E27FC236}">
                <a16:creationId xmlns:a16="http://schemas.microsoft.com/office/drawing/2014/main" id="{C015FCD6-BDF5-4102-8F4F-26D1610D29BE}"/>
              </a:ext>
            </a:extLst>
          </p:cNvPr>
          <p:cNvSpPr/>
          <p:nvPr userDrawn="1"/>
        </p:nvSpPr>
        <p:spPr>
          <a:xfrm>
            <a:off x="325457" y="278027"/>
            <a:ext cx="11541086" cy="6154308"/>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dirty="0">
              <a:solidFill>
                <a:schemeClr val="tx1"/>
              </a:solidFill>
            </a:endParaRPr>
          </a:p>
        </p:txBody>
      </p:sp>
      <p:pic>
        <p:nvPicPr>
          <p:cNvPr id="13" name="Graphic 12">
            <a:extLst>
              <a:ext uri="{FF2B5EF4-FFF2-40B4-BE49-F238E27FC236}">
                <a16:creationId xmlns:a16="http://schemas.microsoft.com/office/drawing/2014/main" id="{5F7376F9-6443-429A-ACCB-D39B21D676D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457" y="6551607"/>
            <a:ext cx="1852404" cy="171450"/>
          </a:xfrm>
          <a:prstGeom prst="rect">
            <a:avLst/>
          </a:prstGeom>
        </p:spPr>
      </p:pic>
      <p:sp>
        <p:nvSpPr>
          <p:cNvPr id="5" name="Footer Placeholder 4">
            <a:extLst>
              <a:ext uri="{FF2B5EF4-FFF2-40B4-BE49-F238E27FC236}">
                <a16:creationId xmlns:a16="http://schemas.microsoft.com/office/drawing/2014/main" id="{34A0B183-69BA-4EA9-977D-25DFCE50FA80}"/>
              </a:ext>
            </a:extLst>
          </p:cNvPr>
          <p:cNvSpPr>
            <a:spLocks noGrp="1"/>
          </p:cNvSpPr>
          <p:nvPr>
            <p:ph type="ftr" sz="quarter" idx="24"/>
          </p:nvPr>
        </p:nvSpPr>
        <p:spPr/>
        <p:txBody>
          <a:bodyPr/>
          <a:lstStyle/>
          <a:p>
            <a:endParaRPr lang="en-US" sz="600" noProof="0" dirty="0"/>
          </a:p>
        </p:txBody>
      </p:sp>
      <p:sp>
        <p:nvSpPr>
          <p:cNvPr id="7" name="Slide Number Placeholder 6">
            <a:extLst>
              <a:ext uri="{FF2B5EF4-FFF2-40B4-BE49-F238E27FC236}">
                <a16:creationId xmlns:a16="http://schemas.microsoft.com/office/drawing/2014/main" id="{FA8D8695-B634-49A9-B0EB-5A4A98144868}"/>
              </a:ext>
            </a:extLst>
          </p:cNvPr>
          <p:cNvSpPr>
            <a:spLocks noGrp="1"/>
          </p:cNvSpPr>
          <p:nvPr>
            <p:ph type="sldNum" sz="quarter" idx="25"/>
          </p:nvPr>
        </p:nvSpPr>
        <p:spPr/>
        <p:txBody>
          <a:bodyPr/>
          <a:lstStyle/>
          <a:p>
            <a:fld id="{5034EE70-12A8-400F-8E3D-398CDD8B315D}" type="slidenum">
              <a:rPr lang="en-US" smtClean="0"/>
              <a:pPr/>
              <a:t>‹#›</a:t>
            </a:fld>
            <a:endParaRPr lang="en-US" dirty="0"/>
          </a:p>
        </p:txBody>
      </p:sp>
    </p:spTree>
    <p:extLst>
      <p:ext uri="{BB962C8B-B14F-4D97-AF65-F5344CB8AC3E}">
        <p14:creationId xmlns:p14="http://schemas.microsoft.com/office/powerpoint/2010/main" val="65092814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ext with RH Image">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8E5AB48F-E63C-4649-B4D3-15E73C67CBA0}"/>
              </a:ext>
            </a:extLst>
          </p:cNvPr>
          <p:cNvSpPr/>
          <p:nvPr userDrawn="1"/>
        </p:nvSpPr>
        <p:spPr>
          <a:xfrm>
            <a:off x="325457" y="278027"/>
            <a:ext cx="11541086" cy="6154308"/>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dirty="0">
              <a:solidFill>
                <a:schemeClr val="tx1"/>
              </a:solidFill>
            </a:endParaRPr>
          </a:p>
        </p:txBody>
      </p:sp>
      <p:pic>
        <p:nvPicPr>
          <p:cNvPr id="12" name="Graphic 11">
            <a:extLst>
              <a:ext uri="{FF2B5EF4-FFF2-40B4-BE49-F238E27FC236}">
                <a16:creationId xmlns:a16="http://schemas.microsoft.com/office/drawing/2014/main" id="{55464959-825B-45E5-9660-4A2A29B4AD5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457" y="6551607"/>
            <a:ext cx="1852404" cy="171450"/>
          </a:xfrm>
          <a:prstGeom prst="rect">
            <a:avLst/>
          </a:prstGeom>
        </p:spPr>
      </p:pic>
      <p:sp>
        <p:nvSpPr>
          <p:cNvPr id="50" name="Picture Placeholder 49">
            <a:extLst>
              <a:ext uri="{FF2B5EF4-FFF2-40B4-BE49-F238E27FC236}">
                <a16:creationId xmlns:a16="http://schemas.microsoft.com/office/drawing/2014/main" id="{3348E3AB-E116-43E8-A00A-21B60DDF974A}"/>
              </a:ext>
            </a:extLst>
          </p:cNvPr>
          <p:cNvSpPr>
            <a:spLocks noGrp="1"/>
          </p:cNvSpPr>
          <p:nvPr>
            <p:ph type="pic" sz="quarter" idx="51" hasCustomPrompt="1"/>
          </p:nvPr>
        </p:nvSpPr>
        <p:spPr>
          <a:xfrm>
            <a:off x="7735797" y="283370"/>
            <a:ext cx="4129556" cy="6148386"/>
          </a:xfrm>
          <a:custGeom>
            <a:avLst/>
            <a:gdLst>
              <a:gd name="connsiteX0" fmla="*/ 0 w 4210050"/>
              <a:gd name="connsiteY0" fmla="*/ 0 h 6256425"/>
              <a:gd name="connsiteX1" fmla="*/ 3653384 w 4210050"/>
              <a:gd name="connsiteY1" fmla="*/ 0 h 6256425"/>
              <a:gd name="connsiteX2" fmla="*/ 4210050 w 4210050"/>
              <a:gd name="connsiteY2" fmla="*/ 556666 h 6256425"/>
              <a:gd name="connsiteX3" fmla="*/ 4210050 w 4210050"/>
              <a:gd name="connsiteY3" fmla="*/ 6256425 h 6256425"/>
              <a:gd name="connsiteX4" fmla="*/ 0 w 4210050"/>
              <a:gd name="connsiteY4" fmla="*/ 6256425 h 6256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050" h="6256425">
                <a:moveTo>
                  <a:pt x="0" y="0"/>
                </a:moveTo>
                <a:lnTo>
                  <a:pt x="3653384" y="0"/>
                </a:lnTo>
                <a:lnTo>
                  <a:pt x="4210050" y="556666"/>
                </a:lnTo>
                <a:lnTo>
                  <a:pt x="4210050" y="6256425"/>
                </a:lnTo>
                <a:lnTo>
                  <a:pt x="0" y="6256425"/>
                </a:lnTo>
                <a:close/>
              </a:path>
            </a:pathLst>
          </a:custGeom>
          <a:ln>
            <a:noFill/>
          </a:ln>
        </p:spPr>
        <p:txBody>
          <a:bodyPr wrap="square" anchor="ctr">
            <a:noAutofit/>
          </a:bodyPr>
          <a:lstStyle>
            <a:lvl1pPr algn="ctr">
              <a:defRPr sz="1200"/>
            </a:lvl1pPr>
          </a:lstStyle>
          <a:p>
            <a:r>
              <a:rPr lang="en-US" dirty="0"/>
              <a:t>Click to insert image</a:t>
            </a:r>
          </a:p>
        </p:txBody>
      </p:sp>
      <p:sp>
        <p:nvSpPr>
          <p:cNvPr id="64" name="Text Placeholder 40">
            <a:extLst>
              <a:ext uri="{FF2B5EF4-FFF2-40B4-BE49-F238E27FC236}">
                <a16:creationId xmlns:a16="http://schemas.microsoft.com/office/drawing/2014/main" id="{94A67CDE-CF24-4AFC-BDCC-0495D94CA15E}"/>
              </a:ext>
            </a:extLst>
          </p:cNvPr>
          <p:cNvSpPr>
            <a:spLocks noGrp="1"/>
          </p:cNvSpPr>
          <p:nvPr>
            <p:ph type="body" sz="quarter" idx="19" hasCustomPrompt="1"/>
          </p:nvPr>
        </p:nvSpPr>
        <p:spPr>
          <a:xfrm>
            <a:off x="480059" y="1203325"/>
            <a:ext cx="6884987" cy="391636"/>
          </a:xfrm>
        </p:spPr>
        <p:txBody>
          <a:bodyPr/>
          <a:lstStyle>
            <a:lvl1pPr>
              <a:defRPr>
                <a:solidFill>
                  <a:schemeClr val="accent3"/>
                </a:solidFill>
              </a:defRPr>
            </a:lvl1pPr>
          </a:lstStyle>
          <a:p>
            <a:pPr lvl="0"/>
            <a:r>
              <a:rPr lang="en-US"/>
              <a:t>Click to insert subtitle</a:t>
            </a:r>
          </a:p>
        </p:txBody>
      </p:sp>
      <p:sp>
        <p:nvSpPr>
          <p:cNvPr id="2" name="Title 1">
            <a:extLst>
              <a:ext uri="{FF2B5EF4-FFF2-40B4-BE49-F238E27FC236}">
                <a16:creationId xmlns:a16="http://schemas.microsoft.com/office/drawing/2014/main" id="{BC0E1418-D76B-4E7B-BC2C-A4D67CDE8555}"/>
              </a:ext>
            </a:extLst>
          </p:cNvPr>
          <p:cNvSpPr>
            <a:spLocks noGrp="1"/>
          </p:cNvSpPr>
          <p:nvPr>
            <p:ph type="title" hasCustomPrompt="1"/>
          </p:nvPr>
        </p:nvSpPr>
        <p:spPr>
          <a:xfrm>
            <a:off x="480059" y="706279"/>
            <a:ext cx="6892290" cy="406241"/>
          </a:xfrm>
        </p:spPr>
        <p:txBody>
          <a:bodyPr/>
          <a:lstStyle>
            <a:lvl1pPr>
              <a:defRPr b="1">
                <a:solidFill>
                  <a:schemeClr val="accent1"/>
                </a:solidFill>
              </a:defRPr>
            </a:lvl1pPr>
          </a:lstStyle>
          <a:p>
            <a:r>
              <a:rPr lang="en-US"/>
              <a:t>CLICK TO INSERT TITLE</a:t>
            </a:r>
          </a:p>
        </p:txBody>
      </p:sp>
      <p:sp>
        <p:nvSpPr>
          <p:cNvPr id="54" name="Text Placeholder 15">
            <a:extLst>
              <a:ext uri="{FF2B5EF4-FFF2-40B4-BE49-F238E27FC236}">
                <a16:creationId xmlns:a16="http://schemas.microsoft.com/office/drawing/2014/main" id="{AAE87CAC-078F-4732-B4C2-18897F1CD97C}"/>
              </a:ext>
            </a:extLst>
          </p:cNvPr>
          <p:cNvSpPr>
            <a:spLocks noGrp="1"/>
          </p:cNvSpPr>
          <p:nvPr>
            <p:ph type="body" sz="quarter" idx="13" hasCustomPrompt="1"/>
          </p:nvPr>
        </p:nvSpPr>
        <p:spPr>
          <a:xfrm>
            <a:off x="480060" y="1803966"/>
            <a:ext cx="6892290" cy="4555342"/>
          </a:xfrm>
        </p:spPr>
        <p:txBody>
          <a:bodyPr numCol="1" spcCol="36000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A9F12EA1-A71E-46DF-87FA-601923BD5F41}"/>
              </a:ext>
            </a:extLst>
          </p:cNvPr>
          <p:cNvSpPr>
            <a:spLocks noGrp="1"/>
          </p:cNvSpPr>
          <p:nvPr>
            <p:ph type="ftr" sz="quarter" idx="53"/>
          </p:nvPr>
        </p:nvSpPr>
        <p:spPr/>
        <p:txBody>
          <a:bodyPr/>
          <a:lstStyle/>
          <a:p>
            <a:endParaRPr lang="en-US" sz="600" noProof="0" dirty="0"/>
          </a:p>
        </p:txBody>
      </p:sp>
      <p:sp>
        <p:nvSpPr>
          <p:cNvPr id="7" name="Slide Number Placeholder 6">
            <a:extLst>
              <a:ext uri="{FF2B5EF4-FFF2-40B4-BE49-F238E27FC236}">
                <a16:creationId xmlns:a16="http://schemas.microsoft.com/office/drawing/2014/main" id="{D49D5F96-EF59-4D71-A827-E4C4FAB92E51}"/>
              </a:ext>
            </a:extLst>
          </p:cNvPr>
          <p:cNvSpPr>
            <a:spLocks noGrp="1"/>
          </p:cNvSpPr>
          <p:nvPr>
            <p:ph type="sldNum" sz="quarter" idx="54"/>
          </p:nvPr>
        </p:nvSpPr>
        <p:spPr/>
        <p:txBody>
          <a:bodyPr/>
          <a:lstStyle/>
          <a:p>
            <a:fld id="{5034EE70-12A8-400F-8E3D-398CDD8B315D}" type="slidenum">
              <a:rPr lang="en-US" smtClean="0"/>
              <a:pPr/>
              <a:t>‹#›</a:t>
            </a:fld>
            <a:endParaRPr lang="en-US" dirty="0"/>
          </a:p>
        </p:txBody>
      </p:sp>
      <p:cxnSp>
        <p:nvCxnSpPr>
          <p:cNvPr id="4" name="Straight Connector 3">
            <a:extLst>
              <a:ext uri="{FF2B5EF4-FFF2-40B4-BE49-F238E27FC236}">
                <a16:creationId xmlns:a16="http://schemas.microsoft.com/office/drawing/2014/main" id="{36C997CA-EC75-458D-8641-9EAF81831D02}"/>
              </a:ext>
            </a:extLst>
          </p:cNvPr>
          <p:cNvCxnSpPr>
            <a:cxnSpLocks/>
          </p:cNvCxnSpPr>
          <p:nvPr userDrawn="1"/>
        </p:nvCxnSpPr>
        <p:spPr>
          <a:xfrm>
            <a:off x="7728654" y="283370"/>
            <a:ext cx="0" cy="6146005"/>
          </a:xfrm>
          <a:prstGeom prst="line">
            <a:avLst/>
          </a:prstGeom>
          <a:ln w="952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312596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FF1BF873-EFD2-4423-B8DE-115BA16EA166}"/>
              </a:ext>
            </a:extLst>
          </p:cNvPr>
          <p:cNvSpPr/>
          <p:nvPr userDrawn="1"/>
        </p:nvSpPr>
        <p:spPr>
          <a:xfrm>
            <a:off x="0" y="0"/>
            <a:ext cx="12192000" cy="6858000"/>
          </a:xfrm>
          <a:prstGeom prst="rect">
            <a:avLst/>
          </a:prstGeom>
          <a:solidFill>
            <a:schemeClr val="accent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600"/>
              </a:spcAft>
            </a:pPr>
            <a:endParaRPr lang="en-US" sz="2000" dirty="0">
              <a:solidFill>
                <a:schemeClr val="tx1"/>
              </a:solidFill>
            </a:endParaRPr>
          </a:p>
        </p:txBody>
      </p:sp>
      <p:sp>
        <p:nvSpPr>
          <p:cNvPr id="40" name="Freeform: Shape 39">
            <a:extLst>
              <a:ext uri="{FF2B5EF4-FFF2-40B4-BE49-F238E27FC236}">
                <a16:creationId xmlns:a16="http://schemas.microsoft.com/office/drawing/2014/main" id="{DD7734B8-4919-41EF-A3D6-F493CEE16808}"/>
              </a:ext>
            </a:extLst>
          </p:cNvPr>
          <p:cNvSpPr>
            <a:spLocks/>
          </p:cNvSpPr>
          <p:nvPr userDrawn="1"/>
        </p:nvSpPr>
        <p:spPr>
          <a:xfrm>
            <a:off x="2714625" y="1828800"/>
            <a:ext cx="6762750" cy="3200400"/>
          </a:xfrm>
          <a:custGeom>
            <a:avLst/>
            <a:gdLst>
              <a:gd name="connsiteX0" fmla="*/ 0 w 6762750"/>
              <a:gd name="connsiteY0" fmla="*/ 0 h 3200400"/>
              <a:gd name="connsiteX1" fmla="*/ 2643188 w 6762750"/>
              <a:gd name="connsiteY1" fmla="*/ 0 h 3200400"/>
              <a:gd name="connsiteX2" fmla="*/ 2643188 w 6762750"/>
              <a:gd name="connsiteY2" fmla="*/ 333375 h 3200400"/>
              <a:gd name="connsiteX3" fmla="*/ 4119563 w 6762750"/>
              <a:gd name="connsiteY3" fmla="*/ 333375 h 3200400"/>
              <a:gd name="connsiteX4" fmla="*/ 4119563 w 6762750"/>
              <a:gd name="connsiteY4" fmla="*/ 0 h 3200400"/>
              <a:gd name="connsiteX5" fmla="*/ 6762750 w 6762750"/>
              <a:gd name="connsiteY5" fmla="*/ 0 h 3200400"/>
              <a:gd name="connsiteX6" fmla="*/ 6762750 w 6762750"/>
              <a:gd name="connsiteY6" fmla="*/ 3200400 h 3200400"/>
              <a:gd name="connsiteX7" fmla="*/ 0 w 6762750"/>
              <a:gd name="connsiteY7" fmla="*/ 3200400 h 3200400"/>
              <a:gd name="connsiteX0" fmla="*/ 2643188 w 6762750"/>
              <a:gd name="connsiteY0" fmla="*/ 333375 h 3200400"/>
              <a:gd name="connsiteX1" fmla="*/ 4119563 w 6762750"/>
              <a:gd name="connsiteY1" fmla="*/ 333375 h 3200400"/>
              <a:gd name="connsiteX2" fmla="*/ 4119563 w 6762750"/>
              <a:gd name="connsiteY2" fmla="*/ 0 h 3200400"/>
              <a:gd name="connsiteX3" fmla="*/ 6762750 w 6762750"/>
              <a:gd name="connsiteY3" fmla="*/ 0 h 3200400"/>
              <a:gd name="connsiteX4" fmla="*/ 6762750 w 6762750"/>
              <a:gd name="connsiteY4" fmla="*/ 3200400 h 3200400"/>
              <a:gd name="connsiteX5" fmla="*/ 0 w 6762750"/>
              <a:gd name="connsiteY5" fmla="*/ 3200400 h 3200400"/>
              <a:gd name="connsiteX6" fmla="*/ 0 w 6762750"/>
              <a:gd name="connsiteY6" fmla="*/ 0 h 3200400"/>
              <a:gd name="connsiteX7" fmla="*/ 2643188 w 6762750"/>
              <a:gd name="connsiteY7" fmla="*/ 0 h 3200400"/>
              <a:gd name="connsiteX8" fmla="*/ 2734628 w 6762750"/>
              <a:gd name="connsiteY8" fmla="*/ 424815 h 3200400"/>
              <a:gd name="connsiteX0" fmla="*/ 2643188 w 6762750"/>
              <a:gd name="connsiteY0" fmla="*/ 333375 h 3200400"/>
              <a:gd name="connsiteX1" fmla="*/ 4119563 w 6762750"/>
              <a:gd name="connsiteY1" fmla="*/ 333375 h 3200400"/>
              <a:gd name="connsiteX2" fmla="*/ 4119563 w 6762750"/>
              <a:gd name="connsiteY2" fmla="*/ 0 h 3200400"/>
              <a:gd name="connsiteX3" fmla="*/ 6762750 w 6762750"/>
              <a:gd name="connsiteY3" fmla="*/ 0 h 3200400"/>
              <a:gd name="connsiteX4" fmla="*/ 6762750 w 6762750"/>
              <a:gd name="connsiteY4" fmla="*/ 3200400 h 3200400"/>
              <a:gd name="connsiteX5" fmla="*/ 0 w 6762750"/>
              <a:gd name="connsiteY5" fmla="*/ 3200400 h 3200400"/>
              <a:gd name="connsiteX6" fmla="*/ 0 w 6762750"/>
              <a:gd name="connsiteY6" fmla="*/ 0 h 3200400"/>
              <a:gd name="connsiteX7" fmla="*/ 2643188 w 6762750"/>
              <a:gd name="connsiteY7" fmla="*/ 0 h 3200400"/>
              <a:gd name="connsiteX0" fmla="*/ 4119563 w 6762750"/>
              <a:gd name="connsiteY0" fmla="*/ 333375 h 3200400"/>
              <a:gd name="connsiteX1" fmla="*/ 4119563 w 6762750"/>
              <a:gd name="connsiteY1" fmla="*/ 0 h 3200400"/>
              <a:gd name="connsiteX2" fmla="*/ 6762750 w 6762750"/>
              <a:gd name="connsiteY2" fmla="*/ 0 h 3200400"/>
              <a:gd name="connsiteX3" fmla="*/ 6762750 w 6762750"/>
              <a:gd name="connsiteY3" fmla="*/ 3200400 h 3200400"/>
              <a:gd name="connsiteX4" fmla="*/ 0 w 6762750"/>
              <a:gd name="connsiteY4" fmla="*/ 3200400 h 3200400"/>
              <a:gd name="connsiteX5" fmla="*/ 0 w 6762750"/>
              <a:gd name="connsiteY5" fmla="*/ 0 h 3200400"/>
              <a:gd name="connsiteX6" fmla="*/ 2643188 w 6762750"/>
              <a:gd name="connsiteY6" fmla="*/ 0 h 3200400"/>
              <a:gd name="connsiteX0" fmla="*/ 4119563 w 6762750"/>
              <a:gd name="connsiteY0" fmla="*/ 0 h 3200400"/>
              <a:gd name="connsiteX1" fmla="*/ 6762750 w 6762750"/>
              <a:gd name="connsiteY1" fmla="*/ 0 h 3200400"/>
              <a:gd name="connsiteX2" fmla="*/ 6762750 w 6762750"/>
              <a:gd name="connsiteY2" fmla="*/ 3200400 h 3200400"/>
              <a:gd name="connsiteX3" fmla="*/ 0 w 6762750"/>
              <a:gd name="connsiteY3" fmla="*/ 3200400 h 3200400"/>
              <a:gd name="connsiteX4" fmla="*/ 0 w 6762750"/>
              <a:gd name="connsiteY4" fmla="*/ 0 h 3200400"/>
              <a:gd name="connsiteX5" fmla="*/ 2643188 w 6762750"/>
              <a:gd name="connsiteY5" fmla="*/ 0 h 320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62750" h="3200400">
                <a:moveTo>
                  <a:pt x="4119563" y="0"/>
                </a:moveTo>
                <a:lnTo>
                  <a:pt x="6762750" y="0"/>
                </a:lnTo>
                <a:lnTo>
                  <a:pt x="6762750" y="3200400"/>
                </a:lnTo>
                <a:lnTo>
                  <a:pt x="0" y="3200400"/>
                </a:lnTo>
                <a:lnTo>
                  <a:pt x="0" y="0"/>
                </a:lnTo>
                <a:lnTo>
                  <a:pt x="2643188"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dirty="0">
              <a:solidFill>
                <a:schemeClr val="tx1"/>
              </a:solidFill>
            </a:endParaRPr>
          </a:p>
        </p:txBody>
      </p:sp>
      <p:sp>
        <p:nvSpPr>
          <p:cNvPr id="2" name="Title 1">
            <a:extLst>
              <a:ext uri="{FF2B5EF4-FFF2-40B4-BE49-F238E27FC236}">
                <a16:creationId xmlns:a16="http://schemas.microsoft.com/office/drawing/2014/main" id="{844F0621-2390-4957-AD47-60FDBAA34491}"/>
              </a:ext>
            </a:extLst>
          </p:cNvPr>
          <p:cNvSpPr>
            <a:spLocks noGrp="1"/>
          </p:cNvSpPr>
          <p:nvPr>
            <p:ph type="title" hasCustomPrompt="1"/>
          </p:nvPr>
        </p:nvSpPr>
        <p:spPr>
          <a:xfrm>
            <a:off x="3028950" y="2232661"/>
            <a:ext cx="6134100" cy="2392678"/>
          </a:xfrm>
        </p:spPr>
        <p:txBody>
          <a:bodyPr anchor="ctr"/>
          <a:lstStyle>
            <a:lvl1pPr algn="ctr">
              <a:defRPr sz="2800" b="1"/>
            </a:lvl1pPr>
          </a:lstStyle>
          <a:p>
            <a:r>
              <a:rPr lang="en-US"/>
              <a:t>Click to insert quote</a:t>
            </a:r>
          </a:p>
        </p:txBody>
      </p:sp>
      <p:sp>
        <p:nvSpPr>
          <p:cNvPr id="39" name="Text Placeholder 38">
            <a:extLst>
              <a:ext uri="{FF2B5EF4-FFF2-40B4-BE49-F238E27FC236}">
                <a16:creationId xmlns:a16="http://schemas.microsoft.com/office/drawing/2014/main" id="{1030A28A-40AE-4475-8681-6E4BD03E366D}"/>
              </a:ext>
            </a:extLst>
          </p:cNvPr>
          <p:cNvSpPr>
            <a:spLocks noGrp="1"/>
          </p:cNvSpPr>
          <p:nvPr>
            <p:ph type="body" sz="quarter" idx="21" hasCustomPrompt="1"/>
          </p:nvPr>
        </p:nvSpPr>
        <p:spPr>
          <a:xfrm>
            <a:off x="5736487" y="1456332"/>
            <a:ext cx="719026" cy="565547"/>
          </a:xfrm>
          <a:custGeom>
            <a:avLst/>
            <a:gdLst/>
            <a:ahLst/>
            <a:cxnLst/>
            <a:rect l="l" t="t" r="r" b="b"/>
            <a:pathLst>
              <a:path w="719026" h="565547">
                <a:moveTo>
                  <a:pt x="667867" y="0"/>
                </a:moveTo>
                <a:lnTo>
                  <a:pt x="719026" y="107900"/>
                </a:lnTo>
                <a:cubicBezTo>
                  <a:pt x="666936" y="125263"/>
                  <a:pt x="629574" y="149448"/>
                  <a:pt x="606940" y="180454"/>
                </a:cubicBezTo>
                <a:cubicBezTo>
                  <a:pt x="584306" y="211460"/>
                  <a:pt x="572369" y="252698"/>
                  <a:pt x="571128" y="304167"/>
                </a:cubicBezTo>
                <a:lnTo>
                  <a:pt x="697632" y="304167"/>
                </a:lnTo>
                <a:lnTo>
                  <a:pt x="697632" y="565547"/>
                </a:lnTo>
                <a:lnTo>
                  <a:pt x="436253" y="565547"/>
                </a:lnTo>
                <a:lnTo>
                  <a:pt x="436253" y="378582"/>
                </a:lnTo>
                <a:cubicBezTo>
                  <a:pt x="436253" y="302307"/>
                  <a:pt x="442919" y="242466"/>
                  <a:pt x="456252" y="199058"/>
                </a:cubicBezTo>
                <a:cubicBezTo>
                  <a:pt x="469584" y="155649"/>
                  <a:pt x="494389" y="116582"/>
                  <a:pt x="530666" y="81855"/>
                </a:cubicBezTo>
                <a:cubicBezTo>
                  <a:pt x="566943" y="47129"/>
                  <a:pt x="612676" y="19844"/>
                  <a:pt x="667867" y="0"/>
                </a:cubicBezTo>
                <a:close/>
                <a:moveTo>
                  <a:pt x="231614" y="0"/>
                </a:moveTo>
                <a:lnTo>
                  <a:pt x="282774" y="107900"/>
                </a:lnTo>
                <a:cubicBezTo>
                  <a:pt x="230684" y="125263"/>
                  <a:pt x="193322" y="149448"/>
                  <a:pt x="170688" y="180454"/>
                </a:cubicBezTo>
                <a:cubicBezTo>
                  <a:pt x="148053" y="211460"/>
                  <a:pt x="136116" y="252698"/>
                  <a:pt x="134876" y="304167"/>
                </a:cubicBezTo>
                <a:lnTo>
                  <a:pt x="261380" y="304167"/>
                </a:lnTo>
                <a:lnTo>
                  <a:pt x="261380" y="565547"/>
                </a:lnTo>
                <a:lnTo>
                  <a:pt x="0" y="565547"/>
                </a:lnTo>
                <a:lnTo>
                  <a:pt x="0" y="378582"/>
                </a:lnTo>
                <a:cubicBezTo>
                  <a:pt x="0" y="302927"/>
                  <a:pt x="6667" y="243241"/>
                  <a:pt x="19999" y="199523"/>
                </a:cubicBezTo>
                <a:cubicBezTo>
                  <a:pt x="33332" y="155804"/>
                  <a:pt x="57981" y="116582"/>
                  <a:pt x="93948" y="81855"/>
                </a:cubicBezTo>
                <a:cubicBezTo>
                  <a:pt x="129915" y="47129"/>
                  <a:pt x="175804" y="19844"/>
                  <a:pt x="231614" y="0"/>
                </a:cubicBezTo>
                <a:close/>
              </a:path>
            </a:pathLst>
          </a:custGeom>
          <a:solidFill>
            <a:schemeClr val="tx1"/>
          </a:solidFill>
        </p:spPr>
        <p:txBody>
          <a:bodyPr wrap="square">
            <a:noAutofit/>
          </a:bodyPr>
          <a:lstStyle>
            <a:lvl1pPr>
              <a:defRPr/>
            </a:lvl1pPr>
          </a:lstStyle>
          <a:p>
            <a:pPr lvl="0"/>
            <a:r>
              <a:rPr lang="en-US"/>
              <a:t> </a:t>
            </a:r>
          </a:p>
        </p:txBody>
      </p:sp>
      <p:sp>
        <p:nvSpPr>
          <p:cNvPr id="6" name="Text Placeholder 5">
            <a:extLst>
              <a:ext uri="{FF2B5EF4-FFF2-40B4-BE49-F238E27FC236}">
                <a16:creationId xmlns:a16="http://schemas.microsoft.com/office/drawing/2014/main" id="{EFC37CA3-E6DE-4C34-836C-C0450B8671C2}"/>
              </a:ext>
            </a:extLst>
          </p:cNvPr>
          <p:cNvSpPr>
            <a:spLocks noGrp="1"/>
          </p:cNvSpPr>
          <p:nvPr>
            <p:ph type="body" sz="quarter" idx="22" hasCustomPrompt="1"/>
          </p:nvPr>
        </p:nvSpPr>
        <p:spPr>
          <a:xfrm>
            <a:off x="4062413" y="5221287"/>
            <a:ext cx="4067175" cy="474663"/>
          </a:xfrm>
        </p:spPr>
        <p:txBody>
          <a:bodyPr/>
          <a:lstStyle>
            <a:lvl1pPr algn="ctr">
              <a:defRPr>
                <a:solidFill>
                  <a:schemeClr val="tx1"/>
                </a:solidFill>
              </a:defRPr>
            </a:lvl1pPr>
          </a:lstStyle>
          <a:p>
            <a:pPr lvl="0"/>
            <a:r>
              <a:rPr lang="en-US"/>
              <a:t>Enter source here</a:t>
            </a:r>
          </a:p>
        </p:txBody>
      </p:sp>
      <p:pic>
        <p:nvPicPr>
          <p:cNvPr id="26" name="Graphic 25">
            <a:extLst>
              <a:ext uri="{FF2B5EF4-FFF2-40B4-BE49-F238E27FC236}">
                <a16:creationId xmlns:a16="http://schemas.microsoft.com/office/drawing/2014/main" id="{6D11F8CC-DB22-44A4-9E50-2E69A3A40F0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808306" y="6569648"/>
            <a:ext cx="1826482" cy="213737"/>
          </a:xfrm>
          <a:prstGeom prst="rect">
            <a:avLst/>
          </a:prstGeom>
        </p:spPr>
      </p:pic>
      <p:sp>
        <p:nvSpPr>
          <p:cNvPr id="29" name="Freeform: Shape 28">
            <a:extLst>
              <a:ext uri="{FF2B5EF4-FFF2-40B4-BE49-F238E27FC236}">
                <a16:creationId xmlns:a16="http://schemas.microsoft.com/office/drawing/2014/main" id="{BF0BD851-011C-4BF2-8CB6-7022A0EDC5B4}"/>
              </a:ext>
            </a:extLst>
          </p:cNvPr>
          <p:cNvSpPr/>
          <p:nvPr userDrawn="1"/>
        </p:nvSpPr>
        <p:spPr>
          <a:xfrm>
            <a:off x="325457" y="278027"/>
            <a:ext cx="11541086" cy="6154308"/>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dirty="0">
              <a:solidFill>
                <a:schemeClr val="tx1"/>
              </a:solidFill>
            </a:endParaRPr>
          </a:p>
        </p:txBody>
      </p:sp>
      <p:sp>
        <p:nvSpPr>
          <p:cNvPr id="7" name="Footer Placeholder 6">
            <a:extLst>
              <a:ext uri="{FF2B5EF4-FFF2-40B4-BE49-F238E27FC236}">
                <a16:creationId xmlns:a16="http://schemas.microsoft.com/office/drawing/2014/main" id="{2B297059-79E0-43A8-9549-76B8FC473097}"/>
              </a:ext>
            </a:extLst>
          </p:cNvPr>
          <p:cNvSpPr>
            <a:spLocks noGrp="1"/>
          </p:cNvSpPr>
          <p:nvPr>
            <p:ph type="ftr" sz="quarter" idx="24"/>
          </p:nvPr>
        </p:nvSpPr>
        <p:spPr/>
        <p:txBody>
          <a:bodyPr/>
          <a:lstStyle/>
          <a:p>
            <a:endParaRPr lang="en-US" sz="600" noProof="0" dirty="0"/>
          </a:p>
        </p:txBody>
      </p:sp>
      <p:sp>
        <p:nvSpPr>
          <p:cNvPr id="8" name="Slide Number Placeholder 7">
            <a:extLst>
              <a:ext uri="{FF2B5EF4-FFF2-40B4-BE49-F238E27FC236}">
                <a16:creationId xmlns:a16="http://schemas.microsoft.com/office/drawing/2014/main" id="{77896CF7-1580-46EF-8809-B05E07B03351}"/>
              </a:ext>
            </a:extLst>
          </p:cNvPr>
          <p:cNvSpPr>
            <a:spLocks noGrp="1"/>
          </p:cNvSpPr>
          <p:nvPr>
            <p:ph type="sldNum" sz="quarter" idx="25"/>
          </p:nvPr>
        </p:nvSpPr>
        <p:spPr/>
        <p:txBody>
          <a:bodyPr/>
          <a:lstStyle/>
          <a:p>
            <a:fld id="{5034EE70-12A8-400F-8E3D-398CDD8B315D}" type="slidenum">
              <a:rPr lang="en-US" smtClean="0"/>
              <a:pPr/>
              <a:t>‹#›</a:t>
            </a:fld>
            <a:endParaRPr lang="en-US" dirty="0"/>
          </a:p>
        </p:txBody>
      </p:sp>
      <p:grpSp>
        <p:nvGrpSpPr>
          <p:cNvPr id="12" name="Graphic 27">
            <a:extLst>
              <a:ext uri="{FF2B5EF4-FFF2-40B4-BE49-F238E27FC236}">
                <a16:creationId xmlns:a16="http://schemas.microsoft.com/office/drawing/2014/main" id="{68C28428-D83D-4B6F-A142-6495C8FCB23E}"/>
              </a:ext>
            </a:extLst>
          </p:cNvPr>
          <p:cNvGrpSpPr/>
          <p:nvPr userDrawn="1"/>
        </p:nvGrpSpPr>
        <p:grpSpPr>
          <a:xfrm>
            <a:off x="325457" y="6551607"/>
            <a:ext cx="1852878" cy="171636"/>
            <a:chOff x="325457" y="6551607"/>
            <a:chExt cx="1852878" cy="171636"/>
          </a:xfrm>
          <a:solidFill>
            <a:schemeClr val="tx1"/>
          </a:solidFill>
        </p:grpSpPr>
        <p:sp>
          <p:nvSpPr>
            <p:cNvPr id="13" name="Graphic 27">
              <a:extLst>
                <a:ext uri="{FF2B5EF4-FFF2-40B4-BE49-F238E27FC236}">
                  <a16:creationId xmlns:a16="http://schemas.microsoft.com/office/drawing/2014/main" id="{BF612AF5-BC18-44DA-8766-5156F93046F4}"/>
                </a:ext>
              </a:extLst>
            </p:cNvPr>
            <p:cNvSpPr/>
            <p:nvPr/>
          </p:nvSpPr>
          <p:spPr>
            <a:xfrm>
              <a:off x="1117219" y="6555893"/>
              <a:ext cx="114610" cy="163250"/>
            </a:xfrm>
            <a:custGeom>
              <a:avLst/>
              <a:gdLst>
                <a:gd name="connsiteX0" fmla="*/ 97913 w 114610"/>
                <a:gd name="connsiteY0" fmla="*/ 163250 h 163250"/>
                <a:gd name="connsiteX1" fmla="*/ 114611 w 114610"/>
                <a:gd name="connsiteY1" fmla="*/ 163250 h 163250"/>
                <a:gd name="connsiteX2" fmla="*/ 114611 w 114610"/>
                <a:gd name="connsiteY2" fmla="*/ 0 h 163250"/>
                <a:gd name="connsiteX3" fmla="*/ 97913 w 114610"/>
                <a:gd name="connsiteY3" fmla="*/ 0 h 163250"/>
                <a:gd name="connsiteX4" fmla="*/ 97913 w 114610"/>
                <a:gd name="connsiteY4" fmla="*/ 73351 h 163250"/>
                <a:gd name="connsiteX5" fmla="*/ 16698 w 114610"/>
                <a:gd name="connsiteY5" fmla="*/ 73351 h 163250"/>
                <a:gd name="connsiteX6" fmla="*/ 16698 w 114610"/>
                <a:gd name="connsiteY6" fmla="*/ 0 h 163250"/>
                <a:gd name="connsiteX7" fmla="*/ 0 w 114610"/>
                <a:gd name="connsiteY7" fmla="*/ 0 h 163250"/>
                <a:gd name="connsiteX8" fmla="*/ 0 w 114610"/>
                <a:gd name="connsiteY8" fmla="*/ 163250 h 163250"/>
                <a:gd name="connsiteX9" fmla="*/ 16698 w 114610"/>
                <a:gd name="connsiteY9" fmla="*/ 163250 h 163250"/>
                <a:gd name="connsiteX10" fmla="*/ 16698 w 114610"/>
                <a:gd name="connsiteY10" fmla="*/ 89937 h 163250"/>
                <a:gd name="connsiteX11" fmla="*/ 97913 w 114610"/>
                <a:gd name="connsiteY11" fmla="*/ 89937 h 163250"/>
                <a:gd name="connsiteX12" fmla="*/ 97913 w 114610"/>
                <a:gd name="connsiteY12" fmla="*/ 16325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610" h="163250">
                  <a:moveTo>
                    <a:pt x="97913" y="163250"/>
                  </a:moveTo>
                  <a:lnTo>
                    <a:pt x="114611" y="163250"/>
                  </a:lnTo>
                  <a:lnTo>
                    <a:pt x="114611" y="0"/>
                  </a:lnTo>
                  <a:lnTo>
                    <a:pt x="97913" y="0"/>
                  </a:lnTo>
                  <a:lnTo>
                    <a:pt x="97913" y="73351"/>
                  </a:lnTo>
                  <a:lnTo>
                    <a:pt x="16698" y="73351"/>
                  </a:lnTo>
                  <a:lnTo>
                    <a:pt x="16698" y="0"/>
                  </a:lnTo>
                  <a:lnTo>
                    <a:pt x="0" y="0"/>
                  </a:lnTo>
                  <a:lnTo>
                    <a:pt x="0" y="163250"/>
                  </a:lnTo>
                  <a:lnTo>
                    <a:pt x="16698" y="163250"/>
                  </a:lnTo>
                  <a:lnTo>
                    <a:pt x="16698" y="89937"/>
                  </a:lnTo>
                  <a:lnTo>
                    <a:pt x="97913" y="89937"/>
                  </a:lnTo>
                  <a:lnTo>
                    <a:pt x="97913" y="163250"/>
                  </a:lnTo>
                  <a:close/>
                </a:path>
              </a:pathLst>
            </a:custGeom>
            <a:solidFill>
              <a:schemeClr val="tx1"/>
            </a:solidFill>
            <a:ln w="3718" cap="flat">
              <a:noFill/>
              <a:prstDash val="solid"/>
              <a:miter/>
            </a:ln>
          </p:spPr>
          <p:txBody>
            <a:bodyPr rtlCol="0" anchor="ctr"/>
            <a:lstStyle/>
            <a:p>
              <a:endParaRPr lang="en-US" dirty="0"/>
            </a:p>
          </p:txBody>
        </p:sp>
        <p:sp>
          <p:nvSpPr>
            <p:cNvPr id="14" name="Graphic 27">
              <a:extLst>
                <a:ext uri="{FF2B5EF4-FFF2-40B4-BE49-F238E27FC236}">
                  <a16:creationId xmlns:a16="http://schemas.microsoft.com/office/drawing/2014/main" id="{8F32FC73-317B-4382-B46B-C3D6632FE087}"/>
                </a:ext>
              </a:extLst>
            </p:cNvPr>
            <p:cNvSpPr/>
            <p:nvPr/>
          </p:nvSpPr>
          <p:spPr>
            <a:xfrm>
              <a:off x="1260380" y="6555893"/>
              <a:ext cx="16809" cy="163250"/>
            </a:xfrm>
            <a:custGeom>
              <a:avLst/>
              <a:gdLst>
                <a:gd name="connsiteX0" fmla="*/ 0 w 16809"/>
                <a:gd name="connsiteY0" fmla="*/ 0 h 163250"/>
                <a:gd name="connsiteX1" fmla="*/ 16810 w 16809"/>
                <a:gd name="connsiteY1" fmla="*/ 0 h 163250"/>
                <a:gd name="connsiteX2" fmla="*/ 16810 w 16809"/>
                <a:gd name="connsiteY2" fmla="*/ 163250 h 163250"/>
                <a:gd name="connsiteX3" fmla="*/ 0 w 16809"/>
                <a:gd name="connsiteY3" fmla="*/ 163250 h 163250"/>
              </a:gdLst>
              <a:ahLst/>
              <a:cxnLst>
                <a:cxn ang="0">
                  <a:pos x="connsiteX0" y="connsiteY0"/>
                </a:cxn>
                <a:cxn ang="0">
                  <a:pos x="connsiteX1" y="connsiteY1"/>
                </a:cxn>
                <a:cxn ang="0">
                  <a:pos x="connsiteX2" y="connsiteY2"/>
                </a:cxn>
                <a:cxn ang="0">
                  <a:pos x="connsiteX3" y="connsiteY3"/>
                </a:cxn>
              </a:cxnLst>
              <a:rect l="l" t="t" r="r" b="b"/>
              <a:pathLst>
                <a:path w="16809" h="163250">
                  <a:moveTo>
                    <a:pt x="0" y="0"/>
                  </a:moveTo>
                  <a:lnTo>
                    <a:pt x="16810" y="0"/>
                  </a:lnTo>
                  <a:lnTo>
                    <a:pt x="16810" y="163250"/>
                  </a:lnTo>
                  <a:lnTo>
                    <a:pt x="0" y="163250"/>
                  </a:lnTo>
                  <a:close/>
                </a:path>
              </a:pathLst>
            </a:custGeom>
            <a:solidFill>
              <a:schemeClr val="tx1"/>
            </a:solidFill>
            <a:ln w="3718" cap="flat">
              <a:noFill/>
              <a:prstDash val="solid"/>
              <a:miter/>
            </a:ln>
          </p:spPr>
          <p:txBody>
            <a:bodyPr rtlCol="0" anchor="ctr"/>
            <a:lstStyle/>
            <a:p>
              <a:endParaRPr lang="en-US" dirty="0"/>
            </a:p>
          </p:txBody>
        </p:sp>
        <p:sp>
          <p:nvSpPr>
            <p:cNvPr id="15" name="Graphic 27">
              <a:extLst>
                <a:ext uri="{FF2B5EF4-FFF2-40B4-BE49-F238E27FC236}">
                  <a16:creationId xmlns:a16="http://schemas.microsoft.com/office/drawing/2014/main" id="{67DEC602-FCE0-4C1F-9C9D-AB5906A0E928}"/>
                </a:ext>
              </a:extLst>
            </p:cNvPr>
            <p:cNvSpPr/>
            <p:nvPr/>
          </p:nvSpPr>
          <p:spPr>
            <a:xfrm>
              <a:off x="1298803" y="6554774"/>
              <a:ext cx="165642" cy="165862"/>
            </a:xfrm>
            <a:custGeom>
              <a:avLst/>
              <a:gdLst>
                <a:gd name="connsiteX0" fmla="*/ 24343 w 165642"/>
                <a:gd name="connsiteY0" fmla="*/ 141596 h 165862"/>
                <a:gd name="connsiteX1" fmla="*/ 114652 w 165642"/>
                <a:gd name="connsiteY1" fmla="*/ 159859 h 165862"/>
                <a:gd name="connsiteX2" fmla="*/ 141600 w 165642"/>
                <a:gd name="connsiteY2" fmla="*/ 141558 h 165862"/>
                <a:gd name="connsiteX3" fmla="*/ 160869 w 165642"/>
                <a:gd name="connsiteY3" fmla="*/ 110996 h 165862"/>
                <a:gd name="connsiteX4" fmla="*/ 165640 w 165642"/>
                <a:gd name="connsiteY4" fmla="*/ 81514 h 165862"/>
                <a:gd name="connsiteX5" fmla="*/ 91283 w 165642"/>
                <a:gd name="connsiteY5" fmla="*/ 81514 h 165862"/>
                <a:gd name="connsiteX6" fmla="*/ 91283 w 165642"/>
                <a:gd name="connsiteY6" fmla="*/ 96720 h 165862"/>
                <a:gd name="connsiteX7" fmla="*/ 149352 w 165642"/>
                <a:gd name="connsiteY7" fmla="*/ 96720 h 165862"/>
                <a:gd name="connsiteX8" fmla="*/ 142606 w 165642"/>
                <a:gd name="connsiteY8" fmla="*/ 110996 h 165862"/>
                <a:gd name="connsiteX9" fmla="*/ 133623 w 165642"/>
                <a:gd name="connsiteY9" fmla="*/ 124935 h 165862"/>
                <a:gd name="connsiteX10" fmla="*/ 121547 w 165642"/>
                <a:gd name="connsiteY10" fmla="*/ 136415 h 165862"/>
                <a:gd name="connsiteX11" fmla="*/ 103471 w 165642"/>
                <a:gd name="connsiteY11" fmla="*/ 145621 h 165862"/>
                <a:gd name="connsiteX12" fmla="*/ 57962 w 165642"/>
                <a:gd name="connsiteY12" fmla="*/ 143944 h 165862"/>
                <a:gd name="connsiteX13" fmla="*/ 36717 w 165642"/>
                <a:gd name="connsiteY13" fmla="*/ 129445 h 165862"/>
                <a:gd name="connsiteX14" fmla="*/ 22330 w 165642"/>
                <a:gd name="connsiteY14" fmla="*/ 108163 h 165862"/>
                <a:gd name="connsiteX15" fmla="*/ 22330 w 165642"/>
                <a:gd name="connsiteY15" fmla="*/ 57734 h 165862"/>
                <a:gd name="connsiteX16" fmla="*/ 36717 w 165642"/>
                <a:gd name="connsiteY16" fmla="*/ 36452 h 165862"/>
                <a:gd name="connsiteX17" fmla="*/ 58036 w 165642"/>
                <a:gd name="connsiteY17" fmla="*/ 21916 h 165862"/>
                <a:gd name="connsiteX18" fmla="*/ 83232 w 165642"/>
                <a:gd name="connsiteY18" fmla="*/ 17034 h 165862"/>
                <a:gd name="connsiteX19" fmla="*/ 108391 w 165642"/>
                <a:gd name="connsiteY19" fmla="*/ 21916 h 165862"/>
                <a:gd name="connsiteX20" fmla="*/ 122106 w 165642"/>
                <a:gd name="connsiteY20" fmla="*/ 29818 h 165862"/>
                <a:gd name="connsiteX21" fmla="*/ 134145 w 165642"/>
                <a:gd name="connsiteY21" fmla="*/ 17704 h 165862"/>
                <a:gd name="connsiteX22" fmla="*/ 129374 w 165642"/>
                <a:gd name="connsiteY22" fmla="*/ 14275 h 165862"/>
                <a:gd name="connsiteX23" fmla="*/ 114988 w 165642"/>
                <a:gd name="connsiteY23" fmla="*/ 6448 h 165862"/>
                <a:gd name="connsiteX24" fmla="*/ 99520 w 165642"/>
                <a:gd name="connsiteY24" fmla="*/ 1640 h 165862"/>
                <a:gd name="connsiteX25" fmla="*/ 82934 w 165642"/>
                <a:gd name="connsiteY25" fmla="*/ 0 h 165862"/>
                <a:gd name="connsiteX26" fmla="*/ 76001 w 165642"/>
                <a:gd name="connsiteY26" fmla="*/ 0 h 165862"/>
                <a:gd name="connsiteX27" fmla="*/ 51104 w 165642"/>
                <a:gd name="connsiteY27" fmla="*/ 5889 h 165862"/>
                <a:gd name="connsiteX28" fmla="*/ 24306 w 165642"/>
                <a:gd name="connsiteY28" fmla="*/ 24264 h 165862"/>
                <a:gd name="connsiteX29" fmla="*/ 6042 w 165642"/>
                <a:gd name="connsiteY29" fmla="*/ 51137 h 165862"/>
                <a:gd name="connsiteX30" fmla="*/ 4 w 165642"/>
                <a:gd name="connsiteY30" fmla="*/ 83042 h 165862"/>
                <a:gd name="connsiteX31" fmla="*/ 6042 w 165642"/>
                <a:gd name="connsiteY31" fmla="*/ 114909 h 165862"/>
                <a:gd name="connsiteX32" fmla="*/ 24268 w 165642"/>
                <a:gd name="connsiteY32" fmla="*/ 141707 h 16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65642" h="165862">
                  <a:moveTo>
                    <a:pt x="24343" y="141596"/>
                  </a:moveTo>
                  <a:cubicBezTo>
                    <a:pt x="48141" y="165094"/>
                    <a:pt x="83594" y="172264"/>
                    <a:pt x="114652" y="159859"/>
                  </a:cubicBezTo>
                  <a:cubicBezTo>
                    <a:pt x="124719" y="155530"/>
                    <a:pt x="133866" y="149319"/>
                    <a:pt x="141600" y="141558"/>
                  </a:cubicBezTo>
                  <a:cubicBezTo>
                    <a:pt x="150347" y="133035"/>
                    <a:pt x="156948" y="122562"/>
                    <a:pt x="160869" y="110996"/>
                  </a:cubicBezTo>
                  <a:cubicBezTo>
                    <a:pt x="164108" y="101507"/>
                    <a:pt x="165722" y="91539"/>
                    <a:pt x="165640" y="81514"/>
                  </a:cubicBezTo>
                  <a:lnTo>
                    <a:pt x="91283" y="81514"/>
                  </a:lnTo>
                  <a:lnTo>
                    <a:pt x="91283" y="96720"/>
                  </a:lnTo>
                  <a:lnTo>
                    <a:pt x="149352" y="96720"/>
                  </a:lnTo>
                  <a:lnTo>
                    <a:pt x="142606" y="110996"/>
                  </a:lnTo>
                  <a:cubicBezTo>
                    <a:pt x="140217" y="116006"/>
                    <a:pt x="137198" y="120690"/>
                    <a:pt x="133623" y="124935"/>
                  </a:cubicBezTo>
                  <a:cubicBezTo>
                    <a:pt x="130083" y="129240"/>
                    <a:pt x="126027" y="133095"/>
                    <a:pt x="121547" y="136415"/>
                  </a:cubicBezTo>
                  <a:cubicBezTo>
                    <a:pt x="116076" y="140470"/>
                    <a:pt x="109967" y="143582"/>
                    <a:pt x="103471" y="145621"/>
                  </a:cubicBezTo>
                  <a:cubicBezTo>
                    <a:pt x="88569" y="150385"/>
                    <a:pt x="72472" y="149792"/>
                    <a:pt x="57962" y="143944"/>
                  </a:cubicBezTo>
                  <a:cubicBezTo>
                    <a:pt x="49975" y="140595"/>
                    <a:pt x="42748" y="135663"/>
                    <a:pt x="36717" y="129445"/>
                  </a:cubicBezTo>
                  <a:cubicBezTo>
                    <a:pt x="30597" y="123344"/>
                    <a:pt x="25711" y="116117"/>
                    <a:pt x="22330" y="108163"/>
                  </a:cubicBezTo>
                  <a:cubicBezTo>
                    <a:pt x="15819" y="91984"/>
                    <a:pt x="15819" y="73913"/>
                    <a:pt x="22330" y="57734"/>
                  </a:cubicBezTo>
                  <a:cubicBezTo>
                    <a:pt x="25729" y="49791"/>
                    <a:pt x="30612" y="42568"/>
                    <a:pt x="36717" y="36452"/>
                  </a:cubicBezTo>
                  <a:cubicBezTo>
                    <a:pt x="42792" y="30244"/>
                    <a:pt x="50038" y="25303"/>
                    <a:pt x="58036" y="21916"/>
                  </a:cubicBezTo>
                  <a:cubicBezTo>
                    <a:pt x="66013" y="18581"/>
                    <a:pt x="74589" y="16919"/>
                    <a:pt x="83232" y="17034"/>
                  </a:cubicBezTo>
                  <a:cubicBezTo>
                    <a:pt x="91861" y="16956"/>
                    <a:pt x="100418" y="18617"/>
                    <a:pt x="108391" y="21916"/>
                  </a:cubicBezTo>
                  <a:cubicBezTo>
                    <a:pt x="113251" y="24012"/>
                    <a:pt x="117854" y="26664"/>
                    <a:pt x="122106" y="29818"/>
                  </a:cubicBezTo>
                  <a:lnTo>
                    <a:pt x="134145" y="17704"/>
                  </a:lnTo>
                  <a:cubicBezTo>
                    <a:pt x="132356" y="16363"/>
                    <a:pt x="130791" y="15244"/>
                    <a:pt x="129374" y="14275"/>
                  </a:cubicBezTo>
                  <a:cubicBezTo>
                    <a:pt x="124820" y="11246"/>
                    <a:pt x="120004" y="8627"/>
                    <a:pt x="114988" y="6448"/>
                  </a:cubicBezTo>
                  <a:cubicBezTo>
                    <a:pt x="110001" y="4347"/>
                    <a:pt x="104820" y="2737"/>
                    <a:pt x="99520" y="1640"/>
                  </a:cubicBezTo>
                  <a:cubicBezTo>
                    <a:pt x="94060" y="534"/>
                    <a:pt x="88502" y="-15"/>
                    <a:pt x="82934" y="0"/>
                  </a:cubicBezTo>
                  <a:lnTo>
                    <a:pt x="76001" y="0"/>
                  </a:lnTo>
                  <a:cubicBezTo>
                    <a:pt x="67440" y="610"/>
                    <a:pt x="59032" y="2598"/>
                    <a:pt x="51104" y="5889"/>
                  </a:cubicBezTo>
                  <a:cubicBezTo>
                    <a:pt x="41022" y="10138"/>
                    <a:pt x="31902" y="16389"/>
                    <a:pt x="24306" y="24264"/>
                  </a:cubicBezTo>
                  <a:cubicBezTo>
                    <a:pt x="16490" y="31918"/>
                    <a:pt x="10284" y="41054"/>
                    <a:pt x="6042" y="51137"/>
                  </a:cubicBezTo>
                  <a:cubicBezTo>
                    <a:pt x="1965" y="61275"/>
                    <a:pt x="-89" y="72114"/>
                    <a:pt x="4" y="83042"/>
                  </a:cubicBezTo>
                  <a:cubicBezTo>
                    <a:pt x="-107" y="93959"/>
                    <a:pt x="1946" y="104789"/>
                    <a:pt x="6042" y="114909"/>
                  </a:cubicBezTo>
                  <a:cubicBezTo>
                    <a:pt x="10206" y="125003"/>
                    <a:pt x="16411" y="134126"/>
                    <a:pt x="24268" y="141707"/>
                  </a:cubicBezTo>
                </a:path>
              </a:pathLst>
            </a:custGeom>
            <a:solidFill>
              <a:schemeClr val="tx1"/>
            </a:solidFill>
            <a:ln w="3718" cap="flat">
              <a:noFill/>
              <a:prstDash val="solid"/>
              <a:miter/>
            </a:ln>
          </p:spPr>
          <p:txBody>
            <a:bodyPr rtlCol="0" anchor="ctr"/>
            <a:lstStyle/>
            <a:p>
              <a:endParaRPr lang="en-US" dirty="0"/>
            </a:p>
          </p:txBody>
        </p:sp>
        <p:sp>
          <p:nvSpPr>
            <p:cNvPr id="16" name="Graphic 27">
              <a:extLst>
                <a:ext uri="{FF2B5EF4-FFF2-40B4-BE49-F238E27FC236}">
                  <a16:creationId xmlns:a16="http://schemas.microsoft.com/office/drawing/2014/main" id="{338F5C2E-79A0-4D2F-93BC-0C7277F74E0E}"/>
                </a:ext>
              </a:extLst>
            </p:cNvPr>
            <p:cNvSpPr/>
            <p:nvPr/>
          </p:nvSpPr>
          <p:spPr>
            <a:xfrm>
              <a:off x="1486209" y="6555893"/>
              <a:ext cx="114573" cy="163250"/>
            </a:xfrm>
            <a:custGeom>
              <a:avLst/>
              <a:gdLst>
                <a:gd name="connsiteX0" fmla="*/ 97876 w 114573"/>
                <a:gd name="connsiteY0" fmla="*/ 163250 h 163250"/>
                <a:gd name="connsiteX1" fmla="*/ 114573 w 114573"/>
                <a:gd name="connsiteY1" fmla="*/ 163250 h 163250"/>
                <a:gd name="connsiteX2" fmla="*/ 114573 w 114573"/>
                <a:gd name="connsiteY2" fmla="*/ 0 h 163250"/>
                <a:gd name="connsiteX3" fmla="*/ 97876 w 114573"/>
                <a:gd name="connsiteY3" fmla="*/ 0 h 163250"/>
                <a:gd name="connsiteX4" fmla="*/ 97876 w 114573"/>
                <a:gd name="connsiteY4" fmla="*/ 73351 h 163250"/>
                <a:gd name="connsiteX5" fmla="*/ 16660 w 114573"/>
                <a:gd name="connsiteY5" fmla="*/ 73351 h 163250"/>
                <a:gd name="connsiteX6" fmla="*/ 16660 w 114573"/>
                <a:gd name="connsiteY6" fmla="*/ 0 h 163250"/>
                <a:gd name="connsiteX7" fmla="*/ 0 w 114573"/>
                <a:gd name="connsiteY7" fmla="*/ 0 h 163250"/>
                <a:gd name="connsiteX8" fmla="*/ 0 w 114573"/>
                <a:gd name="connsiteY8" fmla="*/ 163250 h 163250"/>
                <a:gd name="connsiteX9" fmla="*/ 16660 w 114573"/>
                <a:gd name="connsiteY9" fmla="*/ 163250 h 163250"/>
                <a:gd name="connsiteX10" fmla="*/ 16660 w 114573"/>
                <a:gd name="connsiteY10" fmla="*/ 89937 h 163250"/>
                <a:gd name="connsiteX11" fmla="*/ 97876 w 114573"/>
                <a:gd name="connsiteY11" fmla="*/ 89937 h 163250"/>
                <a:gd name="connsiteX12" fmla="*/ 97876 w 114573"/>
                <a:gd name="connsiteY12" fmla="*/ 16325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573" h="163250">
                  <a:moveTo>
                    <a:pt x="97876" y="163250"/>
                  </a:moveTo>
                  <a:lnTo>
                    <a:pt x="114573" y="163250"/>
                  </a:lnTo>
                  <a:lnTo>
                    <a:pt x="114573" y="0"/>
                  </a:lnTo>
                  <a:lnTo>
                    <a:pt x="97876" y="0"/>
                  </a:lnTo>
                  <a:lnTo>
                    <a:pt x="97876" y="73351"/>
                  </a:lnTo>
                  <a:lnTo>
                    <a:pt x="16660" y="73351"/>
                  </a:lnTo>
                  <a:lnTo>
                    <a:pt x="16660" y="0"/>
                  </a:lnTo>
                  <a:lnTo>
                    <a:pt x="0" y="0"/>
                  </a:lnTo>
                  <a:lnTo>
                    <a:pt x="0" y="163250"/>
                  </a:lnTo>
                  <a:lnTo>
                    <a:pt x="16660" y="163250"/>
                  </a:lnTo>
                  <a:lnTo>
                    <a:pt x="16660" y="89937"/>
                  </a:lnTo>
                  <a:lnTo>
                    <a:pt x="97876" y="89937"/>
                  </a:lnTo>
                  <a:lnTo>
                    <a:pt x="97876" y="163250"/>
                  </a:lnTo>
                  <a:close/>
                </a:path>
              </a:pathLst>
            </a:custGeom>
            <a:solidFill>
              <a:schemeClr val="tx1"/>
            </a:solidFill>
            <a:ln w="3718" cap="flat">
              <a:noFill/>
              <a:prstDash val="solid"/>
              <a:miter/>
            </a:ln>
          </p:spPr>
          <p:txBody>
            <a:bodyPr rtlCol="0" anchor="ctr"/>
            <a:lstStyle/>
            <a:p>
              <a:endParaRPr lang="en-US" dirty="0"/>
            </a:p>
          </p:txBody>
        </p:sp>
        <p:sp>
          <p:nvSpPr>
            <p:cNvPr id="17" name="Graphic 27">
              <a:extLst>
                <a:ext uri="{FF2B5EF4-FFF2-40B4-BE49-F238E27FC236}">
                  <a16:creationId xmlns:a16="http://schemas.microsoft.com/office/drawing/2014/main" id="{EB2E296F-E8E6-46B3-B2E7-F7B663260F5C}"/>
                </a:ext>
              </a:extLst>
            </p:cNvPr>
            <p:cNvSpPr/>
            <p:nvPr/>
          </p:nvSpPr>
          <p:spPr>
            <a:xfrm>
              <a:off x="1629370" y="6555893"/>
              <a:ext cx="90346" cy="163250"/>
            </a:xfrm>
            <a:custGeom>
              <a:avLst/>
              <a:gdLst>
                <a:gd name="connsiteX0" fmla="*/ 16810 w 90346"/>
                <a:gd name="connsiteY0" fmla="*/ 0 h 163250"/>
                <a:gd name="connsiteX1" fmla="*/ 0 w 90346"/>
                <a:gd name="connsiteY1" fmla="*/ 0 h 163250"/>
                <a:gd name="connsiteX2" fmla="*/ 0 w 90346"/>
                <a:gd name="connsiteY2" fmla="*/ 163250 h 163250"/>
                <a:gd name="connsiteX3" fmla="*/ 90347 w 90346"/>
                <a:gd name="connsiteY3" fmla="*/ 163250 h 163250"/>
                <a:gd name="connsiteX4" fmla="*/ 90347 w 90346"/>
                <a:gd name="connsiteY4" fmla="*/ 146813 h 163250"/>
                <a:gd name="connsiteX5" fmla="*/ 16810 w 90346"/>
                <a:gd name="connsiteY5" fmla="*/ 146813 h 163250"/>
                <a:gd name="connsiteX6" fmla="*/ 16810 w 90346"/>
                <a:gd name="connsiteY6" fmla="*/ 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346" h="163250">
                  <a:moveTo>
                    <a:pt x="16810" y="0"/>
                  </a:moveTo>
                  <a:lnTo>
                    <a:pt x="0" y="0"/>
                  </a:lnTo>
                  <a:lnTo>
                    <a:pt x="0" y="163250"/>
                  </a:lnTo>
                  <a:lnTo>
                    <a:pt x="90347" y="163250"/>
                  </a:lnTo>
                  <a:lnTo>
                    <a:pt x="90347" y="146813"/>
                  </a:lnTo>
                  <a:lnTo>
                    <a:pt x="16810" y="146813"/>
                  </a:lnTo>
                  <a:lnTo>
                    <a:pt x="16810" y="0"/>
                  </a:lnTo>
                  <a:close/>
                </a:path>
              </a:pathLst>
            </a:custGeom>
            <a:solidFill>
              <a:schemeClr val="tx1"/>
            </a:solidFill>
            <a:ln w="3718" cap="flat">
              <a:noFill/>
              <a:prstDash val="solid"/>
              <a:miter/>
            </a:ln>
          </p:spPr>
          <p:txBody>
            <a:bodyPr rtlCol="0" anchor="ctr"/>
            <a:lstStyle/>
            <a:p>
              <a:endParaRPr lang="en-US" dirty="0"/>
            </a:p>
          </p:txBody>
        </p:sp>
        <p:sp>
          <p:nvSpPr>
            <p:cNvPr id="18" name="Graphic 27">
              <a:extLst>
                <a:ext uri="{FF2B5EF4-FFF2-40B4-BE49-F238E27FC236}">
                  <a16:creationId xmlns:a16="http://schemas.microsoft.com/office/drawing/2014/main" id="{AA09C900-7187-450D-96AE-97E68CAEA0E2}"/>
                </a:ext>
              </a:extLst>
            </p:cNvPr>
            <p:cNvSpPr/>
            <p:nvPr/>
          </p:nvSpPr>
          <p:spPr>
            <a:xfrm>
              <a:off x="1742415" y="6559061"/>
              <a:ext cx="136563" cy="160268"/>
            </a:xfrm>
            <a:custGeom>
              <a:avLst/>
              <a:gdLst>
                <a:gd name="connsiteX0" fmla="*/ 36191 w 136563"/>
                <a:gd name="connsiteY0" fmla="*/ 119866 h 160268"/>
                <a:gd name="connsiteX1" fmla="*/ 37943 w 136563"/>
                <a:gd name="connsiteY1" fmla="*/ 115803 h 160268"/>
                <a:gd name="connsiteX2" fmla="*/ 51696 w 136563"/>
                <a:gd name="connsiteY2" fmla="*/ 81700 h 160268"/>
                <a:gd name="connsiteX3" fmla="*/ 65673 w 136563"/>
                <a:gd name="connsiteY3" fmla="*/ 47223 h 160268"/>
                <a:gd name="connsiteX4" fmla="*/ 68356 w 136563"/>
                <a:gd name="connsiteY4" fmla="*/ 41036 h 160268"/>
                <a:gd name="connsiteX5" fmla="*/ 71040 w 136563"/>
                <a:gd name="connsiteY5" fmla="*/ 47261 h 160268"/>
                <a:gd name="connsiteX6" fmla="*/ 84756 w 136563"/>
                <a:gd name="connsiteY6" fmla="*/ 81700 h 160268"/>
                <a:gd name="connsiteX7" fmla="*/ 98546 w 136563"/>
                <a:gd name="connsiteY7" fmla="*/ 115803 h 160268"/>
                <a:gd name="connsiteX8" fmla="*/ 100298 w 136563"/>
                <a:gd name="connsiteY8" fmla="*/ 119866 h 160268"/>
                <a:gd name="connsiteX9" fmla="*/ 118636 w 136563"/>
                <a:gd name="connsiteY9" fmla="*/ 160268 h 160268"/>
                <a:gd name="connsiteX10" fmla="*/ 136563 w 136563"/>
                <a:gd name="connsiteY10" fmla="*/ 160268 h 160268"/>
                <a:gd name="connsiteX11" fmla="*/ 68319 w 136563"/>
                <a:gd name="connsiteY11" fmla="*/ 0 h 160268"/>
                <a:gd name="connsiteX12" fmla="*/ 0 w 136563"/>
                <a:gd name="connsiteY12" fmla="*/ 160268 h 160268"/>
                <a:gd name="connsiteX13" fmla="*/ 18002 w 136563"/>
                <a:gd name="connsiteY13" fmla="*/ 160268 h 160268"/>
                <a:gd name="connsiteX14" fmla="*/ 30488 w 136563"/>
                <a:gd name="connsiteY14" fmla="*/ 132426 h 160268"/>
                <a:gd name="connsiteX15" fmla="*/ 106113 w 136563"/>
                <a:gd name="connsiteY15" fmla="*/ 132426 h 160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6563" h="160268">
                  <a:moveTo>
                    <a:pt x="36191" y="119866"/>
                  </a:moveTo>
                  <a:lnTo>
                    <a:pt x="37943" y="115803"/>
                  </a:lnTo>
                  <a:cubicBezTo>
                    <a:pt x="42452" y="105255"/>
                    <a:pt x="47074" y="93776"/>
                    <a:pt x="51696" y="81700"/>
                  </a:cubicBezTo>
                  <a:cubicBezTo>
                    <a:pt x="56318" y="69624"/>
                    <a:pt x="61088" y="57846"/>
                    <a:pt x="65673" y="47223"/>
                  </a:cubicBezTo>
                  <a:lnTo>
                    <a:pt x="68356" y="41036"/>
                  </a:lnTo>
                  <a:lnTo>
                    <a:pt x="71040" y="47261"/>
                  </a:lnTo>
                  <a:cubicBezTo>
                    <a:pt x="75550" y="57883"/>
                    <a:pt x="80171" y="69624"/>
                    <a:pt x="84756" y="81700"/>
                  </a:cubicBezTo>
                  <a:cubicBezTo>
                    <a:pt x="89340" y="93776"/>
                    <a:pt x="93925" y="105255"/>
                    <a:pt x="98546" y="115803"/>
                  </a:cubicBezTo>
                  <a:lnTo>
                    <a:pt x="100298" y="119866"/>
                  </a:lnTo>
                  <a:close/>
                  <a:moveTo>
                    <a:pt x="118636" y="160268"/>
                  </a:moveTo>
                  <a:lnTo>
                    <a:pt x="136563" y="160268"/>
                  </a:lnTo>
                  <a:lnTo>
                    <a:pt x="68319" y="0"/>
                  </a:lnTo>
                  <a:lnTo>
                    <a:pt x="0" y="160268"/>
                  </a:lnTo>
                  <a:lnTo>
                    <a:pt x="18002" y="160268"/>
                  </a:lnTo>
                  <a:lnTo>
                    <a:pt x="30488" y="132426"/>
                  </a:lnTo>
                  <a:lnTo>
                    <a:pt x="106113" y="132426"/>
                  </a:lnTo>
                  <a:close/>
                </a:path>
              </a:pathLst>
            </a:custGeom>
            <a:solidFill>
              <a:schemeClr val="tx1"/>
            </a:solidFill>
            <a:ln w="3718" cap="flat">
              <a:noFill/>
              <a:prstDash val="solid"/>
              <a:miter/>
            </a:ln>
          </p:spPr>
          <p:txBody>
            <a:bodyPr rtlCol="0" anchor="ctr"/>
            <a:lstStyle/>
            <a:p>
              <a:endParaRPr lang="en-US" dirty="0"/>
            </a:p>
          </p:txBody>
        </p:sp>
        <p:sp>
          <p:nvSpPr>
            <p:cNvPr id="19" name="Graphic 27">
              <a:extLst>
                <a:ext uri="{FF2B5EF4-FFF2-40B4-BE49-F238E27FC236}">
                  <a16:creationId xmlns:a16="http://schemas.microsoft.com/office/drawing/2014/main" id="{6DC94631-829D-491B-9497-D1E238C949FB}"/>
                </a:ext>
              </a:extLst>
            </p:cNvPr>
            <p:cNvSpPr/>
            <p:nvPr/>
          </p:nvSpPr>
          <p:spPr>
            <a:xfrm>
              <a:off x="1902124" y="6555557"/>
              <a:ext cx="127208" cy="164070"/>
            </a:xfrm>
            <a:custGeom>
              <a:avLst/>
              <a:gdLst>
                <a:gd name="connsiteX0" fmla="*/ 110436 w 127208"/>
                <a:gd name="connsiteY0" fmla="*/ 119120 h 164070"/>
                <a:gd name="connsiteX1" fmla="*/ 0 w 127208"/>
                <a:gd name="connsiteY1" fmla="*/ 3019 h 164070"/>
                <a:gd name="connsiteX2" fmla="*/ 0 w 127208"/>
                <a:gd name="connsiteY2" fmla="*/ 164070 h 164070"/>
                <a:gd name="connsiteX3" fmla="*/ 16810 w 127208"/>
                <a:gd name="connsiteY3" fmla="*/ 164070 h 164070"/>
                <a:gd name="connsiteX4" fmla="*/ 16810 w 127208"/>
                <a:gd name="connsiteY4" fmla="*/ 44540 h 164070"/>
                <a:gd name="connsiteX5" fmla="*/ 127208 w 127208"/>
                <a:gd name="connsiteY5" fmla="*/ 162244 h 164070"/>
                <a:gd name="connsiteX6" fmla="*/ 127208 w 127208"/>
                <a:gd name="connsiteY6" fmla="*/ 0 h 164070"/>
                <a:gd name="connsiteX7" fmla="*/ 110436 w 127208"/>
                <a:gd name="connsiteY7" fmla="*/ 0 h 164070"/>
                <a:gd name="connsiteX8" fmla="*/ 110436 w 127208"/>
                <a:gd name="connsiteY8" fmla="*/ 119120 h 16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208" h="164070">
                  <a:moveTo>
                    <a:pt x="110436" y="119120"/>
                  </a:moveTo>
                  <a:lnTo>
                    <a:pt x="0" y="3019"/>
                  </a:lnTo>
                  <a:lnTo>
                    <a:pt x="0" y="164070"/>
                  </a:lnTo>
                  <a:lnTo>
                    <a:pt x="16810" y="164070"/>
                  </a:lnTo>
                  <a:lnTo>
                    <a:pt x="16810" y="44540"/>
                  </a:lnTo>
                  <a:lnTo>
                    <a:pt x="127208" y="162244"/>
                  </a:lnTo>
                  <a:lnTo>
                    <a:pt x="127208" y="0"/>
                  </a:lnTo>
                  <a:lnTo>
                    <a:pt x="110436" y="0"/>
                  </a:lnTo>
                  <a:lnTo>
                    <a:pt x="110436" y="119120"/>
                  </a:lnTo>
                  <a:close/>
                </a:path>
              </a:pathLst>
            </a:custGeom>
            <a:solidFill>
              <a:schemeClr val="tx1"/>
            </a:solidFill>
            <a:ln w="3718" cap="flat">
              <a:noFill/>
              <a:prstDash val="solid"/>
              <a:miter/>
            </a:ln>
          </p:spPr>
          <p:txBody>
            <a:bodyPr rtlCol="0" anchor="ctr"/>
            <a:lstStyle/>
            <a:p>
              <a:endParaRPr lang="en-US" dirty="0"/>
            </a:p>
          </p:txBody>
        </p:sp>
        <p:sp>
          <p:nvSpPr>
            <p:cNvPr id="20" name="Graphic 27">
              <a:extLst>
                <a:ext uri="{FF2B5EF4-FFF2-40B4-BE49-F238E27FC236}">
                  <a16:creationId xmlns:a16="http://schemas.microsoft.com/office/drawing/2014/main" id="{BFF3B49D-572F-4CB1-A06D-FE7B6C44DE8C}"/>
                </a:ext>
              </a:extLst>
            </p:cNvPr>
            <p:cNvSpPr/>
            <p:nvPr/>
          </p:nvSpPr>
          <p:spPr>
            <a:xfrm>
              <a:off x="2057920" y="6556005"/>
              <a:ext cx="120414" cy="163325"/>
            </a:xfrm>
            <a:custGeom>
              <a:avLst/>
              <a:gdLst>
                <a:gd name="connsiteX0" fmla="*/ 64704 w 120414"/>
                <a:gd name="connsiteY0" fmla="*/ 142080 h 163325"/>
                <a:gd name="connsiteX1" fmla="*/ 38912 w 120414"/>
                <a:gd name="connsiteY1" fmla="*/ 146478 h 163325"/>
                <a:gd name="connsiteX2" fmla="*/ 16549 w 120414"/>
                <a:gd name="connsiteY2" fmla="*/ 146478 h 163325"/>
                <a:gd name="connsiteX3" fmla="*/ 16549 w 120414"/>
                <a:gd name="connsiteY3" fmla="*/ 16474 h 163325"/>
                <a:gd name="connsiteX4" fmla="*/ 38539 w 120414"/>
                <a:gd name="connsiteY4" fmla="*/ 16474 h 163325"/>
                <a:gd name="connsiteX5" fmla="*/ 64629 w 120414"/>
                <a:gd name="connsiteY5" fmla="*/ 20872 h 163325"/>
                <a:gd name="connsiteX6" fmla="*/ 85650 w 120414"/>
                <a:gd name="connsiteY6" fmla="*/ 34476 h 163325"/>
                <a:gd name="connsiteX7" fmla="*/ 99180 w 120414"/>
                <a:gd name="connsiteY7" fmla="*/ 55535 h 163325"/>
                <a:gd name="connsiteX8" fmla="*/ 103578 w 120414"/>
                <a:gd name="connsiteY8" fmla="*/ 81625 h 163325"/>
                <a:gd name="connsiteX9" fmla="*/ 99180 w 120414"/>
                <a:gd name="connsiteY9" fmla="*/ 107715 h 163325"/>
                <a:gd name="connsiteX10" fmla="*/ 85799 w 120414"/>
                <a:gd name="connsiteY10" fmla="*/ 128811 h 163325"/>
                <a:gd name="connsiteX11" fmla="*/ 64815 w 120414"/>
                <a:gd name="connsiteY11" fmla="*/ 142266 h 163325"/>
                <a:gd name="connsiteX12" fmla="*/ 114983 w 120414"/>
                <a:gd name="connsiteY12" fmla="*/ 113492 h 163325"/>
                <a:gd name="connsiteX13" fmla="*/ 114983 w 120414"/>
                <a:gd name="connsiteY13" fmla="*/ 50130 h 163325"/>
                <a:gd name="connsiteX14" fmla="*/ 98845 w 120414"/>
                <a:gd name="connsiteY14" fmla="*/ 24040 h 163325"/>
                <a:gd name="connsiteX15" fmla="*/ 71487 w 120414"/>
                <a:gd name="connsiteY15" fmla="*/ 6187 h 163325"/>
                <a:gd name="connsiteX16" fmla="*/ 43161 w 120414"/>
                <a:gd name="connsiteY16" fmla="*/ 0 h 163325"/>
                <a:gd name="connsiteX17" fmla="*/ 0 w 120414"/>
                <a:gd name="connsiteY17" fmla="*/ 0 h 163325"/>
                <a:gd name="connsiteX18" fmla="*/ 0 w 120414"/>
                <a:gd name="connsiteY18" fmla="*/ 163325 h 163325"/>
                <a:gd name="connsiteX19" fmla="*/ 38688 w 120414"/>
                <a:gd name="connsiteY19" fmla="*/ 163325 h 163325"/>
                <a:gd name="connsiteX20" fmla="*/ 71487 w 120414"/>
                <a:gd name="connsiteY20" fmla="*/ 156989 h 163325"/>
                <a:gd name="connsiteX21" fmla="*/ 98509 w 120414"/>
                <a:gd name="connsiteY21" fmla="*/ 139322 h 163325"/>
                <a:gd name="connsiteX22" fmla="*/ 114760 w 120414"/>
                <a:gd name="connsiteY22" fmla="*/ 113232 h 16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0414" h="163325">
                  <a:moveTo>
                    <a:pt x="64704" y="142080"/>
                  </a:moveTo>
                  <a:cubicBezTo>
                    <a:pt x="56437" y="145074"/>
                    <a:pt x="47704" y="146564"/>
                    <a:pt x="38912" y="146478"/>
                  </a:cubicBezTo>
                  <a:lnTo>
                    <a:pt x="16549" y="146478"/>
                  </a:lnTo>
                  <a:lnTo>
                    <a:pt x="16549" y="16474"/>
                  </a:lnTo>
                  <a:lnTo>
                    <a:pt x="38539" y="16474"/>
                  </a:lnTo>
                  <a:cubicBezTo>
                    <a:pt x="47428" y="16361"/>
                    <a:pt x="56269" y="17850"/>
                    <a:pt x="64629" y="20872"/>
                  </a:cubicBezTo>
                  <a:cubicBezTo>
                    <a:pt x="72486" y="23938"/>
                    <a:pt x="79635" y="28566"/>
                    <a:pt x="85650" y="34476"/>
                  </a:cubicBezTo>
                  <a:cubicBezTo>
                    <a:pt x="91610" y="40450"/>
                    <a:pt x="96224" y="47630"/>
                    <a:pt x="99180" y="55535"/>
                  </a:cubicBezTo>
                  <a:cubicBezTo>
                    <a:pt x="102195" y="63898"/>
                    <a:pt x="103686" y="72735"/>
                    <a:pt x="103578" y="81625"/>
                  </a:cubicBezTo>
                  <a:cubicBezTo>
                    <a:pt x="103690" y="90516"/>
                    <a:pt x="102203" y="99353"/>
                    <a:pt x="99180" y="107715"/>
                  </a:cubicBezTo>
                  <a:cubicBezTo>
                    <a:pt x="96258" y="115613"/>
                    <a:pt x="91700" y="122803"/>
                    <a:pt x="85799" y="128811"/>
                  </a:cubicBezTo>
                  <a:cubicBezTo>
                    <a:pt x="79855" y="134752"/>
                    <a:pt x="72695" y="139342"/>
                    <a:pt x="64815" y="142266"/>
                  </a:cubicBezTo>
                  <a:moveTo>
                    <a:pt x="114983" y="113492"/>
                  </a:moveTo>
                  <a:cubicBezTo>
                    <a:pt x="122225" y="92993"/>
                    <a:pt x="122225" y="70630"/>
                    <a:pt x="114983" y="50130"/>
                  </a:cubicBezTo>
                  <a:cubicBezTo>
                    <a:pt x="111647" y="40324"/>
                    <a:pt x="106131" y="31404"/>
                    <a:pt x="98845" y="24040"/>
                  </a:cubicBezTo>
                  <a:cubicBezTo>
                    <a:pt x="91036" y="16288"/>
                    <a:pt x="81726" y="10213"/>
                    <a:pt x="71487" y="6187"/>
                  </a:cubicBezTo>
                  <a:cubicBezTo>
                    <a:pt x="62456" y="2562"/>
                    <a:pt x="52881" y="471"/>
                    <a:pt x="43161" y="0"/>
                  </a:cubicBezTo>
                  <a:lnTo>
                    <a:pt x="0" y="0"/>
                  </a:lnTo>
                  <a:lnTo>
                    <a:pt x="0" y="163325"/>
                  </a:lnTo>
                  <a:lnTo>
                    <a:pt x="38688" y="163325"/>
                  </a:lnTo>
                  <a:cubicBezTo>
                    <a:pt x="49929" y="163357"/>
                    <a:pt x="61066" y="161205"/>
                    <a:pt x="71487" y="156989"/>
                  </a:cubicBezTo>
                  <a:cubicBezTo>
                    <a:pt x="81618" y="153032"/>
                    <a:pt x="90820" y="147016"/>
                    <a:pt x="98509" y="139322"/>
                  </a:cubicBezTo>
                  <a:cubicBezTo>
                    <a:pt x="105826" y="131963"/>
                    <a:pt x="111383" y="123044"/>
                    <a:pt x="114760" y="113232"/>
                  </a:cubicBezTo>
                </a:path>
              </a:pathLst>
            </a:custGeom>
            <a:solidFill>
              <a:schemeClr val="tx1"/>
            </a:solidFill>
            <a:ln w="3718" cap="flat">
              <a:noFill/>
              <a:prstDash val="solid"/>
              <a:miter/>
            </a:ln>
          </p:spPr>
          <p:txBody>
            <a:bodyPr rtlCol="0" anchor="ctr"/>
            <a:lstStyle/>
            <a:p>
              <a:endParaRPr lang="en-US" dirty="0"/>
            </a:p>
          </p:txBody>
        </p:sp>
        <p:sp>
          <p:nvSpPr>
            <p:cNvPr id="21" name="Graphic 27">
              <a:extLst>
                <a:ext uri="{FF2B5EF4-FFF2-40B4-BE49-F238E27FC236}">
                  <a16:creationId xmlns:a16="http://schemas.microsoft.com/office/drawing/2014/main" id="{7F5C8805-AA07-4279-8FDD-973BE5FE1629}"/>
                </a:ext>
              </a:extLst>
            </p:cNvPr>
            <p:cNvSpPr/>
            <p:nvPr/>
          </p:nvSpPr>
          <p:spPr>
            <a:xfrm>
              <a:off x="472373" y="6553824"/>
              <a:ext cx="167181" cy="167152"/>
            </a:xfrm>
            <a:custGeom>
              <a:avLst/>
              <a:gdLst>
                <a:gd name="connsiteX0" fmla="*/ 48014 w 167181"/>
                <a:gd name="connsiteY0" fmla="*/ 48062 h 167152"/>
                <a:gd name="connsiteX1" fmla="*/ 118646 w 167181"/>
                <a:gd name="connsiteY1" fmla="*/ 47877 h 167152"/>
                <a:gd name="connsiteX2" fmla="*/ 118830 w 167181"/>
                <a:gd name="connsiteY2" fmla="*/ 48062 h 167152"/>
                <a:gd name="connsiteX3" fmla="*/ 133739 w 167181"/>
                <a:gd name="connsiteY3" fmla="*/ 83544 h 167152"/>
                <a:gd name="connsiteX4" fmla="*/ 118830 w 167181"/>
                <a:gd name="connsiteY4" fmla="*/ 119027 h 167152"/>
                <a:gd name="connsiteX5" fmla="*/ 48014 w 167181"/>
                <a:gd name="connsiteY5" fmla="*/ 119027 h 167152"/>
                <a:gd name="connsiteX6" fmla="*/ 33292 w 167181"/>
                <a:gd name="connsiteY6" fmla="*/ 83507 h 167152"/>
                <a:gd name="connsiteX7" fmla="*/ 48014 w 167181"/>
                <a:gd name="connsiteY7" fmla="*/ 48024 h 167152"/>
                <a:gd name="connsiteX8" fmla="*/ 83460 w 167181"/>
                <a:gd name="connsiteY8" fmla="*/ 167108 h 167152"/>
                <a:gd name="connsiteX9" fmla="*/ 142573 w 167181"/>
                <a:gd name="connsiteY9" fmla="*/ 142806 h 167152"/>
                <a:gd name="connsiteX10" fmla="*/ 167172 w 167181"/>
                <a:gd name="connsiteY10" fmla="*/ 83693 h 167152"/>
                <a:gd name="connsiteX11" fmla="*/ 142573 w 167181"/>
                <a:gd name="connsiteY11" fmla="*/ 24543 h 167152"/>
                <a:gd name="connsiteX12" fmla="*/ 24924 w 167181"/>
                <a:gd name="connsiteY12" fmla="*/ 24189 h 167152"/>
                <a:gd name="connsiteX13" fmla="*/ 24533 w 167181"/>
                <a:gd name="connsiteY13" fmla="*/ 24580 h 167152"/>
                <a:gd name="connsiteX14" fmla="*/ 8 w 167181"/>
                <a:gd name="connsiteY14" fmla="*/ 83731 h 167152"/>
                <a:gd name="connsiteX15" fmla="*/ 24533 w 167181"/>
                <a:gd name="connsiteY15" fmla="*/ 142844 h 167152"/>
                <a:gd name="connsiteX16" fmla="*/ 83609 w 167181"/>
                <a:gd name="connsiteY16" fmla="*/ 167145 h 16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7181" h="167152">
                  <a:moveTo>
                    <a:pt x="48014" y="48062"/>
                  </a:moveTo>
                  <a:cubicBezTo>
                    <a:pt x="67467" y="28506"/>
                    <a:pt x="99090" y="28424"/>
                    <a:pt x="118646" y="47877"/>
                  </a:cubicBezTo>
                  <a:cubicBezTo>
                    <a:pt x="118707" y="47938"/>
                    <a:pt x="118769" y="48000"/>
                    <a:pt x="118830" y="48062"/>
                  </a:cubicBezTo>
                  <a:cubicBezTo>
                    <a:pt x="128486" y="57324"/>
                    <a:pt x="133882" y="70166"/>
                    <a:pt x="133739" y="83544"/>
                  </a:cubicBezTo>
                  <a:cubicBezTo>
                    <a:pt x="133931" y="96933"/>
                    <a:pt x="128527" y="109794"/>
                    <a:pt x="118830" y="119027"/>
                  </a:cubicBezTo>
                  <a:cubicBezTo>
                    <a:pt x="99245" y="138511"/>
                    <a:pt x="67599" y="138511"/>
                    <a:pt x="48014" y="119027"/>
                  </a:cubicBezTo>
                  <a:cubicBezTo>
                    <a:pt x="38418" y="109724"/>
                    <a:pt x="33090" y="96871"/>
                    <a:pt x="33292" y="83507"/>
                  </a:cubicBezTo>
                  <a:cubicBezTo>
                    <a:pt x="33145" y="70165"/>
                    <a:pt x="38464" y="57343"/>
                    <a:pt x="48014" y="48024"/>
                  </a:cubicBezTo>
                  <a:moveTo>
                    <a:pt x="83460" y="167108"/>
                  </a:moveTo>
                  <a:cubicBezTo>
                    <a:pt x="105663" y="167458"/>
                    <a:pt x="127035" y="158672"/>
                    <a:pt x="142573" y="142806"/>
                  </a:cubicBezTo>
                  <a:cubicBezTo>
                    <a:pt x="158615" y="127366"/>
                    <a:pt x="167524" y="105957"/>
                    <a:pt x="167172" y="83693"/>
                  </a:cubicBezTo>
                  <a:cubicBezTo>
                    <a:pt x="167485" y="61427"/>
                    <a:pt x="158583" y="40021"/>
                    <a:pt x="142573" y="24543"/>
                  </a:cubicBezTo>
                  <a:cubicBezTo>
                    <a:pt x="110183" y="-8042"/>
                    <a:pt x="57510" y="-8201"/>
                    <a:pt x="24924" y="24189"/>
                  </a:cubicBezTo>
                  <a:cubicBezTo>
                    <a:pt x="24793" y="24319"/>
                    <a:pt x="24663" y="24450"/>
                    <a:pt x="24533" y="24580"/>
                  </a:cubicBezTo>
                  <a:cubicBezTo>
                    <a:pt x="8591" y="40099"/>
                    <a:pt x="-276" y="61485"/>
                    <a:pt x="8" y="83731"/>
                  </a:cubicBezTo>
                  <a:cubicBezTo>
                    <a:pt x="-310" y="105972"/>
                    <a:pt x="8564" y="127360"/>
                    <a:pt x="24533" y="142844"/>
                  </a:cubicBezTo>
                  <a:cubicBezTo>
                    <a:pt x="40084" y="158666"/>
                    <a:pt x="61426" y="167445"/>
                    <a:pt x="83609" y="167145"/>
                  </a:cubicBezTo>
                </a:path>
              </a:pathLst>
            </a:custGeom>
            <a:solidFill>
              <a:schemeClr val="tx1"/>
            </a:solidFill>
            <a:ln w="3718" cap="flat">
              <a:noFill/>
              <a:prstDash val="solid"/>
              <a:miter/>
            </a:ln>
          </p:spPr>
          <p:txBody>
            <a:bodyPr rtlCol="0" anchor="ctr"/>
            <a:lstStyle/>
            <a:p>
              <a:endParaRPr lang="en-US" dirty="0"/>
            </a:p>
          </p:txBody>
        </p:sp>
        <p:sp>
          <p:nvSpPr>
            <p:cNvPr id="22" name="Graphic 27">
              <a:extLst>
                <a:ext uri="{FF2B5EF4-FFF2-40B4-BE49-F238E27FC236}">
                  <a16:creationId xmlns:a16="http://schemas.microsoft.com/office/drawing/2014/main" id="{01873179-5B81-4747-97B7-3E69D197133B}"/>
                </a:ext>
              </a:extLst>
            </p:cNvPr>
            <p:cNvSpPr/>
            <p:nvPr/>
          </p:nvSpPr>
          <p:spPr>
            <a:xfrm>
              <a:off x="653671" y="6555061"/>
              <a:ext cx="121133" cy="164789"/>
            </a:xfrm>
            <a:custGeom>
              <a:avLst/>
              <a:gdLst>
                <a:gd name="connsiteX0" fmla="*/ 33321 w 121133"/>
                <a:gd name="connsiteY0" fmla="*/ 32848 h 164789"/>
                <a:gd name="connsiteX1" fmla="*/ 51957 w 121133"/>
                <a:gd name="connsiteY1" fmla="*/ 32848 h 164789"/>
                <a:gd name="connsiteX2" fmla="*/ 72382 w 121133"/>
                <a:gd name="connsiteY2" fmla="*/ 39371 h 164789"/>
                <a:gd name="connsiteX3" fmla="*/ 78941 w 121133"/>
                <a:gd name="connsiteY3" fmla="*/ 55211 h 164789"/>
                <a:gd name="connsiteX4" fmla="*/ 56914 w 121133"/>
                <a:gd name="connsiteY4" fmla="*/ 78543 h 164789"/>
                <a:gd name="connsiteX5" fmla="*/ 45732 w 121133"/>
                <a:gd name="connsiteY5" fmla="*/ 78543 h 164789"/>
                <a:gd name="connsiteX6" fmla="*/ 45732 w 121133"/>
                <a:gd name="connsiteY6" fmla="*/ 78543 h 164789"/>
                <a:gd name="connsiteX7" fmla="*/ 33321 w 121133"/>
                <a:gd name="connsiteY7" fmla="*/ 78543 h 164789"/>
                <a:gd name="connsiteX8" fmla="*/ 33321 w 121133"/>
                <a:gd name="connsiteY8" fmla="*/ 164790 h 164789"/>
                <a:gd name="connsiteX9" fmla="*/ 33321 w 121133"/>
                <a:gd name="connsiteY9" fmla="*/ 91924 h 164789"/>
                <a:gd name="connsiteX10" fmla="*/ 80656 w 121133"/>
                <a:gd name="connsiteY10" fmla="*/ 164790 h 164789"/>
                <a:gd name="connsiteX11" fmla="*/ 121133 w 121133"/>
                <a:gd name="connsiteY11" fmla="*/ 164790 h 164789"/>
                <a:gd name="connsiteX12" fmla="*/ 82818 w 121133"/>
                <a:gd name="connsiteY12" fmla="*/ 105155 h 164789"/>
                <a:gd name="connsiteX13" fmla="*/ 102423 w 121133"/>
                <a:gd name="connsiteY13" fmla="*/ 89725 h 164789"/>
                <a:gd name="connsiteX14" fmla="*/ 112859 w 121133"/>
                <a:gd name="connsiteY14" fmla="*/ 58342 h 164789"/>
                <a:gd name="connsiteX15" fmla="*/ 112859 w 121133"/>
                <a:gd name="connsiteY15" fmla="*/ 54205 h 164789"/>
                <a:gd name="connsiteX16" fmla="*/ 96906 w 121133"/>
                <a:gd name="connsiteY16" fmla="*/ 16933 h 164789"/>
                <a:gd name="connsiteX17" fmla="*/ 53746 w 121133"/>
                <a:gd name="connsiteY17" fmla="*/ 12 h 164789"/>
                <a:gd name="connsiteX18" fmla="*/ 0 w 121133"/>
                <a:gd name="connsiteY18" fmla="*/ 12 h 164789"/>
                <a:gd name="connsiteX19" fmla="*/ 0 w 121133"/>
                <a:gd name="connsiteY19" fmla="*/ 164790 h 16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133" h="164789">
                  <a:moveTo>
                    <a:pt x="33321" y="32848"/>
                  </a:moveTo>
                  <a:lnTo>
                    <a:pt x="51957" y="32848"/>
                  </a:lnTo>
                  <a:cubicBezTo>
                    <a:pt x="59325" y="32508"/>
                    <a:pt x="66575" y="34822"/>
                    <a:pt x="72382" y="39371"/>
                  </a:cubicBezTo>
                  <a:cubicBezTo>
                    <a:pt x="76586" y="43570"/>
                    <a:pt x="78945" y="49269"/>
                    <a:pt x="78941" y="55211"/>
                  </a:cubicBezTo>
                  <a:cubicBezTo>
                    <a:pt x="79296" y="67735"/>
                    <a:pt x="69437" y="78178"/>
                    <a:pt x="56914" y="78543"/>
                  </a:cubicBezTo>
                  <a:lnTo>
                    <a:pt x="45732" y="78543"/>
                  </a:lnTo>
                  <a:lnTo>
                    <a:pt x="45732" y="78543"/>
                  </a:lnTo>
                  <a:lnTo>
                    <a:pt x="33321" y="78543"/>
                  </a:lnTo>
                  <a:close/>
                  <a:moveTo>
                    <a:pt x="33321" y="164790"/>
                  </a:moveTo>
                  <a:lnTo>
                    <a:pt x="33321" y="91924"/>
                  </a:lnTo>
                  <a:lnTo>
                    <a:pt x="80656" y="164790"/>
                  </a:lnTo>
                  <a:lnTo>
                    <a:pt x="121133" y="164790"/>
                  </a:lnTo>
                  <a:lnTo>
                    <a:pt x="82818" y="105155"/>
                  </a:lnTo>
                  <a:cubicBezTo>
                    <a:pt x="90932" y="102416"/>
                    <a:pt x="97853" y="96968"/>
                    <a:pt x="102423" y="89725"/>
                  </a:cubicBezTo>
                  <a:cubicBezTo>
                    <a:pt x="109132" y="80630"/>
                    <a:pt x="112784" y="69643"/>
                    <a:pt x="112859" y="58342"/>
                  </a:cubicBezTo>
                  <a:lnTo>
                    <a:pt x="112859" y="54205"/>
                  </a:lnTo>
                  <a:cubicBezTo>
                    <a:pt x="112859" y="35979"/>
                    <a:pt x="106933" y="26810"/>
                    <a:pt x="96906" y="16933"/>
                  </a:cubicBezTo>
                  <a:cubicBezTo>
                    <a:pt x="85337" y="5785"/>
                    <a:pt x="69810" y="-303"/>
                    <a:pt x="53746" y="12"/>
                  </a:cubicBezTo>
                  <a:lnTo>
                    <a:pt x="0" y="12"/>
                  </a:lnTo>
                  <a:lnTo>
                    <a:pt x="0" y="164790"/>
                  </a:lnTo>
                  <a:close/>
                </a:path>
              </a:pathLst>
            </a:custGeom>
            <a:solidFill>
              <a:schemeClr val="tx1"/>
            </a:solidFill>
            <a:ln w="3718" cap="flat">
              <a:noFill/>
              <a:prstDash val="solid"/>
              <a:miter/>
            </a:ln>
          </p:spPr>
          <p:txBody>
            <a:bodyPr rtlCol="0" anchor="ctr"/>
            <a:lstStyle/>
            <a:p>
              <a:endParaRPr lang="en-US" dirty="0"/>
            </a:p>
          </p:txBody>
        </p:sp>
        <p:sp>
          <p:nvSpPr>
            <p:cNvPr id="23" name="Graphic 27">
              <a:extLst>
                <a:ext uri="{FF2B5EF4-FFF2-40B4-BE49-F238E27FC236}">
                  <a16:creationId xmlns:a16="http://schemas.microsoft.com/office/drawing/2014/main" id="{EBE2FB27-F3FD-48CE-9A81-0C6A85CA3C26}"/>
                </a:ext>
              </a:extLst>
            </p:cNvPr>
            <p:cNvSpPr/>
            <p:nvPr/>
          </p:nvSpPr>
          <p:spPr>
            <a:xfrm>
              <a:off x="782780" y="6555073"/>
              <a:ext cx="114275" cy="164778"/>
            </a:xfrm>
            <a:custGeom>
              <a:avLst/>
              <a:gdLst>
                <a:gd name="connsiteX0" fmla="*/ 40552 w 114275"/>
                <a:gd name="connsiteY0" fmla="*/ 164778 h 164778"/>
                <a:gd name="connsiteX1" fmla="*/ 73798 w 114275"/>
                <a:gd name="connsiteY1" fmla="*/ 164778 h 164778"/>
                <a:gd name="connsiteX2" fmla="*/ 73798 w 114275"/>
                <a:gd name="connsiteY2" fmla="*/ 32836 h 164778"/>
                <a:gd name="connsiteX3" fmla="*/ 114275 w 114275"/>
                <a:gd name="connsiteY3" fmla="*/ 32836 h 164778"/>
                <a:gd name="connsiteX4" fmla="*/ 114275 w 114275"/>
                <a:gd name="connsiteY4" fmla="*/ 0 h 164778"/>
                <a:gd name="connsiteX5" fmla="*/ 0 w 114275"/>
                <a:gd name="connsiteY5" fmla="*/ 0 h 164778"/>
                <a:gd name="connsiteX6" fmla="*/ 0 w 114275"/>
                <a:gd name="connsiteY6" fmla="*/ 32836 h 164778"/>
                <a:gd name="connsiteX7" fmla="*/ 40552 w 114275"/>
                <a:gd name="connsiteY7" fmla="*/ 32836 h 164778"/>
                <a:gd name="connsiteX8" fmla="*/ 40552 w 114275"/>
                <a:gd name="connsiteY8" fmla="*/ 164778 h 16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275" h="164778">
                  <a:moveTo>
                    <a:pt x="40552" y="164778"/>
                  </a:moveTo>
                  <a:lnTo>
                    <a:pt x="73798" y="164778"/>
                  </a:lnTo>
                  <a:lnTo>
                    <a:pt x="73798" y="32836"/>
                  </a:lnTo>
                  <a:lnTo>
                    <a:pt x="114275" y="32836"/>
                  </a:lnTo>
                  <a:lnTo>
                    <a:pt x="114275" y="0"/>
                  </a:lnTo>
                  <a:lnTo>
                    <a:pt x="0" y="0"/>
                  </a:lnTo>
                  <a:lnTo>
                    <a:pt x="0" y="32836"/>
                  </a:lnTo>
                  <a:lnTo>
                    <a:pt x="40552" y="32836"/>
                  </a:lnTo>
                  <a:lnTo>
                    <a:pt x="40552" y="164778"/>
                  </a:lnTo>
                  <a:close/>
                </a:path>
              </a:pathLst>
            </a:custGeom>
            <a:solidFill>
              <a:schemeClr val="tx1"/>
            </a:solidFill>
            <a:ln w="3718" cap="flat">
              <a:noFill/>
              <a:prstDash val="solid"/>
              <a:miter/>
            </a:ln>
          </p:spPr>
          <p:txBody>
            <a:bodyPr rtlCol="0" anchor="ctr"/>
            <a:lstStyle/>
            <a:p>
              <a:endParaRPr lang="en-US" dirty="0"/>
            </a:p>
          </p:txBody>
        </p:sp>
        <p:sp>
          <p:nvSpPr>
            <p:cNvPr id="24" name="Graphic 27">
              <a:extLst>
                <a:ext uri="{FF2B5EF4-FFF2-40B4-BE49-F238E27FC236}">
                  <a16:creationId xmlns:a16="http://schemas.microsoft.com/office/drawing/2014/main" id="{A296ACDD-B69A-4E2F-8DD9-F0C47D85CD5B}"/>
                </a:ext>
              </a:extLst>
            </p:cNvPr>
            <p:cNvSpPr/>
            <p:nvPr/>
          </p:nvSpPr>
          <p:spPr>
            <a:xfrm>
              <a:off x="911368" y="6555073"/>
              <a:ext cx="121095" cy="164778"/>
            </a:xfrm>
            <a:custGeom>
              <a:avLst/>
              <a:gdLst>
                <a:gd name="connsiteX0" fmla="*/ 33023 w 121095"/>
                <a:gd name="connsiteY0" fmla="*/ 98770 h 164778"/>
                <a:gd name="connsiteX1" fmla="*/ 88110 w 121095"/>
                <a:gd name="connsiteY1" fmla="*/ 98770 h 164778"/>
                <a:gd name="connsiteX2" fmla="*/ 88110 w 121095"/>
                <a:gd name="connsiteY2" fmla="*/ 164778 h 164778"/>
                <a:gd name="connsiteX3" fmla="*/ 121096 w 121095"/>
                <a:gd name="connsiteY3" fmla="*/ 164778 h 164778"/>
                <a:gd name="connsiteX4" fmla="*/ 121096 w 121095"/>
                <a:gd name="connsiteY4" fmla="*/ 0 h 164778"/>
                <a:gd name="connsiteX5" fmla="*/ 88110 w 121095"/>
                <a:gd name="connsiteY5" fmla="*/ 0 h 164778"/>
                <a:gd name="connsiteX6" fmla="*/ 88110 w 121095"/>
                <a:gd name="connsiteY6" fmla="*/ 65934 h 164778"/>
                <a:gd name="connsiteX7" fmla="*/ 33023 w 121095"/>
                <a:gd name="connsiteY7" fmla="*/ 65934 h 164778"/>
                <a:gd name="connsiteX8" fmla="*/ 33023 w 121095"/>
                <a:gd name="connsiteY8" fmla="*/ 0 h 164778"/>
                <a:gd name="connsiteX9" fmla="*/ 0 w 121095"/>
                <a:gd name="connsiteY9" fmla="*/ 0 h 164778"/>
                <a:gd name="connsiteX10" fmla="*/ 0 w 121095"/>
                <a:gd name="connsiteY10" fmla="*/ 164778 h 164778"/>
                <a:gd name="connsiteX11" fmla="*/ 33023 w 121095"/>
                <a:gd name="connsiteY11" fmla="*/ 164778 h 164778"/>
                <a:gd name="connsiteX12" fmla="*/ 33023 w 121095"/>
                <a:gd name="connsiteY12" fmla="*/ 98770 h 16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095" h="164778">
                  <a:moveTo>
                    <a:pt x="33023" y="98770"/>
                  </a:moveTo>
                  <a:lnTo>
                    <a:pt x="88110" y="98770"/>
                  </a:lnTo>
                  <a:lnTo>
                    <a:pt x="88110" y="164778"/>
                  </a:lnTo>
                  <a:lnTo>
                    <a:pt x="121096" y="164778"/>
                  </a:lnTo>
                  <a:lnTo>
                    <a:pt x="121096" y="0"/>
                  </a:lnTo>
                  <a:lnTo>
                    <a:pt x="88110" y="0"/>
                  </a:lnTo>
                  <a:lnTo>
                    <a:pt x="88110" y="65934"/>
                  </a:lnTo>
                  <a:lnTo>
                    <a:pt x="33023" y="65934"/>
                  </a:lnTo>
                  <a:lnTo>
                    <a:pt x="33023" y="0"/>
                  </a:lnTo>
                  <a:lnTo>
                    <a:pt x="0" y="0"/>
                  </a:lnTo>
                  <a:lnTo>
                    <a:pt x="0" y="164778"/>
                  </a:lnTo>
                  <a:lnTo>
                    <a:pt x="33023" y="164778"/>
                  </a:lnTo>
                  <a:lnTo>
                    <a:pt x="33023" y="98770"/>
                  </a:lnTo>
                  <a:close/>
                </a:path>
              </a:pathLst>
            </a:custGeom>
            <a:solidFill>
              <a:schemeClr val="tx1"/>
            </a:solidFill>
            <a:ln w="3718" cap="flat">
              <a:noFill/>
              <a:prstDash val="solid"/>
              <a:miter/>
            </a:ln>
          </p:spPr>
          <p:txBody>
            <a:bodyPr rtlCol="0" anchor="ctr"/>
            <a:lstStyle/>
            <a:p>
              <a:endParaRPr lang="en-US" dirty="0"/>
            </a:p>
          </p:txBody>
        </p:sp>
        <p:sp>
          <p:nvSpPr>
            <p:cNvPr id="25" name="Graphic 27">
              <a:extLst>
                <a:ext uri="{FF2B5EF4-FFF2-40B4-BE49-F238E27FC236}">
                  <a16:creationId xmlns:a16="http://schemas.microsoft.com/office/drawing/2014/main" id="{69B46D33-63E2-48A6-AB1C-239C49337ABF}"/>
                </a:ext>
              </a:extLst>
            </p:cNvPr>
            <p:cNvSpPr/>
            <p:nvPr/>
          </p:nvSpPr>
          <p:spPr>
            <a:xfrm>
              <a:off x="325457" y="6554663"/>
              <a:ext cx="132463" cy="168580"/>
            </a:xfrm>
            <a:custGeom>
              <a:avLst/>
              <a:gdLst>
                <a:gd name="connsiteX0" fmla="*/ 0 w 132463"/>
                <a:gd name="connsiteY0" fmla="*/ 165412 h 168580"/>
                <a:gd name="connsiteX1" fmla="*/ 33097 w 132463"/>
                <a:gd name="connsiteY1" fmla="*/ 165412 h 168580"/>
                <a:gd name="connsiteX2" fmla="*/ 33097 w 132463"/>
                <a:gd name="connsiteY2" fmla="*/ 73910 h 168580"/>
                <a:gd name="connsiteX3" fmla="*/ 132464 w 132463"/>
                <a:gd name="connsiteY3" fmla="*/ 168580 h 168580"/>
                <a:gd name="connsiteX4" fmla="*/ 132464 w 132463"/>
                <a:gd name="connsiteY4" fmla="*/ 0 h 168580"/>
                <a:gd name="connsiteX5" fmla="*/ 99255 w 132463"/>
                <a:gd name="connsiteY5" fmla="*/ 0 h 168580"/>
                <a:gd name="connsiteX6" fmla="*/ 99255 w 132463"/>
                <a:gd name="connsiteY6" fmla="*/ 91502 h 168580"/>
                <a:gd name="connsiteX7" fmla="*/ 48490 w 132463"/>
                <a:gd name="connsiteY7" fmla="*/ 43161 h 168580"/>
                <a:gd name="connsiteX8" fmla="*/ 0 w 132463"/>
                <a:gd name="connsiteY8" fmla="*/ 91651 h 168580"/>
                <a:gd name="connsiteX9" fmla="*/ 0 w 132463"/>
                <a:gd name="connsiteY9" fmla="*/ 165412 h 16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463" h="168580">
                  <a:moveTo>
                    <a:pt x="0" y="165412"/>
                  </a:moveTo>
                  <a:lnTo>
                    <a:pt x="33097" y="165412"/>
                  </a:lnTo>
                  <a:lnTo>
                    <a:pt x="33097" y="73910"/>
                  </a:lnTo>
                  <a:lnTo>
                    <a:pt x="132464" y="168580"/>
                  </a:lnTo>
                  <a:lnTo>
                    <a:pt x="132464" y="0"/>
                  </a:lnTo>
                  <a:lnTo>
                    <a:pt x="99255" y="0"/>
                  </a:lnTo>
                  <a:lnTo>
                    <a:pt x="99255" y="91502"/>
                  </a:lnTo>
                  <a:lnTo>
                    <a:pt x="48490" y="43161"/>
                  </a:lnTo>
                  <a:lnTo>
                    <a:pt x="0" y="91651"/>
                  </a:lnTo>
                  <a:lnTo>
                    <a:pt x="0" y="165412"/>
                  </a:lnTo>
                  <a:close/>
                </a:path>
              </a:pathLst>
            </a:custGeom>
            <a:solidFill>
              <a:schemeClr val="tx1"/>
            </a:solidFill>
            <a:ln w="3718" cap="flat">
              <a:noFill/>
              <a:prstDash val="solid"/>
              <a:miter/>
            </a:ln>
          </p:spPr>
          <p:txBody>
            <a:bodyPr rtlCol="0" anchor="ctr"/>
            <a:lstStyle/>
            <a:p>
              <a:endParaRPr lang="en-US" dirty="0"/>
            </a:p>
          </p:txBody>
        </p:sp>
        <p:sp>
          <p:nvSpPr>
            <p:cNvPr id="27" name="Graphic 27">
              <a:extLst>
                <a:ext uri="{FF2B5EF4-FFF2-40B4-BE49-F238E27FC236}">
                  <a16:creationId xmlns:a16="http://schemas.microsoft.com/office/drawing/2014/main" id="{FBCDC492-C5C4-444D-BABB-8A0365EDA23C}"/>
                </a:ext>
              </a:extLst>
            </p:cNvPr>
            <p:cNvSpPr/>
            <p:nvPr/>
          </p:nvSpPr>
          <p:spPr>
            <a:xfrm>
              <a:off x="325457" y="6551607"/>
              <a:ext cx="48490" cy="94707"/>
            </a:xfrm>
            <a:custGeom>
              <a:avLst/>
              <a:gdLst>
                <a:gd name="connsiteX0" fmla="*/ 0 w 48490"/>
                <a:gd name="connsiteY0" fmla="*/ 94707 h 94707"/>
                <a:gd name="connsiteX1" fmla="*/ 48490 w 48490"/>
                <a:gd name="connsiteY1" fmla="*/ 46180 h 94707"/>
                <a:gd name="connsiteX2" fmla="*/ 0 w 48490"/>
                <a:gd name="connsiteY2" fmla="*/ 0 h 94707"/>
                <a:gd name="connsiteX3" fmla="*/ 0 w 48490"/>
                <a:gd name="connsiteY3" fmla="*/ 94707 h 94707"/>
              </a:gdLst>
              <a:ahLst/>
              <a:cxnLst>
                <a:cxn ang="0">
                  <a:pos x="connsiteX0" y="connsiteY0"/>
                </a:cxn>
                <a:cxn ang="0">
                  <a:pos x="connsiteX1" y="connsiteY1"/>
                </a:cxn>
                <a:cxn ang="0">
                  <a:pos x="connsiteX2" y="connsiteY2"/>
                </a:cxn>
                <a:cxn ang="0">
                  <a:pos x="connsiteX3" y="connsiteY3"/>
                </a:cxn>
              </a:cxnLst>
              <a:rect l="l" t="t" r="r" b="b"/>
              <a:pathLst>
                <a:path w="48490" h="94707">
                  <a:moveTo>
                    <a:pt x="0" y="94707"/>
                  </a:moveTo>
                  <a:lnTo>
                    <a:pt x="48490" y="46180"/>
                  </a:lnTo>
                  <a:lnTo>
                    <a:pt x="0" y="0"/>
                  </a:lnTo>
                  <a:lnTo>
                    <a:pt x="0" y="94707"/>
                  </a:lnTo>
                  <a:close/>
                </a:path>
              </a:pathLst>
            </a:custGeom>
            <a:solidFill>
              <a:schemeClr val="accent3"/>
            </a:solidFill>
            <a:ln w="3718"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64968192"/>
      </p:ext>
    </p:extLst>
  </p:cSld>
  <p:clrMapOvr>
    <a:overrideClrMapping bg1="dk1" tx1="lt1" bg2="dk2" tx2="lt2" accent1="accent1" accent2="accent2" accent3="accent3" accent4="accent4" accent5="accent5" accent6="accent6" hlink="hlink" folHlink="folHlink"/>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allout w/ Imag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A71422F-BBB3-4E67-865D-4A66B5EF489F}"/>
              </a:ext>
            </a:extLst>
          </p:cNvPr>
          <p:cNvSpPr>
            <a:spLocks noGrp="1"/>
          </p:cNvSpPr>
          <p:nvPr>
            <p:ph type="body" sz="quarter" idx="14" hasCustomPrompt="1"/>
          </p:nvPr>
        </p:nvSpPr>
        <p:spPr>
          <a:xfrm>
            <a:off x="325457" y="2611898"/>
            <a:ext cx="11541086" cy="1271587"/>
          </a:xfrm>
          <a:solidFill>
            <a:schemeClr val="accent1"/>
          </a:solidFill>
          <a:ln>
            <a:solidFill>
              <a:schemeClr val="accent1"/>
            </a:solidFill>
          </a:ln>
        </p:spPr>
        <p:txBody>
          <a:bodyPr anchor="ctr"/>
          <a:lstStyle>
            <a:lvl1pPr algn="ctr">
              <a:defRPr sz="2200" b="1" cap="all" baseline="0">
                <a:solidFill>
                  <a:schemeClr val="bg2"/>
                </a:solidFill>
              </a:defRPr>
            </a:lvl1pPr>
            <a:lvl2pPr algn="ctr">
              <a:defRPr cap="all" baseline="0">
                <a:solidFill>
                  <a:schemeClr val="bg1"/>
                </a:solidFill>
              </a:defRPr>
            </a:lvl2pPr>
            <a:lvl3pPr algn="ctr">
              <a:defRPr cap="all" baseline="0">
                <a:solidFill>
                  <a:schemeClr val="bg1"/>
                </a:solidFill>
              </a:defRPr>
            </a:lvl3pPr>
            <a:lvl4pPr algn="ctr">
              <a:defRPr cap="all" baseline="0">
                <a:solidFill>
                  <a:schemeClr val="bg1"/>
                </a:solidFill>
              </a:defRPr>
            </a:lvl4pPr>
            <a:lvl5pPr algn="ctr">
              <a:defRPr cap="all" baseline="0">
                <a:solidFill>
                  <a:schemeClr val="bg1"/>
                </a:solidFill>
              </a:defRPr>
            </a:lvl5pPr>
          </a:lstStyle>
          <a:p>
            <a:pPr lvl="0"/>
            <a:r>
              <a:rPr lang="en-US"/>
              <a:t>Click to insert statement</a:t>
            </a:r>
          </a:p>
        </p:txBody>
      </p:sp>
      <p:sp>
        <p:nvSpPr>
          <p:cNvPr id="12" name="Text Placeholder 11">
            <a:extLst>
              <a:ext uri="{FF2B5EF4-FFF2-40B4-BE49-F238E27FC236}">
                <a16:creationId xmlns:a16="http://schemas.microsoft.com/office/drawing/2014/main" id="{6933E959-A9F9-4906-A9BA-713A9713C343}"/>
              </a:ext>
            </a:extLst>
          </p:cNvPr>
          <p:cNvSpPr>
            <a:spLocks noGrp="1"/>
          </p:cNvSpPr>
          <p:nvPr>
            <p:ph type="body" sz="quarter" idx="15" hasCustomPrompt="1"/>
          </p:nvPr>
        </p:nvSpPr>
        <p:spPr>
          <a:xfrm>
            <a:off x="1702594" y="3970066"/>
            <a:ext cx="8786812" cy="2288493"/>
          </a:xfrm>
        </p:spPr>
        <p:txBody>
          <a:bodyPr anchor="ctr"/>
          <a:lstStyle>
            <a:lvl1pPr algn="ctr">
              <a:defRPr sz="1400">
                <a:solidFill>
                  <a:schemeClr val="tx2"/>
                </a:solidFill>
              </a:defRPr>
            </a:lvl1pPr>
            <a:lvl2pPr algn="ctr">
              <a:defRPr sz="1400">
                <a:solidFill>
                  <a:schemeClr val="tx2"/>
                </a:solidFill>
              </a:defRPr>
            </a:lvl2pPr>
            <a:lvl3pPr algn="ctr">
              <a:defRPr sz="1400">
                <a:solidFill>
                  <a:schemeClr val="tx2"/>
                </a:solidFill>
              </a:defRPr>
            </a:lvl3pPr>
            <a:lvl4pPr algn="ctr">
              <a:defRPr sz="1400">
                <a:solidFill>
                  <a:schemeClr val="tx2"/>
                </a:solidFill>
              </a:defRPr>
            </a:lvl4pPr>
            <a:lvl5pPr algn="ctr">
              <a:defRPr sz="140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31" name="Picture Placeholder 30">
            <a:extLst>
              <a:ext uri="{FF2B5EF4-FFF2-40B4-BE49-F238E27FC236}">
                <a16:creationId xmlns:a16="http://schemas.microsoft.com/office/drawing/2014/main" id="{AB4D786A-6717-486E-9EE8-AB6BDDF84FD1}"/>
              </a:ext>
            </a:extLst>
          </p:cNvPr>
          <p:cNvSpPr>
            <a:spLocks noGrp="1"/>
          </p:cNvSpPr>
          <p:nvPr>
            <p:ph type="pic" sz="quarter" idx="19" hasCustomPrompt="1"/>
          </p:nvPr>
        </p:nvSpPr>
        <p:spPr>
          <a:xfrm>
            <a:off x="325457" y="277292"/>
            <a:ext cx="11541086" cy="2334606"/>
          </a:xfrm>
          <a:custGeom>
            <a:avLst/>
            <a:gdLst>
              <a:gd name="connsiteX0" fmla="*/ 0 w 11744326"/>
              <a:gd name="connsiteY0" fmla="*/ 0 h 2375718"/>
              <a:gd name="connsiteX1" fmla="*/ 11181399 w 11744326"/>
              <a:gd name="connsiteY1" fmla="*/ 0 h 2375718"/>
              <a:gd name="connsiteX2" fmla="*/ 11744326 w 11744326"/>
              <a:gd name="connsiteY2" fmla="*/ 562927 h 2375718"/>
              <a:gd name="connsiteX3" fmla="*/ 11744326 w 11744326"/>
              <a:gd name="connsiteY3" fmla="*/ 2375718 h 2375718"/>
              <a:gd name="connsiteX4" fmla="*/ 0 w 11744326"/>
              <a:gd name="connsiteY4" fmla="*/ 2375718 h 2375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2375718">
                <a:moveTo>
                  <a:pt x="0" y="0"/>
                </a:moveTo>
                <a:lnTo>
                  <a:pt x="11181399" y="0"/>
                </a:lnTo>
                <a:lnTo>
                  <a:pt x="11744326" y="562927"/>
                </a:lnTo>
                <a:lnTo>
                  <a:pt x="11744326" y="2375718"/>
                </a:lnTo>
                <a:lnTo>
                  <a:pt x="0" y="2375718"/>
                </a:lnTo>
                <a:close/>
              </a:path>
            </a:pathLst>
          </a:custGeom>
          <a:ln>
            <a:noFill/>
            <a:miter lim="800000"/>
          </a:ln>
        </p:spPr>
        <p:txBody>
          <a:bodyPr wrap="square" anchor="ctr">
            <a:noAutofit/>
          </a:bodyPr>
          <a:lstStyle>
            <a:lvl1pPr algn="ctr" rtl="0">
              <a:defRPr sz="1200"/>
            </a:lvl1pPr>
          </a:lstStyle>
          <a:p>
            <a:r>
              <a:rPr lang="en-US" dirty="0"/>
              <a:t>Click to insert image &gt; Right click &gt; Send to back</a:t>
            </a:r>
          </a:p>
        </p:txBody>
      </p:sp>
      <p:sp>
        <p:nvSpPr>
          <p:cNvPr id="13" name="Freeform: Shape 12">
            <a:extLst>
              <a:ext uri="{FF2B5EF4-FFF2-40B4-BE49-F238E27FC236}">
                <a16:creationId xmlns:a16="http://schemas.microsoft.com/office/drawing/2014/main" id="{59C6BA45-F3C9-4168-ACE3-47E4CDD077BD}"/>
              </a:ext>
            </a:extLst>
          </p:cNvPr>
          <p:cNvSpPr/>
          <p:nvPr userDrawn="1"/>
        </p:nvSpPr>
        <p:spPr>
          <a:xfrm>
            <a:off x="325457" y="278027"/>
            <a:ext cx="11541086" cy="6154308"/>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dirty="0">
              <a:solidFill>
                <a:schemeClr val="tx1"/>
              </a:solidFill>
            </a:endParaRPr>
          </a:p>
        </p:txBody>
      </p:sp>
      <p:pic>
        <p:nvPicPr>
          <p:cNvPr id="15" name="Graphic 14">
            <a:extLst>
              <a:ext uri="{FF2B5EF4-FFF2-40B4-BE49-F238E27FC236}">
                <a16:creationId xmlns:a16="http://schemas.microsoft.com/office/drawing/2014/main" id="{34BAF819-E5E7-4724-A5A3-921440025A6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457" y="6551607"/>
            <a:ext cx="1852404" cy="171450"/>
          </a:xfrm>
          <a:prstGeom prst="rect">
            <a:avLst/>
          </a:prstGeom>
        </p:spPr>
      </p:pic>
      <p:sp>
        <p:nvSpPr>
          <p:cNvPr id="5" name="Footer Placeholder 4">
            <a:extLst>
              <a:ext uri="{FF2B5EF4-FFF2-40B4-BE49-F238E27FC236}">
                <a16:creationId xmlns:a16="http://schemas.microsoft.com/office/drawing/2014/main" id="{2823B206-E7DD-4EA1-8F4C-074EA681C450}"/>
              </a:ext>
            </a:extLst>
          </p:cNvPr>
          <p:cNvSpPr>
            <a:spLocks noGrp="1"/>
          </p:cNvSpPr>
          <p:nvPr>
            <p:ph type="ftr" sz="quarter" idx="21"/>
          </p:nvPr>
        </p:nvSpPr>
        <p:spPr/>
        <p:txBody>
          <a:bodyPr/>
          <a:lstStyle/>
          <a:p>
            <a:endParaRPr lang="en-US" sz="600" noProof="0" dirty="0"/>
          </a:p>
        </p:txBody>
      </p:sp>
      <p:sp>
        <p:nvSpPr>
          <p:cNvPr id="6" name="Slide Number Placeholder 5">
            <a:extLst>
              <a:ext uri="{FF2B5EF4-FFF2-40B4-BE49-F238E27FC236}">
                <a16:creationId xmlns:a16="http://schemas.microsoft.com/office/drawing/2014/main" id="{EBD3C72B-7E7F-422D-AFE4-0D812BAFACC6}"/>
              </a:ext>
            </a:extLst>
          </p:cNvPr>
          <p:cNvSpPr>
            <a:spLocks noGrp="1"/>
          </p:cNvSpPr>
          <p:nvPr>
            <p:ph type="sldNum" sz="quarter" idx="22"/>
          </p:nvPr>
        </p:nvSpPr>
        <p:spPr/>
        <p:txBody>
          <a:bodyPr/>
          <a:lstStyle/>
          <a:p>
            <a:fld id="{5034EE70-12A8-400F-8E3D-398CDD8B315D}" type="slidenum">
              <a:rPr lang="en-US" smtClean="0"/>
              <a:pPr/>
              <a:t>‹#›</a:t>
            </a:fld>
            <a:endParaRPr lang="en-US" dirty="0"/>
          </a:p>
        </p:txBody>
      </p:sp>
    </p:spTree>
    <p:extLst>
      <p:ext uri="{BB962C8B-B14F-4D97-AF65-F5344CB8AC3E}">
        <p14:creationId xmlns:p14="http://schemas.microsoft.com/office/powerpoint/2010/main" val="31032293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xt w/ 2 Call Out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CF89B9E-08E3-4BC0-9C0C-CE6A2920DFD3}"/>
              </a:ext>
            </a:extLst>
          </p:cNvPr>
          <p:cNvSpPr>
            <a:spLocks noGrp="1"/>
          </p:cNvSpPr>
          <p:nvPr>
            <p:ph type="title" hasCustomPrompt="1"/>
          </p:nvPr>
        </p:nvSpPr>
        <p:spPr>
          <a:xfrm>
            <a:off x="480060" y="706279"/>
            <a:ext cx="7101729" cy="406241"/>
          </a:xfrm>
        </p:spPr>
        <p:txBody>
          <a:bodyPr/>
          <a:lstStyle>
            <a:lvl1pPr>
              <a:defRPr b="1">
                <a:solidFill>
                  <a:schemeClr val="accent1"/>
                </a:solidFill>
              </a:defRPr>
            </a:lvl1pPr>
          </a:lstStyle>
          <a:p>
            <a:r>
              <a:rPr lang="en-US"/>
              <a:t>CLICK TO INSERT TITLE</a:t>
            </a:r>
          </a:p>
        </p:txBody>
      </p:sp>
      <p:sp>
        <p:nvSpPr>
          <p:cNvPr id="31" name="Text Placeholder 15">
            <a:extLst>
              <a:ext uri="{FF2B5EF4-FFF2-40B4-BE49-F238E27FC236}">
                <a16:creationId xmlns:a16="http://schemas.microsoft.com/office/drawing/2014/main" id="{386C4061-05D3-4E22-861F-99E0E904D0B3}"/>
              </a:ext>
            </a:extLst>
          </p:cNvPr>
          <p:cNvSpPr>
            <a:spLocks noGrp="1"/>
          </p:cNvSpPr>
          <p:nvPr>
            <p:ph type="body" sz="quarter" idx="26" hasCustomPrompt="1"/>
          </p:nvPr>
        </p:nvSpPr>
        <p:spPr>
          <a:xfrm>
            <a:off x="480059" y="1803966"/>
            <a:ext cx="7109033" cy="4347744"/>
          </a:xfrm>
        </p:spPr>
        <p:txBody>
          <a:bodyPr numCol="1" spcCol="36000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32" name="Text Placeholder 40">
            <a:extLst>
              <a:ext uri="{FF2B5EF4-FFF2-40B4-BE49-F238E27FC236}">
                <a16:creationId xmlns:a16="http://schemas.microsoft.com/office/drawing/2014/main" id="{8B7C66B5-CDBC-46AD-9FE3-ED6D143E9E84}"/>
              </a:ext>
            </a:extLst>
          </p:cNvPr>
          <p:cNvSpPr>
            <a:spLocks noGrp="1"/>
          </p:cNvSpPr>
          <p:nvPr>
            <p:ph type="body" sz="quarter" idx="19" hasCustomPrompt="1"/>
          </p:nvPr>
        </p:nvSpPr>
        <p:spPr>
          <a:xfrm>
            <a:off x="480060" y="1203325"/>
            <a:ext cx="7101729" cy="391636"/>
          </a:xfrm>
        </p:spPr>
        <p:txBody>
          <a:bodyPr/>
          <a:lstStyle>
            <a:lvl1pPr>
              <a:defRPr>
                <a:solidFill>
                  <a:schemeClr val="accent3"/>
                </a:solidFill>
              </a:defRPr>
            </a:lvl1pPr>
          </a:lstStyle>
          <a:p>
            <a:pPr lvl="0"/>
            <a:r>
              <a:rPr lang="en-US"/>
              <a:t>Click to insert subtitle</a:t>
            </a:r>
          </a:p>
        </p:txBody>
      </p:sp>
      <p:sp>
        <p:nvSpPr>
          <p:cNvPr id="30" name="Text Placeholder 36">
            <a:extLst>
              <a:ext uri="{FF2B5EF4-FFF2-40B4-BE49-F238E27FC236}">
                <a16:creationId xmlns:a16="http://schemas.microsoft.com/office/drawing/2014/main" id="{47B78A89-0A67-4E40-9E46-54D95C4FC3EB}"/>
              </a:ext>
            </a:extLst>
          </p:cNvPr>
          <p:cNvSpPr>
            <a:spLocks noGrp="1"/>
          </p:cNvSpPr>
          <p:nvPr>
            <p:ph type="body" sz="quarter" idx="27" hasCustomPrompt="1"/>
          </p:nvPr>
        </p:nvSpPr>
        <p:spPr>
          <a:xfrm>
            <a:off x="8217493" y="2288154"/>
            <a:ext cx="3122270" cy="1477730"/>
          </a:xfrm>
          <a:noFill/>
          <a:ln>
            <a:solidFill>
              <a:schemeClr val="accent1"/>
            </a:solidFill>
          </a:ln>
        </p:spPr>
        <p:txBody>
          <a:bodyPr/>
          <a:lstStyle>
            <a:lvl1pPr>
              <a:defRPr/>
            </a:lvl1pPr>
          </a:lstStyle>
          <a:p>
            <a:pPr lvl="0"/>
            <a:r>
              <a:rPr lang="en-US"/>
              <a:t> </a:t>
            </a:r>
          </a:p>
        </p:txBody>
      </p:sp>
      <p:sp>
        <p:nvSpPr>
          <p:cNvPr id="33" name="Text Placeholder 11">
            <a:extLst>
              <a:ext uri="{FF2B5EF4-FFF2-40B4-BE49-F238E27FC236}">
                <a16:creationId xmlns:a16="http://schemas.microsoft.com/office/drawing/2014/main" id="{52C930D1-DAD7-4CD2-8CC2-C4DAE2A3773B}"/>
              </a:ext>
            </a:extLst>
          </p:cNvPr>
          <p:cNvSpPr>
            <a:spLocks noGrp="1"/>
          </p:cNvSpPr>
          <p:nvPr>
            <p:ph type="body" sz="quarter" idx="13" hasCustomPrompt="1"/>
          </p:nvPr>
        </p:nvSpPr>
        <p:spPr>
          <a:xfrm>
            <a:off x="8217493" y="1803966"/>
            <a:ext cx="3122270" cy="484188"/>
          </a:xfrm>
          <a:solidFill>
            <a:schemeClr val="accent1"/>
          </a:solidFill>
          <a:ln>
            <a:solidFill>
              <a:schemeClr val="accent1"/>
            </a:solidFill>
          </a:ln>
        </p:spPr>
        <p:txBody>
          <a:bodyPr lIns="180000" anchor="ctr"/>
          <a:lstStyle>
            <a:lvl1pPr>
              <a:defRPr sz="1600" b="1" i="0" cap="all" baseline="0">
                <a:solidFill>
                  <a:schemeClr val="bg2"/>
                </a:solidFill>
              </a:defRPr>
            </a:lvl1pPr>
            <a:lvl2pPr>
              <a:defRPr sz="1600" b="1" i="0" cap="all" baseline="0"/>
            </a:lvl2pPr>
            <a:lvl3pPr>
              <a:defRPr sz="1400" b="1" i="0" cap="all" baseline="0"/>
            </a:lvl3pPr>
            <a:lvl4pPr>
              <a:defRPr sz="1200" b="1" i="0" cap="all" baseline="0"/>
            </a:lvl4pPr>
            <a:lvl5pPr>
              <a:defRPr sz="1100" b="1" i="0" cap="all" baseline="0"/>
            </a:lvl5pPr>
          </a:lstStyle>
          <a:p>
            <a:pPr lvl="0"/>
            <a:r>
              <a:rPr lang="en-US"/>
              <a:t>INSERT text</a:t>
            </a:r>
          </a:p>
        </p:txBody>
      </p:sp>
      <p:sp>
        <p:nvSpPr>
          <p:cNvPr id="34" name="Text Placeholder 18">
            <a:extLst>
              <a:ext uri="{FF2B5EF4-FFF2-40B4-BE49-F238E27FC236}">
                <a16:creationId xmlns:a16="http://schemas.microsoft.com/office/drawing/2014/main" id="{3CC8F062-A655-4BF9-8699-F1052647AF54}"/>
              </a:ext>
            </a:extLst>
          </p:cNvPr>
          <p:cNvSpPr>
            <a:spLocks noGrp="1"/>
          </p:cNvSpPr>
          <p:nvPr>
            <p:ph type="body" sz="quarter" idx="14" hasCustomPrompt="1"/>
          </p:nvPr>
        </p:nvSpPr>
        <p:spPr>
          <a:xfrm>
            <a:off x="8307571" y="2382406"/>
            <a:ext cx="2755466" cy="1305274"/>
          </a:xfrm>
        </p:spPr>
        <p:txBody>
          <a:bodyPr/>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36" name="Text Placeholder 36">
            <a:extLst>
              <a:ext uri="{FF2B5EF4-FFF2-40B4-BE49-F238E27FC236}">
                <a16:creationId xmlns:a16="http://schemas.microsoft.com/office/drawing/2014/main" id="{D14BCE10-D504-42B2-8A57-210D35D6BD20}"/>
              </a:ext>
            </a:extLst>
          </p:cNvPr>
          <p:cNvSpPr>
            <a:spLocks noGrp="1"/>
          </p:cNvSpPr>
          <p:nvPr>
            <p:ph type="body" sz="quarter" idx="28" hasCustomPrompt="1"/>
          </p:nvPr>
        </p:nvSpPr>
        <p:spPr>
          <a:xfrm>
            <a:off x="8217493" y="4437797"/>
            <a:ext cx="3122270" cy="1477730"/>
          </a:xfrm>
          <a:noFill/>
          <a:ln>
            <a:solidFill>
              <a:schemeClr val="accent1"/>
            </a:solidFill>
          </a:ln>
        </p:spPr>
        <p:txBody>
          <a:bodyPr/>
          <a:lstStyle>
            <a:lvl1pPr>
              <a:defRPr/>
            </a:lvl1pPr>
          </a:lstStyle>
          <a:p>
            <a:pPr lvl="0"/>
            <a:r>
              <a:rPr lang="en-US"/>
              <a:t> </a:t>
            </a:r>
          </a:p>
        </p:txBody>
      </p:sp>
      <p:sp>
        <p:nvSpPr>
          <p:cNvPr id="38" name="Text Placeholder 11">
            <a:extLst>
              <a:ext uri="{FF2B5EF4-FFF2-40B4-BE49-F238E27FC236}">
                <a16:creationId xmlns:a16="http://schemas.microsoft.com/office/drawing/2014/main" id="{1DB1BF95-A3CD-4239-A95D-DB956BA64248}"/>
              </a:ext>
            </a:extLst>
          </p:cNvPr>
          <p:cNvSpPr>
            <a:spLocks noGrp="1"/>
          </p:cNvSpPr>
          <p:nvPr>
            <p:ph type="body" sz="quarter" idx="29" hasCustomPrompt="1"/>
          </p:nvPr>
        </p:nvSpPr>
        <p:spPr>
          <a:xfrm>
            <a:off x="8217493" y="3953609"/>
            <a:ext cx="3122270" cy="484188"/>
          </a:xfrm>
          <a:solidFill>
            <a:schemeClr val="accent1"/>
          </a:solidFill>
          <a:ln>
            <a:solidFill>
              <a:schemeClr val="accent1"/>
            </a:solidFill>
          </a:ln>
        </p:spPr>
        <p:txBody>
          <a:bodyPr lIns="180000" anchor="ctr"/>
          <a:lstStyle>
            <a:lvl1pPr>
              <a:defRPr sz="1600" b="1" i="0" cap="all" baseline="0">
                <a:solidFill>
                  <a:schemeClr val="bg2"/>
                </a:solidFill>
              </a:defRPr>
            </a:lvl1pPr>
            <a:lvl2pPr>
              <a:defRPr sz="1600" b="1" i="0" cap="all" baseline="0"/>
            </a:lvl2pPr>
            <a:lvl3pPr>
              <a:defRPr sz="1400" b="1" i="0" cap="all" baseline="0"/>
            </a:lvl3pPr>
            <a:lvl4pPr>
              <a:defRPr sz="1200" b="1" i="0" cap="all" baseline="0"/>
            </a:lvl4pPr>
            <a:lvl5pPr>
              <a:defRPr sz="1100" b="1" i="0" cap="all" baseline="0"/>
            </a:lvl5pPr>
          </a:lstStyle>
          <a:p>
            <a:pPr lvl="0"/>
            <a:r>
              <a:rPr lang="en-US"/>
              <a:t>INSERT text</a:t>
            </a:r>
          </a:p>
        </p:txBody>
      </p:sp>
      <p:sp>
        <p:nvSpPr>
          <p:cNvPr id="39" name="Text Placeholder 18">
            <a:extLst>
              <a:ext uri="{FF2B5EF4-FFF2-40B4-BE49-F238E27FC236}">
                <a16:creationId xmlns:a16="http://schemas.microsoft.com/office/drawing/2014/main" id="{1CC0B9F0-DBCC-4B38-8012-64C465F44593}"/>
              </a:ext>
            </a:extLst>
          </p:cNvPr>
          <p:cNvSpPr>
            <a:spLocks noGrp="1"/>
          </p:cNvSpPr>
          <p:nvPr>
            <p:ph type="body" sz="quarter" idx="30" hasCustomPrompt="1"/>
          </p:nvPr>
        </p:nvSpPr>
        <p:spPr>
          <a:xfrm>
            <a:off x="8307571" y="4532049"/>
            <a:ext cx="2755466" cy="1305274"/>
          </a:xfrm>
        </p:spPr>
        <p:txBody>
          <a:bodyPr/>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17" name="Freeform: Shape 16">
            <a:extLst>
              <a:ext uri="{FF2B5EF4-FFF2-40B4-BE49-F238E27FC236}">
                <a16:creationId xmlns:a16="http://schemas.microsoft.com/office/drawing/2014/main" id="{ECC4CB72-B261-4410-95B6-971659DFE927}"/>
              </a:ext>
            </a:extLst>
          </p:cNvPr>
          <p:cNvSpPr/>
          <p:nvPr userDrawn="1"/>
        </p:nvSpPr>
        <p:spPr>
          <a:xfrm>
            <a:off x="325457" y="278027"/>
            <a:ext cx="11541086" cy="6154308"/>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dirty="0">
              <a:solidFill>
                <a:schemeClr val="tx1"/>
              </a:solidFill>
            </a:endParaRPr>
          </a:p>
        </p:txBody>
      </p:sp>
      <p:pic>
        <p:nvPicPr>
          <p:cNvPr id="18" name="Graphic 17">
            <a:extLst>
              <a:ext uri="{FF2B5EF4-FFF2-40B4-BE49-F238E27FC236}">
                <a16:creationId xmlns:a16="http://schemas.microsoft.com/office/drawing/2014/main" id="{106BC4D3-874C-4FC2-8074-F02B0B6871D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457" y="6551607"/>
            <a:ext cx="1852404" cy="171450"/>
          </a:xfrm>
          <a:prstGeom prst="rect">
            <a:avLst/>
          </a:prstGeom>
        </p:spPr>
      </p:pic>
      <p:sp>
        <p:nvSpPr>
          <p:cNvPr id="6" name="Footer Placeholder 5">
            <a:extLst>
              <a:ext uri="{FF2B5EF4-FFF2-40B4-BE49-F238E27FC236}">
                <a16:creationId xmlns:a16="http://schemas.microsoft.com/office/drawing/2014/main" id="{4FF5733A-956B-4AFC-B63D-CD4E50EFBA44}"/>
              </a:ext>
            </a:extLst>
          </p:cNvPr>
          <p:cNvSpPr>
            <a:spLocks noGrp="1"/>
          </p:cNvSpPr>
          <p:nvPr>
            <p:ph type="ftr" sz="quarter" idx="32"/>
          </p:nvPr>
        </p:nvSpPr>
        <p:spPr/>
        <p:txBody>
          <a:bodyPr/>
          <a:lstStyle/>
          <a:p>
            <a:endParaRPr lang="en-US" sz="600" noProof="0" dirty="0"/>
          </a:p>
        </p:txBody>
      </p:sp>
      <p:sp>
        <p:nvSpPr>
          <p:cNvPr id="7" name="Slide Number Placeholder 6">
            <a:extLst>
              <a:ext uri="{FF2B5EF4-FFF2-40B4-BE49-F238E27FC236}">
                <a16:creationId xmlns:a16="http://schemas.microsoft.com/office/drawing/2014/main" id="{2287ABE5-54D4-48A5-9B69-7BA8820B698E}"/>
              </a:ext>
            </a:extLst>
          </p:cNvPr>
          <p:cNvSpPr>
            <a:spLocks noGrp="1"/>
          </p:cNvSpPr>
          <p:nvPr>
            <p:ph type="sldNum" sz="quarter" idx="33"/>
          </p:nvPr>
        </p:nvSpPr>
        <p:spPr/>
        <p:txBody>
          <a:bodyPr/>
          <a:lstStyle/>
          <a:p>
            <a:fld id="{5034EE70-12A8-400F-8E3D-398CDD8B315D}" type="slidenum">
              <a:rPr lang="en-US" smtClean="0"/>
              <a:pPr/>
              <a:t>‹#›</a:t>
            </a:fld>
            <a:endParaRPr lang="en-US" dirty="0"/>
          </a:p>
        </p:txBody>
      </p:sp>
    </p:spTree>
    <p:extLst>
      <p:ext uri="{BB962C8B-B14F-4D97-AF65-F5344CB8AC3E}">
        <p14:creationId xmlns:p14="http://schemas.microsoft.com/office/powerpoint/2010/main" val="366159655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ext w/ 3 Call Ou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0E1418-D76B-4E7B-BC2C-A4D67CDE8555}"/>
              </a:ext>
            </a:extLst>
          </p:cNvPr>
          <p:cNvSpPr>
            <a:spLocks noGrp="1"/>
          </p:cNvSpPr>
          <p:nvPr>
            <p:ph type="title" hasCustomPrompt="1"/>
          </p:nvPr>
        </p:nvSpPr>
        <p:spPr>
          <a:xfrm>
            <a:off x="480060" y="706279"/>
            <a:ext cx="6894512" cy="406241"/>
          </a:xfrm>
        </p:spPr>
        <p:txBody>
          <a:bodyPr/>
          <a:lstStyle>
            <a:lvl1pPr>
              <a:defRPr b="1">
                <a:solidFill>
                  <a:schemeClr val="accent1"/>
                </a:solidFill>
              </a:defRPr>
            </a:lvl1pPr>
          </a:lstStyle>
          <a:p>
            <a:r>
              <a:rPr lang="en-US"/>
              <a:t>CLICK TO INSERT TITLE</a:t>
            </a:r>
          </a:p>
        </p:txBody>
      </p:sp>
      <p:sp>
        <p:nvSpPr>
          <p:cNvPr id="18" name="Text Placeholder 17">
            <a:extLst>
              <a:ext uri="{FF2B5EF4-FFF2-40B4-BE49-F238E27FC236}">
                <a16:creationId xmlns:a16="http://schemas.microsoft.com/office/drawing/2014/main" id="{102FABD5-59C6-4F0D-9AA0-39C0CA9FE05D}"/>
              </a:ext>
            </a:extLst>
          </p:cNvPr>
          <p:cNvSpPr>
            <a:spLocks noGrp="1"/>
          </p:cNvSpPr>
          <p:nvPr>
            <p:ph type="body" sz="quarter" idx="37" hasCustomPrompt="1"/>
          </p:nvPr>
        </p:nvSpPr>
        <p:spPr>
          <a:xfrm>
            <a:off x="8001000" y="620713"/>
            <a:ext cx="3340100" cy="395287"/>
          </a:xfrm>
        </p:spPr>
        <p:txBody>
          <a:bodyPr anchor="b"/>
          <a:lstStyle>
            <a:lvl1pPr>
              <a:defRPr b="1" cap="all" baseline="0">
                <a:solidFill>
                  <a:schemeClr val="accent3"/>
                </a:solidFill>
              </a:defRPr>
            </a:lvl1pPr>
            <a:lvl2pPr>
              <a:defRPr cap="all" baseline="0">
                <a:solidFill>
                  <a:schemeClr val="bg1"/>
                </a:solidFill>
              </a:defRPr>
            </a:lvl2pPr>
            <a:lvl3pPr>
              <a:defRPr cap="all" baseline="0">
                <a:solidFill>
                  <a:schemeClr val="bg1"/>
                </a:solidFill>
              </a:defRPr>
            </a:lvl3pPr>
            <a:lvl4pPr>
              <a:defRPr cap="all" baseline="0">
                <a:solidFill>
                  <a:schemeClr val="bg1"/>
                </a:solidFill>
              </a:defRPr>
            </a:lvl4pPr>
            <a:lvl5pPr>
              <a:defRPr cap="all" baseline="0">
                <a:solidFill>
                  <a:schemeClr val="bg1"/>
                </a:solidFill>
              </a:defRPr>
            </a:lvl5pPr>
          </a:lstStyle>
          <a:p>
            <a:pPr lvl="0"/>
            <a:r>
              <a:rPr lang="en-US"/>
              <a:t>Click to insert title</a:t>
            </a:r>
          </a:p>
        </p:txBody>
      </p:sp>
      <p:sp>
        <p:nvSpPr>
          <p:cNvPr id="21" name="Text Placeholder 20">
            <a:extLst>
              <a:ext uri="{FF2B5EF4-FFF2-40B4-BE49-F238E27FC236}">
                <a16:creationId xmlns:a16="http://schemas.microsoft.com/office/drawing/2014/main" id="{751AB62D-3217-487E-97C6-FB443914A7E0}"/>
              </a:ext>
            </a:extLst>
          </p:cNvPr>
          <p:cNvSpPr>
            <a:spLocks noGrp="1"/>
          </p:cNvSpPr>
          <p:nvPr>
            <p:ph type="body" sz="quarter" idx="39" hasCustomPrompt="1"/>
          </p:nvPr>
        </p:nvSpPr>
        <p:spPr>
          <a:xfrm>
            <a:off x="8001000" y="1165225"/>
            <a:ext cx="3686175" cy="1376362"/>
          </a:xfrm>
        </p:spPr>
        <p:txBody>
          <a:bodyPr/>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23" name="Text Placeholder 22">
            <a:extLst>
              <a:ext uri="{FF2B5EF4-FFF2-40B4-BE49-F238E27FC236}">
                <a16:creationId xmlns:a16="http://schemas.microsoft.com/office/drawing/2014/main" id="{C42E65C4-1B67-4756-B84E-8867A2B8CCCF}"/>
              </a:ext>
            </a:extLst>
          </p:cNvPr>
          <p:cNvSpPr>
            <a:spLocks noGrp="1"/>
          </p:cNvSpPr>
          <p:nvPr>
            <p:ph type="body" sz="quarter" idx="40" hasCustomPrompt="1"/>
          </p:nvPr>
        </p:nvSpPr>
        <p:spPr>
          <a:xfrm>
            <a:off x="8013494" y="1066833"/>
            <a:ext cx="3852000" cy="7200"/>
          </a:xfrm>
          <a:solidFill>
            <a:schemeClr val="accent2"/>
          </a:solidFill>
        </p:spPr>
        <p:txBody>
          <a:bodyPr/>
          <a:lstStyle>
            <a:lvl1pPr>
              <a:defRPr/>
            </a:lvl1pPr>
          </a:lstStyle>
          <a:p>
            <a:pPr lvl="0"/>
            <a:r>
              <a:rPr lang="en-US"/>
              <a:t> </a:t>
            </a:r>
          </a:p>
        </p:txBody>
      </p:sp>
      <p:sp>
        <p:nvSpPr>
          <p:cNvPr id="24" name="Text Placeholder 17">
            <a:extLst>
              <a:ext uri="{FF2B5EF4-FFF2-40B4-BE49-F238E27FC236}">
                <a16:creationId xmlns:a16="http://schemas.microsoft.com/office/drawing/2014/main" id="{C27BCEC2-C74F-479F-836B-31067C570639}"/>
              </a:ext>
            </a:extLst>
          </p:cNvPr>
          <p:cNvSpPr>
            <a:spLocks noGrp="1"/>
          </p:cNvSpPr>
          <p:nvPr>
            <p:ph type="body" sz="quarter" idx="41" hasCustomPrompt="1"/>
          </p:nvPr>
        </p:nvSpPr>
        <p:spPr>
          <a:xfrm>
            <a:off x="8001000" y="2583132"/>
            <a:ext cx="3340100" cy="395287"/>
          </a:xfrm>
        </p:spPr>
        <p:txBody>
          <a:bodyPr anchor="b"/>
          <a:lstStyle>
            <a:lvl1pPr>
              <a:defRPr b="1" cap="all" baseline="0">
                <a:solidFill>
                  <a:schemeClr val="accent3"/>
                </a:solidFill>
              </a:defRPr>
            </a:lvl1pPr>
            <a:lvl2pPr>
              <a:defRPr cap="all" baseline="0">
                <a:solidFill>
                  <a:schemeClr val="bg1"/>
                </a:solidFill>
              </a:defRPr>
            </a:lvl2pPr>
            <a:lvl3pPr>
              <a:defRPr cap="all" baseline="0">
                <a:solidFill>
                  <a:schemeClr val="bg1"/>
                </a:solidFill>
              </a:defRPr>
            </a:lvl3pPr>
            <a:lvl4pPr>
              <a:defRPr cap="all" baseline="0">
                <a:solidFill>
                  <a:schemeClr val="bg1"/>
                </a:solidFill>
              </a:defRPr>
            </a:lvl4pPr>
            <a:lvl5pPr>
              <a:defRPr cap="all" baseline="0">
                <a:solidFill>
                  <a:schemeClr val="bg1"/>
                </a:solidFill>
              </a:defRPr>
            </a:lvl5pPr>
          </a:lstStyle>
          <a:p>
            <a:pPr lvl="0"/>
            <a:r>
              <a:rPr lang="en-US"/>
              <a:t>Click to insert title</a:t>
            </a:r>
          </a:p>
        </p:txBody>
      </p:sp>
      <p:sp>
        <p:nvSpPr>
          <p:cNvPr id="25" name="Text Placeholder 20">
            <a:extLst>
              <a:ext uri="{FF2B5EF4-FFF2-40B4-BE49-F238E27FC236}">
                <a16:creationId xmlns:a16="http://schemas.microsoft.com/office/drawing/2014/main" id="{C08E2F68-250C-4F16-A3AE-E0AB7FEFBA92}"/>
              </a:ext>
            </a:extLst>
          </p:cNvPr>
          <p:cNvSpPr>
            <a:spLocks noGrp="1"/>
          </p:cNvSpPr>
          <p:nvPr>
            <p:ph type="body" sz="quarter" idx="42" hasCustomPrompt="1"/>
          </p:nvPr>
        </p:nvSpPr>
        <p:spPr>
          <a:xfrm>
            <a:off x="8001000" y="3127644"/>
            <a:ext cx="3686175" cy="1376362"/>
          </a:xfrm>
        </p:spPr>
        <p:txBody>
          <a:bodyPr/>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26" name="Text Placeholder 22">
            <a:extLst>
              <a:ext uri="{FF2B5EF4-FFF2-40B4-BE49-F238E27FC236}">
                <a16:creationId xmlns:a16="http://schemas.microsoft.com/office/drawing/2014/main" id="{A40584AA-4378-4DA1-A8EF-498D429BAFA4}"/>
              </a:ext>
            </a:extLst>
          </p:cNvPr>
          <p:cNvSpPr>
            <a:spLocks noGrp="1"/>
          </p:cNvSpPr>
          <p:nvPr>
            <p:ph type="body" sz="quarter" idx="43" hasCustomPrompt="1"/>
          </p:nvPr>
        </p:nvSpPr>
        <p:spPr>
          <a:xfrm>
            <a:off x="8013494" y="3029252"/>
            <a:ext cx="3852000" cy="7200"/>
          </a:xfrm>
          <a:solidFill>
            <a:schemeClr val="accent2"/>
          </a:solidFill>
        </p:spPr>
        <p:txBody>
          <a:bodyPr/>
          <a:lstStyle>
            <a:lvl1pPr>
              <a:defRPr/>
            </a:lvl1pPr>
          </a:lstStyle>
          <a:p>
            <a:pPr lvl="0"/>
            <a:r>
              <a:rPr lang="en-US"/>
              <a:t> </a:t>
            </a:r>
          </a:p>
        </p:txBody>
      </p:sp>
      <p:sp>
        <p:nvSpPr>
          <p:cNvPr id="27" name="Text Placeholder 17">
            <a:extLst>
              <a:ext uri="{FF2B5EF4-FFF2-40B4-BE49-F238E27FC236}">
                <a16:creationId xmlns:a16="http://schemas.microsoft.com/office/drawing/2014/main" id="{946903EA-96C5-4199-B8E1-29535E66468A}"/>
              </a:ext>
            </a:extLst>
          </p:cNvPr>
          <p:cNvSpPr>
            <a:spLocks noGrp="1"/>
          </p:cNvSpPr>
          <p:nvPr>
            <p:ph type="body" sz="quarter" idx="44" hasCustomPrompt="1"/>
          </p:nvPr>
        </p:nvSpPr>
        <p:spPr>
          <a:xfrm>
            <a:off x="8001000" y="4552632"/>
            <a:ext cx="3340100" cy="395287"/>
          </a:xfrm>
        </p:spPr>
        <p:txBody>
          <a:bodyPr anchor="b"/>
          <a:lstStyle>
            <a:lvl1pPr>
              <a:defRPr b="1" cap="all" baseline="0">
                <a:solidFill>
                  <a:schemeClr val="accent3"/>
                </a:solidFill>
              </a:defRPr>
            </a:lvl1pPr>
            <a:lvl2pPr>
              <a:defRPr cap="all" baseline="0">
                <a:solidFill>
                  <a:schemeClr val="bg1"/>
                </a:solidFill>
              </a:defRPr>
            </a:lvl2pPr>
            <a:lvl3pPr>
              <a:defRPr cap="all" baseline="0">
                <a:solidFill>
                  <a:schemeClr val="bg1"/>
                </a:solidFill>
              </a:defRPr>
            </a:lvl3pPr>
            <a:lvl4pPr>
              <a:defRPr cap="all" baseline="0">
                <a:solidFill>
                  <a:schemeClr val="bg1"/>
                </a:solidFill>
              </a:defRPr>
            </a:lvl4pPr>
            <a:lvl5pPr>
              <a:defRPr cap="all" baseline="0">
                <a:solidFill>
                  <a:schemeClr val="bg1"/>
                </a:solidFill>
              </a:defRPr>
            </a:lvl5pPr>
          </a:lstStyle>
          <a:p>
            <a:pPr lvl="0"/>
            <a:r>
              <a:rPr lang="en-US"/>
              <a:t>Click to insert title</a:t>
            </a:r>
          </a:p>
        </p:txBody>
      </p:sp>
      <p:sp>
        <p:nvSpPr>
          <p:cNvPr id="28" name="Text Placeholder 20">
            <a:extLst>
              <a:ext uri="{FF2B5EF4-FFF2-40B4-BE49-F238E27FC236}">
                <a16:creationId xmlns:a16="http://schemas.microsoft.com/office/drawing/2014/main" id="{7D359A92-26F3-40B6-B949-930BD88F9376}"/>
              </a:ext>
            </a:extLst>
          </p:cNvPr>
          <p:cNvSpPr>
            <a:spLocks noGrp="1"/>
          </p:cNvSpPr>
          <p:nvPr>
            <p:ph type="body" sz="quarter" idx="45" hasCustomPrompt="1"/>
          </p:nvPr>
        </p:nvSpPr>
        <p:spPr>
          <a:xfrm>
            <a:off x="8001000" y="5097144"/>
            <a:ext cx="3686175" cy="1376362"/>
          </a:xfrm>
        </p:spPr>
        <p:txBody>
          <a:bodyPr/>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29" name="Text Placeholder 22">
            <a:extLst>
              <a:ext uri="{FF2B5EF4-FFF2-40B4-BE49-F238E27FC236}">
                <a16:creationId xmlns:a16="http://schemas.microsoft.com/office/drawing/2014/main" id="{EE405BF2-6EB4-46DC-9E3F-92AADC90B02B}"/>
              </a:ext>
            </a:extLst>
          </p:cNvPr>
          <p:cNvSpPr>
            <a:spLocks noGrp="1"/>
          </p:cNvSpPr>
          <p:nvPr>
            <p:ph type="body" sz="quarter" idx="46" hasCustomPrompt="1"/>
          </p:nvPr>
        </p:nvSpPr>
        <p:spPr>
          <a:xfrm>
            <a:off x="8013494" y="4998752"/>
            <a:ext cx="3852000" cy="7200"/>
          </a:xfrm>
          <a:solidFill>
            <a:schemeClr val="accent2"/>
          </a:solidFill>
        </p:spPr>
        <p:txBody>
          <a:bodyPr/>
          <a:lstStyle>
            <a:lvl1pPr>
              <a:defRPr/>
            </a:lvl1pPr>
          </a:lstStyle>
          <a:p>
            <a:pPr lvl="0"/>
            <a:r>
              <a:rPr lang="en-US"/>
              <a:t> </a:t>
            </a:r>
          </a:p>
        </p:txBody>
      </p:sp>
      <p:sp>
        <p:nvSpPr>
          <p:cNvPr id="68" name="Text Placeholder 40">
            <a:extLst>
              <a:ext uri="{FF2B5EF4-FFF2-40B4-BE49-F238E27FC236}">
                <a16:creationId xmlns:a16="http://schemas.microsoft.com/office/drawing/2014/main" id="{8F72A093-5455-452B-AD67-785EAB379709}"/>
              </a:ext>
            </a:extLst>
          </p:cNvPr>
          <p:cNvSpPr>
            <a:spLocks noGrp="1"/>
          </p:cNvSpPr>
          <p:nvPr>
            <p:ph type="body" sz="quarter" idx="19" hasCustomPrompt="1"/>
          </p:nvPr>
        </p:nvSpPr>
        <p:spPr>
          <a:xfrm>
            <a:off x="480060" y="1203325"/>
            <a:ext cx="6894512" cy="391636"/>
          </a:xfrm>
        </p:spPr>
        <p:txBody>
          <a:bodyPr/>
          <a:lstStyle>
            <a:lvl1pPr>
              <a:defRPr>
                <a:solidFill>
                  <a:schemeClr val="accent3"/>
                </a:solidFill>
              </a:defRPr>
            </a:lvl1pPr>
          </a:lstStyle>
          <a:p>
            <a:pPr lvl="0"/>
            <a:r>
              <a:rPr lang="en-US"/>
              <a:t>Click to insert subtitle</a:t>
            </a:r>
          </a:p>
        </p:txBody>
      </p:sp>
      <p:sp>
        <p:nvSpPr>
          <p:cNvPr id="20" name="Text Placeholder 15">
            <a:extLst>
              <a:ext uri="{FF2B5EF4-FFF2-40B4-BE49-F238E27FC236}">
                <a16:creationId xmlns:a16="http://schemas.microsoft.com/office/drawing/2014/main" id="{A1A5D973-B81F-4BA3-B1EB-7CC1029EFFDA}"/>
              </a:ext>
            </a:extLst>
          </p:cNvPr>
          <p:cNvSpPr>
            <a:spLocks noGrp="1"/>
          </p:cNvSpPr>
          <p:nvPr>
            <p:ph type="body" sz="quarter" idx="26" hasCustomPrompt="1"/>
          </p:nvPr>
        </p:nvSpPr>
        <p:spPr>
          <a:xfrm>
            <a:off x="480060" y="1803966"/>
            <a:ext cx="6893878" cy="4347744"/>
          </a:xfrm>
        </p:spPr>
        <p:txBody>
          <a:bodyPr numCol="1" spcCol="360000"/>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30" name="Freeform: Shape 29">
            <a:extLst>
              <a:ext uri="{FF2B5EF4-FFF2-40B4-BE49-F238E27FC236}">
                <a16:creationId xmlns:a16="http://schemas.microsoft.com/office/drawing/2014/main" id="{65C0B641-69AB-4554-9FC4-0FA89E89A821}"/>
              </a:ext>
            </a:extLst>
          </p:cNvPr>
          <p:cNvSpPr/>
          <p:nvPr userDrawn="1"/>
        </p:nvSpPr>
        <p:spPr>
          <a:xfrm>
            <a:off x="325457" y="278027"/>
            <a:ext cx="11541086" cy="6154308"/>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dirty="0">
              <a:solidFill>
                <a:schemeClr val="tx1"/>
              </a:solidFill>
            </a:endParaRPr>
          </a:p>
        </p:txBody>
      </p:sp>
      <p:pic>
        <p:nvPicPr>
          <p:cNvPr id="31" name="Graphic 30">
            <a:extLst>
              <a:ext uri="{FF2B5EF4-FFF2-40B4-BE49-F238E27FC236}">
                <a16:creationId xmlns:a16="http://schemas.microsoft.com/office/drawing/2014/main" id="{41CB56CB-06CE-4907-A880-35A1254341B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457" y="6551607"/>
            <a:ext cx="1852404" cy="171450"/>
          </a:xfrm>
          <a:prstGeom prst="rect">
            <a:avLst/>
          </a:prstGeom>
        </p:spPr>
      </p:pic>
      <p:sp>
        <p:nvSpPr>
          <p:cNvPr id="6" name="Footer Placeholder 5">
            <a:extLst>
              <a:ext uri="{FF2B5EF4-FFF2-40B4-BE49-F238E27FC236}">
                <a16:creationId xmlns:a16="http://schemas.microsoft.com/office/drawing/2014/main" id="{86186BD4-D270-4A0A-AE98-286D5FD49CEA}"/>
              </a:ext>
            </a:extLst>
          </p:cNvPr>
          <p:cNvSpPr>
            <a:spLocks noGrp="1"/>
          </p:cNvSpPr>
          <p:nvPr>
            <p:ph type="ftr" sz="quarter" idx="48"/>
          </p:nvPr>
        </p:nvSpPr>
        <p:spPr/>
        <p:txBody>
          <a:bodyPr/>
          <a:lstStyle/>
          <a:p>
            <a:endParaRPr lang="en-US" sz="600" noProof="0" dirty="0"/>
          </a:p>
        </p:txBody>
      </p:sp>
      <p:sp>
        <p:nvSpPr>
          <p:cNvPr id="7" name="Slide Number Placeholder 6">
            <a:extLst>
              <a:ext uri="{FF2B5EF4-FFF2-40B4-BE49-F238E27FC236}">
                <a16:creationId xmlns:a16="http://schemas.microsoft.com/office/drawing/2014/main" id="{10CA5979-90BE-4B7D-A309-7B126999DC9D}"/>
              </a:ext>
            </a:extLst>
          </p:cNvPr>
          <p:cNvSpPr>
            <a:spLocks noGrp="1"/>
          </p:cNvSpPr>
          <p:nvPr>
            <p:ph type="sldNum" sz="quarter" idx="49"/>
          </p:nvPr>
        </p:nvSpPr>
        <p:spPr/>
        <p:txBody>
          <a:bodyPr/>
          <a:lstStyle/>
          <a:p>
            <a:fld id="{5034EE70-12A8-400F-8E3D-398CDD8B315D}" type="slidenum">
              <a:rPr lang="en-US" smtClean="0"/>
              <a:pPr/>
              <a:t>‹#›</a:t>
            </a:fld>
            <a:endParaRPr lang="en-US" dirty="0"/>
          </a:p>
        </p:txBody>
      </p:sp>
    </p:spTree>
    <p:extLst>
      <p:ext uri="{BB962C8B-B14F-4D97-AF65-F5344CB8AC3E}">
        <p14:creationId xmlns:p14="http://schemas.microsoft.com/office/powerpoint/2010/main" val="36897005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able of Contets">
    <p:bg>
      <p:bgPr>
        <a:solidFill>
          <a:srgbClr val="17425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42242" y="194430"/>
            <a:ext cx="11528917" cy="594360"/>
          </a:xfrm>
        </p:spPr>
        <p:txBody>
          <a:bodyPr>
            <a:noAutofit/>
          </a:bodyPr>
          <a:lstStyle>
            <a:lvl1pPr>
              <a:defRPr sz="2585">
                <a:solidFill>
                  <a:schemeClr val="bg1"/>
                </a:solidFill>
              </a:defRPr>
            </a:lvl1pPr>
          </a:lstStyle>
          <a:p>
            <a:r>
              <a:rPr lang="en-US"/>
              <a:t>Click to edit Master title style</a:t>
            </a:r>
          </a:p>
        </p:txBody>
      </p:sp>
      <p:sp>
        <p:nvSpPr>
          <p:cNvPr id="3" name="Content Placeholder 2"/>
          <p:cNvSpPr>
            <a:spLocks noGrp="1"/>
          </p:cNvSpPr>
          <p:nvPr>
            <p:ph idx="1"/>
          </p:nvPr>
        </p:nvSpPr>
        <p:spPr>
          <a:xfrm>
            <a:off x="342242" y="801390"/>
            <a:ext cx="11528917" cy="5227768"/>
          </a:xfrm>
        </p:spPr>
        <p:txBody>
          <a:bodyPr>
            <a:noAutofit/>
          </a:bodyPr>
          <a:lstStyle>
            <a:lvl1pPr>
              <a:spcAft>
                <a:spcPts val="738"/>
              </a:spcAft>
              <a:buClr>
                <a:schemeClr val="bg1"/>
              </a:buClr>
              <a:defRPr sz="1969">
                <a:solidFill>
                  <a:schemeClr val="bg1"/>
                </a:solidFill>
              </a:defRPr>
            </a:lvl1pPr>
            <a:lvl2pPr marL="450186">
              <a:buClr>
                <a:schemeClr val="bg1"/>
              </a:buClr>
              <a:defRPr sz="1969">
                <a:solidFill>
                  <a:schemeClr val="bg1"/>
                </a:solidFill>
              </a:defRPr>
            </a:lvl2pPr>
            <a:lvl3pPr marL="900372">
              <a:buClr>
                <a:schemeClr val="bg1"/>
              </a:buClr>
              <a:defRPr sz="1969">
                <a:solidFill>
                  <a:schemeClr val="bg1"/>
                </a:solidFill>
              </a:defRPr>
            </a:lvl3pPr>
            <a:lvl4pPr marL="1350558">
              <a:buClr>
                <a:schemeClr val="bg1"/>
              </a:buClr>
              <a:defRPr sz="1969">
                <a:solidFill>
                  <a:schemeClr val="bg1"/>
                </a:solidFill>
              </a:defRPr>
            </a:lvl4pPr>
            <a:lvl5pPr marL="1800744">
              <a:buClr>
                <a:schemeClr val="bg1"/>
              </a:buClr>
              <a:defRPr sz="196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p:cNvGrpSpPr/>
          <p:nvPr userDrawn="1"/>
        </p:nvGrpSpPr>
        <p:grpSpPr>
          <a:xfrm>
            <a:off x="5" y="6792455"/>
            <a:ext cx="12191999" cy="73745"/>
            <a:chOff x="1" y="6792449"/>
            <a:chExt cx="9143999" cy="73745"/>
          </a:xfrm>
        </p:grpSpPr>
        <p:sp>
          <p:nvSpPr>
            <p:cNvPr id="8" name="Rectangle 7"/>
            <p:cNvSpPr/>
            <p:nvPr/>
          </p:nvSpPr>
          <p:spPr>
            <a:xfrm>
              <a:off x="5486400" y="6792449"/>
              <a:ext cx="1828800" cy="73745"/>
            </a:xfrm>
            <a:prstGeom prst="rect">
              <a:avLst/>
            </a:prstGeom>
            <a:solidFill>
              <a:srgbClr val="1740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9" name="Rectangle 8"/>
            <p:cNvSpPr/>
            <p:nvPr/>
          </p:nvSpPr>
          <p:spPr>
            <a:xfrm>
              <a:off x="1" y="6792449"/>
              <a:ext cx="1828800" cy="73745"/>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0" name="Rectangle 9"/>
            <p:cNvSpPr/>
            <p:nvPr/>
          </p:nvSpPr>
          <p:spPr>
            <a:xfrm>
              <a:off x="1828801" y="6792449"/>
              <a:ext cx="1828800" cy="73745"/>
            </a:xfrm>
            <a:prstGeom prst="rect">
              <a:avLst/>
            </a:prstGeom>
            <a:solidFill>
              <a:srgbClr val="2428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1" name="Rectangle 10"/>
            <p:cNvSpPr/>
            <p:nvPr/>
          </p:nvSpPr>
          <p:spPr>
            <a:xfrm>
              <a:off x="3657601" y="6792450"/>
              <a:ext cx="1828800" cy="73743"/>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2" name="Rectangle 11"/>
            <p:cNvSpPr/>
            <p:nvPr/>
          </p:nvSpPr>
          <p:spPr>
            <a:xfrm>
              <a:off x="7315200" y="6792450"/>
              <a:ext cx="1828800" cy="73743"/>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grpSp>
      <p:sp>
        <p:nvSpPr>
          <p:cNvPr id="14" name="Slide Number Placeholder 5"/>
          <p:cNvSpPr>
            <a:spLocks noGrp="1"/>
          </p:cNvSpPr>
          <p:nvPr>
            <p:ph type="sldNum" sz="quarter" idx="4"/>
          </p:nvPr>
        </p:nvSpPr>
        <p:spPr>
          <a:xfrm>
            <a:off x="342240" y="6356358"/>
            <a:ext cx="2844800" cy="365125"/>
          </a:xfrm>
          <a:prstGeom prst="rect">
            <a:avLst/>
          </a:prstGeom>
        </p:spPr>
        <p:txBody>
          <a:bodyPr vert="horz" lIns="91440" tIns="45720" rIns="91440" bIns="45720" rtlCol="0" anchor="ctr"/>
          <a:lstStyle>
            <a:lvl1pPr algn="l">
              <a:defRPr sz="985" b="1">
                <a:solidFill>
                  <a:schemeClr val="bg1"/>
                </a:solidFill>
              </a:defRPr>
            </a:lvl1pPr>
          </a:lstStyle>
          <a:p>
            <a:fld id="{4F1FA912-FC24-3D46-8310-EAE10B51E2A1}" type="slidenum">
              <a:rPr lang="en-US" smtClean="0"/>
              <a:pPr/>
              <a:t>‹#›</a:t>
            </a:fld>
            <a:endParaRPr lang="en-US"/>
          </a:p>
        </p:txBody>
      </p:sp>
    </p:spTree>
    <p:extLst>
      <p:ext uri="{BB962C8B-B14F-4D97-AF65-F5344CB8AC3E}">
        <p14:creationId xmlns:p14="http://schemas.microsoft.com/office/powerpoint/2010/main" val="915379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xt w/ Thumbnails Vertic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0E1418-D76B-4E7B-BC2C-A4D67CDE8555}"/>
              </a:ext>
            </a:extLst>
          </p:cNvPr>
          <p:cNvSpPr>
            <a:spLocks noGrp="1"/>
          </p:cNvSpPr>
          <p:nvPr>
            <p:ph type="title" hasCustomPrompt="1"/>
          </p:nvPr>
        </p:nvSpPr>
        <p:spPr>
          <a:xfrm>
            <a:off x="480060" y="706279"/>
            <a:ext cx="7963632" cy="406241"/>
          </a:xfrm>
        </p:spPr>
        <p:txBody>
          <a:bodyPr/>
          <a:lstStyle>
            <a:lvl1pPr>
              <a:defRPr b="1">
                <a:solidFill>
                  <a:schemeClr val="accent1"/>
                </a:solidFill>
              </a:defRPr>
            </a:lvl1pPr>
          </a:lstStyle>
          <a:p>
            <a:r>
              <a:rPr lang="en-US"/>
              <a:t>CLICK TO INSERT TITLE</a:t>
            </a:r>
          </a:p>
        </p:txBody>
      </p:sp>
      <p:sp>
        <p:nvSpPr>
          <p:cNvPr id="68" name="Text Placeholder 40">
            <a:extLst>
              <a:ext uri="{FF2B5EF4-FFF2-40B4-BE49-F238E27FC236}">
                <a16:creationId xmlns:a16="http://schemas.microsoft.com/office/drawing/2014/main" id="{8F72A093-5455-452B-AD67-785EAB379709}"/>
              </a:ext>
            </a:extLst>
          </p:cNvPr>
          <p:cNvSpPr>
            <a:spLocks noGrp="1"/>
          </p:cNvSpPr>
          <p:nvPr>
            <p:ph type="body" sz="quarter" idx="19" hasCustomPrompt="1"/>
          </p:nvPr>
        </p:nvSpPr>
        <p:spPr>
          <a:xfrm>
            <a:off x="480060" y="1203325"/>
            <a:ext cx="7963632" cy="391636"/>
          </a:xfrm>
        </p:spPr>
        <p:txBody>
          <a:bodyPr/>
          <a:lstStyle>
            <a:lvl1pPr>
              <a:defRPr>
                <a:solidFill>
                  <a:schemeClr val="accent3"/>
                </a:solidFill>
              </a:defRPr>
            </a:lvl1pPr>
          </a:lstStyle>
          <a:p>
            <a:pPr lvl="0"/>
            <a:r>
              <a:rPr lang="en-US"/>
              <a:t>Click to insert subtitle</a:t>
            </a:r>
          </a:p>
        </p:txBody>
      </p:sp>
      <p:sp>
        <p:nvSpPr>
          <p:cNvPr id="20" name="Text Placeholder 15">
            <a:extLst>
              <a:ext uri="{FF2B5EF4-FFF2-40B4-BE49-F238E27FC236}">
                <a16:creationId xmlns:a16="http://schemas.microsoft.com/office/drawing/2014/main" id="{A1A5D973-B81F-4BA3-B1EB-7CC1029EFFDA}"/>
              </a:ext>
            </a:extLst>
          </p:cNvPr>
          <p:cNvSpPr>
            <a:spLocks noGrp="1"/>
          </p:cNvSpPr>
          <p:nvPr>
            <p:ph type="body" sz="quarter" idx="26" hasCustomPrompt="1"/>
          </p:nvPr>
        </p:nvSpPr>
        <p:spPr>
          <a:xfrm>
            <a:off x="480060" y="1803966"/>
            <a:ext cx="7962900" cy="4347744"/>
          </a:xfrm>
        </p:spPr>
        <p:txBody>
          <a:bodyPr numCol="1" spcCol="360000"/>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18" name="Picture Placeholder 17">
            <a:extLst>
              <a:ext uri="{FF2B5EF4-FFF2-40B4-BE49-F238E27FC236}">
                <a16:creationId xmlns:a16="http://schemas.microsoft.com/office/drawing/2014/main" id="{E29AAA74-2197-43B0-8942-CE6F619D35B3}"/>
              </a:ext>
            </a:extLst>
          </p:cNvPr>
          <p:cNvSpPr>
            <a:spLocks noGrp="1"/>
          </p:cNvSpPr>
          <p:nvPr>
            <p:ph type="pic" sz="quarter" idx="62" hasCustomPrompt="1"/>
          </p:nvPr>
        </p:nvSpPr>
        <p:spPr>
          <a:xfrm>
            <a:off x="8546876" y="526615"/>
            <a:ext cx="3064098" cy="1875028"/>
          </a:xfrm>
          <a:custGeom>
            <a:avLst/>
            <a:gdLst>
              <a:gd name="connsiteX0" fmla="*/ 0 w 3064098"/>
              <a:gd name="connsiteY0" fmla="*/ 0 h 1815145"/>
              <a:gd name="connsiteX1" fmla="*/ 2551899 w 3064098"/>
              <a:gd name="connsiteY1" fmla="*/ 0 h 1815145"/>
              <a:gd name="connsiteX2" fmla="*/ 3064098 w 3064098"/>
              <a:gd name="connsiteY2" fmla="*/ 510137 h 1815145"/>
              <a:gd name="connsiteX3" fmla="*/ 3064098 w 3064098"/>
              <a:gd name="connsiteY3" fmla="*/ 1815145 h 1815145"/>
              <a:gd name="connsiteX4" fmla="*/ 0 w 3064098"/>
              <a:gd name="connsiteY4" fmla="*/ 1815145 h 1815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4098" h="1815145">
                <a:moveTo>
                  <a:pt x="0" y="0"/>
                </a:moveTo>
                <a:lnTo>
                  <a:pt x="2551899" y="0"/>
                </a:lnTo>
                <a:lnTo>
                  <a:pt x="3064098" y="510137"/>
                </a:lnTo>
                <a:lnTo>
                  <a:pt x="3064098" y="1815145"/>
                </a:lnTo>
                <a:lnTo>
                  <a:pt x="0" y="1815145"/>
                </a:lnTo>
                <a:close/>
              </a:path>
            </a:pathLst>
          </a:custGeom>
        </p:spPr>
        <p:txBody>
          <a:bodyPr wrap="square" anchor="ctr">
            <a:noAutofit/>
          </a:bodyPr>
          <a:lstStyle>
            <a:lvl1pPr algn="ctr">
              <a:defRPr sz="1200"/>
            </a:lvl1pPr>
          </a:lstStyle>
          <a:p>
            <a:r>
              <a:rPr lang="en-US" dirty="0"/>
              <a:t>Click icon to insert image</a:t>
            </a:r>
          </a:p>
        </p:txBody>
      </p:sp>
      <p:sp>
        <p:nvSpPr>
          <p:cNvPr id="31" name="Picture Placeholder 12">
            <a:extLst>
              <a:ext uri="{FF2B5EF4-FFF2-40B4-BE49-F238E27FC236}">
                <a16:creationId xmlns:a16="http://schemas.microsoft.com/office/drawing/2014/main" id="{BC658943-9F7E-46EE-94E6-34748B06CAFD}"/>
              </a:ext>
            </a:extLst>
          </p:cNvPr>
          <p:cNvSpPr>
            <a:spLocks noGrp="1"/>
          </p:cNvSpPr>
          <p:nvPr>
            <p:ph type="pic" sz="quarter" idx="63" hasCustomPrompt="1"/>
          </p:nvPr>
        </p:nvSpPr>
        <p:spPr>
          <a:xfrm>
            <a:off x="8546216" y="2401645"/>
            <a:ext cx="3064098" cy="1875031"/>
          </a:xfrm>
        </p:spPr>
        <p:txBody>
          <a:bodyPr anchor="ctr"/>
          <a:lstStyle>
            <a:lvl1pPr algn="ctr">
              <a:defRPr sz="1200"/>
            </a:lvl1pPr>
          </a:lstStyle>
          <a:p>
            <a:pPr marL="0" marR="0" lvl="0" indent="0" algn="ctr" defTabSz="914400" rtl="0" eaLnBrk="1" fontAlgn="auto" latinLnBrk="0" hangingPunct="1">
              <a:lnSpc>
                <a:spcPct val="90000"/>
              </a:lnSpc>
              <a:spcBef>
                <a:spcPts val="1000"/>
              </a:spcBef>
              <a:spcAft>
                <a:spcPts val="300"/>
              </a:spcAft>
              <a:buClrTx/>
              <a:buSzTx/>
              <a:buFont typeface="Arial" panose="020B0604020202020204" pitchFamily="34" charset="0"/>
              <a:buNone/>
              <a:tabLst/>
              <a:defRPr/>
            </a:pPr>
            <a:r>
              <a:rPr lang="en-US" dirty="0"/>
              <a:t>Click icon to insert image</a:t>
            </a:r>
          </a:p>
        </p:txBody>
      </p:sp>
      <p:sp>
        <p:nvSpPr>
          <p:cNvPr id="32" name="Picture Placeholder 12">
            <a:extLst>
              <a:ext uri="{FF2B5EF4-FFF2-40B4-BE49-F238E27FC236}">
                <a16:creationId xmlns:a16="http://schemas.microsoft.com/office/drawing/2014/main" id="{21E40701-1482-4E01-8CB4-D64845434447}"/>
              </a:ext>
            </a:extLst>
          </p:cNvPr>
          <p:cNvSpPr>
            <a:spLocks noGrp="1"/>
          </p:cNvSpPr>
          <p:nvPr>
            <p:ph type="pic" sz="quarter" idx="64" hasCustomPrompt="1"/>
          </p:nvPr>
        </p:nvSpPr>
        <p:spPr>
          <a:xfrm>
            <a:off x="8546216" y="4276676"/>
            <a:ext cx="3064098" cy="1875033"/>
          </a:xfrm>
        </p:spPr>
        <p:txBody>
          <a:bodyPr anchor="ctr"/>
          <a:lstStyle>
            <a:lvl1pPr algn="ctr">
              <a:defRPr sz="1200"/>
            </a:lvl1pPr>
          </a:lstStyle>
          <a:p>
            <a:pPr marL="0" marR="0" lvl="0" indent="0" algn="ctr" defTabSz="914400" rtl="0" eaLnBrk="1" fontAlgn="auto" latinLnBrk="0" hangingPunct="1">
              <a:lnSpc>
                <a:spcPct val="90000"/>
              </a:lnSpc>
              <a:spcBef>
                <a:spcPts val="1000"/>
              </a:spcBef>
              <a:spcAft>
                <a:spcPts val="300"/>
              </a:spcAft>
              <a:buClrTx/>
              <a:buSzTx/>
              <a:buFont typeface="Arial" panose="020B0604020202020204" pitchFamily="34" charset="0"/>
              <a:buNone/>
              <a:tabLst/>
              <a:defRPr/>
            </a:pPr>
            <a:r>
              <a:rPr lang="en-US" dirty="0"/>
              <a:t>Click icon to insert image</a:t>
            </a:r>
          </a:p>
        </p:txBody>
      </p:sp>
      <p:sp>
        <p:nvSpPr>
          <p:cNvPr id="12" name="Freeform: Shape 11">
            <a:extLst>
              <a:ext uri="{FF2B5EF4-FFF2-40B4-BE49-F238E27FC236}">
                <a16:creationId xmlns:a16="http://schemas.microsoft.com/office/drawing/2014/main" id="{054E95E2-14BB-417A-835A-921FCB0752A2}"/>
              </a:ext>
            </a:extLst>
          </p:cNvPr>
          <p:cNvSpPr/>
          <p:nvPr userDrawn="1"/>
        </p:nvSpPr>
        <p:spPr>
          <a:xfrm>
            <a:off x="325457" y="278027"/>
            <a:ext cx="11541086" cy="6154308"/>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dirty="0">
              <a:solidFill>
                <a:schemeClr val="tx1"/>
              </a:solidFill>
            </a:endParaRPr>
          </a:p>
        </p:txBody>
      </p:sp>
      <p:pic>
        <p:nvPicPr>
          <p:cNvPr id="13" name="Graphic 12">
            <a:extLst>
              <a:ext uri="{FF2B5EF4-FFF2-40B4-BE49-F238E27FC236}">
                <a16:creationId xmlns:a16="http://schemas.microsoft.com/office/drawing/2014/main" id="{F3A514CD-C610-4329-8550-BF8AE4F42C6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457" y="6551607"/>
            <a:ext cx="1852404" cy="171450"/>
          </a:xfrm>
          <a:prstGeom prst="rect">
            <a:avLst/>
          </a:prstGeom>
        </p:spPr>
      </p:pic>
      <p:sp>
        <p:nvSpPr>
          <p:cNvPr id="11" name="Footer Placeholder 10">
            <a:extLst>
              <a:ext uri="{FF2B5EF4-FFF2-40B4-BE49-F238E27FC236}">
                <a16:creationId xmlns:a16="http://schemas.microsoft.com/office/drawing/2014/main" id="{128B5D78-334F-473D-BA11-8919FFF21DAD}"/>
              </a:ext>
            </a:extLst>
          </p:cNvPr>
          <p:cNvSpPr>
            <a:spLocks noGrp="1"/>
          </p:cNvSpPr>
          <p:nvPr>
            <p:ph type="ftr" sz="quarter" idx="66"/>
          </p:nvPr>
        </p:nvSpPr>
        <p:spPr/>
        <p:txBody>
          <a:bodyPr/>
          <a:lstStyle/>
          <a:p>
            <a:endParaRPr lang="en-US" sz="600" noProof="0" dirty="0"/>
          </a:p>
        </p:txBody>
      </p:sp>
      <p:sp>
        <p:nvSpPr>
          <p:cNvPr id="14" name="Slide Number Placeholder 13">
            <a:extLst>
              <a:ext uri="{FF2B5EF4-FFF2-40B4-BE49-F238E27FC236}">
                <a16:creationId xmlns:a16="http://schemas.microsoft.com/office/drawing/2014/main" id="{C67329A4-C78F-4A0A-88B1-AA4B40269E13}"/>
              </a:ext>
            </a:extLst>
          </p:cNvPr>
          <p:cNvSpPr>
            <a:spLocks noGrp="1"/>
          </p:cNvSpPr>
          <p:nvPr>
            <p:ph type="sldNum" sz="quarter" idx="67"/>
          </p:nvPr>
        </p:nvSpPr>
        <p:spPr/>
        <p:txBody>
          <a:bodyPr/>
          <a:lstStyle/>
          <a:p>
            <a:fld id="{5034EE70-12A8-400F-8E3D-398CDD8B315D}" type="slidenum">
              <a:rPr lang="en-US" smtClean="0"/>
              <a:pPr/>
              <a:t>‹#›</a:t>
            </a:fld>
            <a:endParaRPr lang="en-US" dirty="0"/>
          </a:p>
        </p:txBody>
      </p:sp>
    </p:spTree>
    <p:extLst>
      <p:ext uri="{BB962C8B-B14F-4D97-AF65-F5344CB8AC3E}">
        <p14:creationId xmlns:p14="http://schemas.microsoft.com/office/powerpoint/2010/main" val="5608021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ext w/ Thumbnails Horizont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0E1418-D76B-4E7B-BC2C-A4D67CDE8555}"/>
              </a:ext>
            </a:extLst>
          </p:cNvPr>
          <p:cNvSpPr>
            <a:spLocks noGrp="1"/>
          </p:cNvSpPr>
          <p:nvPr>
            <p:ph type="title" hasCustomPrompt="1"/>
          </p:nvPr>
        </p:nvSpPr>
        <p:spPr>
          <a:xfrm>
            <a:off x="480059" y="706279"/>
            <a:ext cx="10935705" cy="406241"/>
          </a:xfrm>
        </p:spPr>
        <p:txBody>
          <a:bodyPr/>
          <a:lstStyle>
            <a:lvl1pPr>
              <a:defRPr b="1">
                <a:solidFill>
                  <a:schemeClr val="accent1"/>
                </a:solidFill>
              </a:defRPr>
            </a:lvl1pPr>
          </a:lstStyle>
          <a:p>
            <a:r>
              <a:rPr lang="en-US"/>
              <a:t>CLICK TO INSERT TITLE</a:t>
            </a:r>
          </a:p>
        </p:txBody>
      </p:sp>
      <p:sp>
        <p:nvSpPr>
          <p:cNvPr id="68" name="Text Placeholder 40">
            <a:extLst>
              <a:ext uri="{FF2B5EF4-FFF2-40B4-BE49-F238E27FC236}">
                <a16:creationId xmlns:a16="http://schemas.microsoft.com/office/drawing/2014/main" id="{8F72A093-5455-452B-AD67-785EAB379709}"/>
              </a:ext>
            </a:extLst>
          </p:cNvPr>
          <p:cNvSpPr>
            <a:spLocks noGrp="1"/>
          </p:cNvSpPr>
          <p:nvPr>
            <p:ph type="body" sz="quarter" idx="19" hasCustomPrompt="1"/>
          </p:nvPr>
        </p:nvSpPr>
        <p:spPr>
          <a:xfrm>
            <a:off x="480059" y="1203325"/>
            <a:ext cx="10935705" cy="391636"/>
          </a:xfrm>
        </p:spPr>
        <p:txBody>
          <a:bodyPr/>
          <a:lstStyle>
            <a:lvl1pPr>
              <a:defRPr>
                <a:solidFill>
                  <a:schemeClr val="accent3"/>
                </a:solidFill>
              </a:defRPr>
            </a:lvl1pPr>
          </a:lstStyle>
          <a:p>
            <a:pPr lvl="0"/>
            <a:r>
              <a:rPr lang="en-US"/>
              <a:t>Click to insert subtitle</a:t>
            </a:r>
          </a:p>
        </p:txBody>
      </p:sp>
      <p:sp>
        <p:nvSpPr>
          <p:cNvPr id="20" name="Text Placeholder 15">
            <a:extLst>
              <a:ext uri="{FF2B5EF4-FFF2-40B4-BE49-F238E27FC236}">
                <a16:creationId xmlns:a16="http://schemas.microsoft.com/office/drawing/2014/main" id="{A1A5D973-B81F-4BA3-B1EB-7CC1029EFFDA}"/>
              </a:ext>
            </a:extLst>
          </p:cNvPr>
          <p:cNvSpPr>
            <a:spLocks noGrp="1"/>
          </p:cNvSpPr>
          <p:nvPr>
            <p:ph type="body" sz="quarter" idx="26" hasCustomPrompt="1"/>
          </p:nvPr>
        </p:nvSpPr>
        <p:spPr>
          <a:xfrm>
            <a:off x="480060" y="1803966"/>
            <a:ext cx="10934700" cy="2850050"/>
          </a:xfrm>
        </p:spPr>
        <p:txBody>
          <a:bodyPr numCol="1" spcCol="360000"/>
          <a:lstStyle>
            <a:lvl1pPr>
              <a:defRPr sz="1200">
                <a:solidFill>
                  <a:schemeClr val="tx2"/>
                </a:solidFill>
              </a:defRPr>
            </a:lvl1pPr>
            <a:lvl2pPr>
              <a:defRPr sz="1200">
                <a:solidFill>
                  <a:schemeClr val="tx2"/>
                </a:solidFill>
              </a:defRPr>
            </a:lvl2pPr>
            <a:lvl3pPr>
              <a:defRPr sz="1200">
                <a:solidFill>
                  <a:schemeClr val="tx2"/>
                </a:solidFill>
              </a:defRPr>
            </a:lvl3pPr>
            <a:lvl4pPr>
              <a:defRPr sz="1200">
                <a:solidFill>
                  <a:schemeClr val="tx2"/>
                </a:solidFill>
              </a:defRPr>
            </a:lvl4pPr>
            <a:lvl5pPr>
              <a:defRPr sz="120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12" name="Picture Placeholder 12">
            <a:extLst>
              <a:ext uri="{FF2B5EF4-FFF2-40B4-BE49-F238E27FC236}">
                <a16:creationId xmlns:a16="http://schemas.microsoft.com/office/drawing/2014/main" id="{79B65B06-51E2-4740-A025-19B8F91123D1}"/>
              </a:ext>
            </a:extLst>
          </p:cNvPr>
          <p:cNvSpPr>
            <a:spLocks noGrp="1"/>
          </p:cNvSpPr>
          <p:nvPr>
            <p:ph type="pic" sz="quarter" idx="64" hasCustomPrompt="1"/>
          </p:nvPr>
        </p:nvSpPr>
        <p:spPr>
          <a:xfrm>
            <a:off x="581025" y="4736783"/>
            <a:ext cx="3676643" cy="1414926"/>
          </a:xfrm>
        </p:spPr>
        <p:txBody>
          <a:bodyPr anchor="ctr"/>
          <a:lstStyle>
            <a:lvl1pPr algn="ctr">
              <a:defRPr sz="1200"/>
            </a:lvl1pPr>
          </a:lstStyle>
          <a:p>
            <a:pPr marL="0" marR="0" lvl="0" indent="0" algn="ctr" defTabSz="914400" rtl="0" eaLnBrk="1" fontAlgn="auto" latinLnBrk="0" hangingPunct="1">
              <a:lnSpc>
                <a:spcPct val="90000"/>
              </a:lnSpc>
              <a:spcBef>
                <a:spcPts val="1000"/>
              </a:spcBef>
              <a:spcAft>
                <a:spcPts val="300"/>
              </a:spcAft>
              <a:buClrTx/>
              <a:buSzTx/>
              <a:buFont typeface="Arial" panose="020B0604020202020204" pitchFamily="34" charset="0"/>
              <a:buNone/>
              <a:tabLst/>
              <a:defRPr/>
            </a:pPr>
            <a:r>
              <a:rPr lang="en-US" dirty="0"/>
              <a:t>Click icon to insert image</a:t>
            </a:r>
          </a:p>
        </p:txBody>
      </p:sp>
      <p:sp>
        <p:nvSpPr>
          <p:cNvPr id="13" name="Picture Placeholder 12">
            <a:extLst>
              <a:ext uri="{FF2B5EF4-FFF2-40B4-BE49-F238E27FC236}">
                <a16:creationId xmlns:a16="http://schemas.microsoft.com/office/drawing/2014/main" id="{D4B161FA-269B-4AFE-8AFD-F500130B6ED6}"/>
              </a:ext>
            </a:extLst>
          </p:cNvPr>
          <p:cNvSpPr>
            <a:spLocks noGrp="1"/>
          </p:cNvSpPr>
          <p:nvPr>
            <p:ph type="pic" sz="quarter" idx="67" hasCustomPrompt="1"/>
          </p:nvPr>
        </p:nvSpPr>
        <p:spPr>
          <a:xfrm>
            <a:off x="4257671" y="4736783"/>
            <a:ext cx="3676651" cy="1414926"/>
          </a:xfrm>
        </p:spPr>
        <p:txBody>
          <a:bodyPr anchor="ctr"/>
          <a:lstStyle>
            <a:lvl1pPr algn="ctr">
              <a:defRPr sz="1200"/>
            </a:lvl1pPr>
          </a:lstStyle>
          <a:p>
            <a:pPr marL="0" marR="0" lvl="0" indent="0" algn="ctr" defTabSz="914400" rtl="0" eaLnBrk="1" fontAlgn="auto" latinLnBrk="0" hangingPunct="1">
              <a:lnSpc>
                <a:spcPct val="90000"/>
              </a:lnSpc>
              <a:spcBef>
                <a:spcPts val="1000"/>
              </a:spcBef>
              <a:spcAft>
                <a:spcPts val="300"/>
              </a:spcAft>
              <a:buClrTx/>
              <a:buSzTx/>
              <a:buFont typeface="Arial" panose="020B0604020202020204" pitchFamily="34" charset="0"/>
              <a:buNone/>
              <a:tabLst/>
              <a:defRPr/>
            </a:pPr>
            <a:r>
              <a:rPr lang="en-US" dirty="0"/>
              <a:t>Click icon to insert image</a:t>
            </a:r>
          </a:p>
        </p:txBody>
      </p:sp>
      <p:sp>
        <p:nvSpPr>
          <p:cNvPr id="14" name="Picture Placeholder 12">
            <a:extLst>
              <a:ext uri="{FF2B5EF4-FFF2-40B4-BE49-F238E27FC236}">
                <a16:creationId xmlns:a16="http://schemas.microsoft.com/office/drawing/2014/main" id="{65AF15F3-15F8-49F1-8CFA-F52055683EF5}"/>
              </a:ext>
            </a:extLst>
          </p:cNvPr>
          <p:cNvSpPr>
            <a:spLocks noGrp="1"/>
          </p:cNvSpPr>
          <p:nvPr>
            <p:ph type="pic" sz="quarter" idx="68" hasCustomPrompt="1"/>
          </p:nvPr>
        </p:nvSpPr>
        <p:spPr>
          <a:xfrm>
            <a:off x="7934324" y="4736783"/>
            <a:ext cx="3676650" cy="1414926"/>
          </a:xfrm>
        </p:spPr>
        <p:txBody>
          <a:bodyPr anchor="ctr"/>
          <a:lstStyle>
            <a:lvl1pPr algn="ctr">
              <a:defRPr sz="1200"/>
            </a:lvl1pPr>
          </a:lstStyle>
          <a:p>
            <a:pPr marL="0" marR="0" lvl="0" indent="0" algn="ctr" defTabSz="914400" rtl="0" eaLnBrk="1" fontAlgn="auto" latinLnBrk="0" hangingPunct="1">
              <a:lnSpc>
                <a:spcPct val="90000"/>
              </a:lnSpc>
              <a:spcBef>
                <a:spcPts val="1000"/>
              </a:spcBef>
              <a:spcAft>
                <a:spcPts val="300"/>
              </a:spcAft>
              <a:buClrTx/>
              <a:buSzTx/>
              <a:buFont typeface="Arial" panose="020B0604020202020204" pitchFamily="34" charset="0"/>
              <a:buNone/>
              <a:tabLst/>
              <a:defRPr/>
            </a:pPr>
            <a:r>
              <a:rPr lang="en-US" dirty="0"/>
              <a:t>Click icon to insert image</a:t>
            </a:r>
          </a:p>
        </p:txBody>
      </p:sp>
      <p:sp>
        <p:nvSpPr>
          <p:cNvPr id="15" name="Freeform: Shape 14">
            <a:extLst>
              <a:ext uri="{FF2B5EF4-FFF2-40B4-BE49-F238E27FC236}">
                <a16:creationId xmlns:a16="http://schemas.microsoft.com/office/drawing/2014/main" id="{DE8D46E3-5589-4346-AD53-AE3AF697B8D5}"/>
              </a:ext>
            </a:extLst>
          </p:cNvPr>
          <p:cNvSpPr/>
          <p:nvPr userDrawn="1"/>
        </p:nvSpPr>
        <p:spPr>
          <a:xfrm>
            <a:off x="325457" y="278027"/>
            <a:ext cx="11541086" cy="6154308"/>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dirty="0">
              <a:solidFill>
                <a:schemeClr val="tx1"/>
              </a:solidFill>
            </a:endParaRPr>
          </a:p>
        </p:txBody>
      </p:sp>
      <p:pic>
        <p:nvPicPr>
          <p:cNvPr id="16" name="Graphic 15">
            <a:extLst>
              <a:ext uri="{FF2B5EF4-FFF2-40B4-BE49-F238E27FC236}">
                <a16:creationId xmlns:a16="http://schemas.microsoft.com/office/drawing/2014/main" id="{A80F5B95-383D-427E-B3DA-FCD0F4FA1FA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457" y="6551607"/>
            <a:ext cx="1852404" cy="171450"/>
          </a:xfrm>
          <a:prstGeom prst="rect">
            <a:avLst/>
          </a:prstGeom>
        </p:spPr>
      </p:pic>
      <p:sp>
        <p:nvSpPr>
          <p:cNvPr id="6" name="Footer Placeholder 5">
            <a:extLst>
              <a:ext uri="{FF2B5EF4-FFF2-40B4-BE49-F238E27FC236}">
                <a16:creationId xmlns:a16="http://schemas.microsoft.com/office/drawing/2014/main" id="{61214C5C-A212-4CF4-993F-8773542A594D}"/>
              </a:ext>
            </a:extLst>
          </p:cNvPr>
          <p:cNvSpPr>
            <a:spLocks noGrp="1"/>
          </p:cNvSpPr>
          <p:nvPr>
            <p:ph type="ftr" sz="quarter" idx="70"/>
          </p:nvPr>
        </p:nvSpPr>
        <p:spPr/>
        <p:txBody>
          <a:bodyPr/>
          <a:lstStyle/>
          <a:p>
            <a:endParaRPr lang="en-US" sz="600" noProof="0" dirty="0"/>
          </a:p>
        </p:txBody>
      </p:sp>
      <p:sp>
        <p:nvSpPr>
          <p:cNvPr id="7" name="Slide Number Placeholder 6">
            <a:extLst>
              <a:ext uri="{FF2B5EF4-FFF2-40B4-BE49-F238E27FC236}">
                <a16:creationId xmlns:a16="http://schemas.microsoft.com/office/drawing/2014/main" id="{EBDDC497-E451-46A2-9978-DFBDF7292EEA}"/>
              </a:ext>
            </a:extLst>
          </p:cNvPr>
          <p:cNvSpPr>
            <a:spLocks noGrp="1"/>
          </p:cNvSpPr>
          <p:nvPr>
            <p:ph type="sldNum" sz="quarter" idx="71"/>
          </p:nvPr>
        </p:nvSpPr>
        <p:spPr/>
        <p:txBody>
          <a:bodyPr/>
          <a:lstStyle/>
          <a:p>
            <a:fld id="{5034EE70-12A8-400F-8E3D-398CDD8B315D}" type="slidenum">
              <a:rPr lang="en-US" smtClean="0"/>
              <a:pPr/>
              <a:t>‹#›</a:t>
            </a:fld>
            <a:endParaRPr lang="en-US" dirty="0"/>
          </a:p>
        </p:txBody>
      </p:sp>
    </p:spTree>
    <p:extLst>
      <p:ext uri="{BB962C8B-B14F-4D97-AF65-F5344CB8AC3E}">
        <p14:creationId xmlns:p14="http://schemas.microsoft.com/office/powerpoint/2010/main" val="328859305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3 Point Horizont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0E1418-D76B-4E7B-BC2C-A4D67CDE8555}"/>
              </a:ext>
            </a:extLst>
          </p:cNvPr>
          <p:cNvSpPr>
            <a:spLocks noGrp="1"/>
          </p:cNvSpPr>
          <p:nvPr>
            <p:ph type="title" hasCustomPrompt="1"/>
          </p:nvPr>
        </p:nvSpPr>
        <p:spPr>
          <a:xfrm>
            <a:off x="480059" y="706279"/>
            <a:ext cx="10890275" cy="406241"/>
          </a:xfrm>
        </p:spPr>
        <p:txBody>
          <a:bodyPr/>
          <a:lstStyle>
            <a:lvl1pPr>
              <a:defRPr b="1">
                <a:solidFill>
                  <a:schemeClr val="accent1"/>
                </a:solidFill>
              </a:defRPr>
            </a:lvl1pPr>
          </a:lstStyle>
          <a:p>
            <a:r>
              <a:rPr lang="en-US"/>
              <a:t>CLICK TO INSERT TITLE</a:t>
            </a:r>
          </a:p>
        </p:txBody>
      </p:sp>
      <p:sp>
        <p:nvSpPr>
          <p:cNvPr id="54" name="Text Placeholder 40">
            <a:extLst>
              <a:ext uri="{FF2B5EF4-FFF2-40B4-BE49-F238E27FC236}">
                <a16:creationId xmlns:a16="http://schemas.microsoft.com/office/drawing/2014/main" id="{4F8A1B4E-7987-4A71-AD20-0756F75377F7}"/>
              </a:ext>
            </a:extLst>
          </p:cNvPr>
          <p:cNvSpPr>
            <a:spLocks noGrp="1"/>
          </p:cNvSpPr>
          <p:nvPr>
            <p:ph type="body" sz="quarter" idx="19" hasCustomPrompt="1"/>
          </p:nvPr>
        </p:nvSpPr>
        <p:spPr>
          <a:xfrm>
            <a:off x="480059" y="1203325"/>
            <a:ext cx="10890275" cy="391636"/>
          </a:xfrm>
        </p:spPr>
        <p:txBody>
          <a:bodyPr/>
          <a:lstStyle>
            <a:lvl1pPr>
              <a:defRPr>
                <a:solidFill>
                  <a:schemeClr val="accent3"/>
                </a:solidFill>
              </a:defRPr>
            </a:lvl1pPr>
          </a:lstStyle>
          <a:p>
            <a:pPr lvl="0"/>
            <a:r>
              <a:rPr lang="en-US"/>
              <a:t>Click to insert subtitle</a:t>
            </a:r>
          </a:p>
        </p:txBody>
      </p:sp>
      <p:sp>
        <p:nvSpPr>
          <p:cNvPr id="64" name="Text Placeholder 11">
            <a:extLst>
              <a:ext uri="{FF2B5EF4-FFF2-40B4-BE49-F238E27FC236}">
                <a16:creationId xmlns:a16="http://schemas.microsoft.com/office/drawing/2014/main" id="{A87E7ADF-1D43-44CD-B892-18FBAD481A1C}"/>
              </a:ext>
            </a:extLst>
          </p:cNvPr>
          <p:cNvSpPr>
            <a:spLocks noGrp="1"/>
          </p:cNvSpPr>
          <p:nvPr>
            <p:ph type="body" sz="quarter" idx="56" hasCustomPrompt="1"/>
          </p:nvPr>
        </p:nvSpPr>
        <p:spPr>
          <a:xfrm>
            <a:off x="325457" y="4850021"/>
            <a:ext cx="11539500" cy="548985"/>
          </a:xfrm>
          <a:solidFill>
            <a:schemeClr val="accent1"/>
          </a:solidFill>
          <a:ln>
            <a:noFill/>
          </a:ln>
        </p:spPr>
        <p:txBody>
          <a:bodyPr lIns="108000" tIns="0" rIns="108000" bIns="216000" anchor="ctr"/>
          <a:lstStyle>
            <a:lvl1pPr algn="ctr">
              <a:defRPr sz="1600" b="1" i="0" cap="all" baseline="0">
                <a:solidFill>
                  <a:schemeClr val="accent1"/>
                </a:solidFill>
              </a:defRPr>
            </a:lvl1pPr>
            <a:lvl2pPr>
              <a:defRPr sz="1600" b="1" i="0" cap="all" baseline="0"/>
            </a:lvl2pPr>
            <a:lvl3pPr>
              <a:defRPr sz="1400" b="1" i="0" cap="all" baseline="0"/>
            </a:lvl3pPr>
            <a:lvl4pPr>
              <a:defRPr sz="1200" b="1" i="0" cap="all" baseline="0"/>
            </a:lvl4pPr>
            <a:lvl5pPr>
              <a:defRPr sz="1100" b="1" i="0" cap="all" baseline="0"/>
            </a:lvl5pPr>
          </a:lstStyle>
          <a:p>
            <a:pPr lvl="0"/>
            <a:r>
              <a:rPr lang="en-US"/>
              <a:t> </a:t>
            </a:r>
          </a:p>
        </p:txBody>
      </p:sp>
      <p:sp>
        <p:nvSpPr>
          <p:cNvPr id="65" name="Text Placeholder 18">
            <a:extLst>
              <a:ext uri="{FF2B5EF4-FFF2-40B4-BE49-F238E27FC236}">
                <a16:creationId xmlns:a16="http://schemas.microsoft.com/office/drawing/2014/main" id="{3470BEEF-639E-48B5-A244-EEF4F04A03EC}"/>
              </a:ext>
            </a:extLst>
          </p:cNvPr>
          <p:cNvSpPr>
            <a:spLocks noGrp="1"/>
          </p:cNvSpPr>
          <p:nvPr>
            <p:ph type="body" sz="quarter" idx="57" hasCustomPrompt="1"/>
          </p:nvPr>
        </p:nvSpPr>
        <p:spPr>
          <a:xfrm>
            <a:off x="479266" y="5478511"/>
            <a:ext cx="11231882" cy="728834"/>
          </a:xfrm>
        </p:spPr>
        <p:txBody>
          <a:bodyPr/>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66" name="Text Placeholder 25">
            <a:extLst>
              <a:ext uri="{FF2B5EF4-FFF2-40B4-BE49-F238E27FC236}">
                <a16:creationId xmlns:a16="http://schemas.microsoft.com/office/drawing/2014/main" id="{14EB25D9-E26B-4D24-B50F-B682DD1521E2}"/>
              </a:ext>
            </a:extLst>
          </p:cNvPr>
          <p:cNvSpPr>
            <a:spLocks noGrp="1"/>
          </p:cNvSpPr>
          <p:nvPr>
            <p:ph type="body" sz="quarter" idx="58" hasCustomPrompt="1"/>
          </p:nvPr>
        </p:nvSpPr>
        <p:spPr>
          <a:xfrm>
            <a:off x="480059" y="5094656"/>
            <a:ext cx="11230296" cy="298736"/>
          </a:xfrm>
        </p:spPr>
        <p:txBody>
          <a:bodyPr/>
          <a:lstStyle>
            <a:lvl1pPr algn="ctr">
              <a:defRPr sz="1400">
                <a:solidFill>
                  <a:schemeClr val="bg2"/>
                </a:solidFill>
              </a:defRPr>
            </a:lvl1pPr>
            <a:lvl2pPr algn="ctr">
              <a:defRPr sz="1400">
                <a:solidFill>
                  <a:schemeClr val="bg2"/>
                </a:solidFill>
              </a:defRPr>
            </a:lvl2pPr>
            <a:lvl3pPr algn="ctr">
              <a:defRPr sz="1400">
                <a:solidFill>
                  <a:schemeClr val="bg2"/>
                </a:solidFill>
              </a:defRPr>
            </a:lvl3pPr>
            <a:lvl4pPr algn="ctr">
              <a:defRPr sz="1400">
                <a:solidFill>
                  <a:schemeClr val="bg2"/>
                </a:solidFill>
              </a:defRPr>
            </a:lvl4pPr>
            <a:lvl5pPr algn="ctr">
              <a:defRPr sz="1400">
                <a:solidFill>
                  <a:schemeClr val="bg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60" name="Text Placeholder 11">
            <a:extLst>
              <a:ext uri="{FF2B5EF4-FFF2-40B4-BE49-F238E27FC236}">
                <a16:creationId xmlns:a16="http://schemas.microsoft.com/office/drawing/2014/main" id="{7BF67DDA-DA81-4298-9B2F-BD2716184FAB}"/>
              </a:ext>
            </a:extLst>
          </p:cNvPr>
          <p:cNvSpPr>
            <a:spLocks noGrp="1"/>
          </p:cNvSpPr>
          <p:nvPr>
            <p:ph type="body" sz="quarter" idx="52" hasCustomPrompt="1"/>
          </p:nvPr>
        </p:nvSpPr>
        <p:spPr>
          <a:xfrm>
            <a:off x="325457" y="3267893"/>
            <a:ext cx="11539500" cy="548985"/>
          </a:xfrm>
          <a:solidFill>
            <a:schemeClr val="accent1"/>
          </a:solidFill>
          <a:ln>
            <a:noFill/>
          </a:ln>
        </p:spPr>
        <p:txBody>
          <a:bodyPr lIns="108000" tIns="0" rIns="108000" bIns="216000" anchor="ctr"/>
          <a:lstStyle>
            <a:lvl1pPr algn="ctr">
              <a:defRPr sz="1600" b="1" i="0" cap="all" baseline="0">
                <a:solidFill>
                  <a:schemeClr val="accent1"/>
                </a:solidFill>
              </a:defRPr>
            </a:lvl1pPr>
            <a:lvl2pPr>
              <a:defRPr sz="1600" b="1" i="0" cap="all" baseline="0"/>
            </a:lvl2pPr>
            <a:lvl3pPr>
              <a:defRPr sz="1400" b="1" i="0" cap="all" baseline="0"/>
            </a:lvl3pPr>
            <a:lvl4pPr>
              <a:defRPr sz="1200" b="1" i="0" cap="all" baseline="0"/>
            </a:lvl4pPr>
            <a:lvl5pPr>
              <a:defRPr sz="1100" b="1" i="0" cap="all" baseline="0"/>
            </a:lvl5pPr>
          </a:lstStyle>
          <a:p>
            <a:pPr lvl="0"/>
            <a:r>
              <a:rPr lang="en-US"/>
              <a:t> </a:t>
            </a:r>
          </a:p>
        </p:txBody>
      </p:sp>
      <p:sp>
        <p:nvSpPr>
          <p:cNvPr id="61" name="Text Placeholder 18">
            <a:extLst>
              <a:ext uri="{FF2B5EF4-FFF2-40B4-BE49-F238E27FC236}">
                <a16:creationId xmlns:a16="http://schemas.microsoft.com/office/drawing/2014/main" id="{411A6C65-2D58-4582-BE9D-60273F23425B}"/>
              </a:ext>
            </a:extLst>
          </p:cNvPr>
          <p:cNvSpPr>
            <a:spLocks noGrp="1"/>
          </p:cNvSpPr>
          <p:nvPr>
            <p:ph type="body" sz="quarter" idx="53" hasCustomPrompt="1"/>
          </p:nvPr>
        </p:nvSpPr>
        <p:spPr>
          <a:xfrm>
            <a:off x="479266" y="3896383"/>
            <a:ext cx="11231882" cy="728834"/>
          </a:xfrm>
        </p:spPr>
        <p:txBody>
          <a:bodyPr/>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62" name="Text Placeholder 25">
            <a:extLst>
              <a:ext uri="{FF2B5EF4-FFF2-40B4-BE49-F238E27FC236}">
                <a16:creationId xmlns:a16="http://schemas.microsoft.com/office/drawing/2014/main" id="{98CF5993-BF16-473B-AB01-A7C06E02692E}"/>
              </a:ext>
            </a:extLst>
          </p:cNvPr>
          <p:cNvSpPr>
            <a:spLocks noGrp="1"/>
          </p:cNvSpPr>
          <p:nvPr>
            <p:ph type="body" sz="quarter" idx="54" hasCustomPrompt="1"/>
          </p:nvPr>
        </p:nvSpPr>
        <p:spPr>
          <a:xfrm>
            <a:off x="480059" y="3512528"/>
            <a:ext cx="11230296" cy="298736"/>
          </a:xfrm>
        </p:spPr>
        <p:txBody>
          <a:bodyPr/>
          <a:lstStyle>
            <a:lvl1pPr algn="ctr">
              <a:defRPr sz="1400">
                <a:solidFill>
                  <a:schemeClr val="bg2"/>
                </a:solidFill>
              </a:defRPr>
            </a:lvl1pPr>
            <a:lvl2pPr algn="ctr">
              <a:defRPr sz="1400">
                <a:solidFill>
                  <a:schemeClr val="bg2"/>
                </a:solidFill>
              </a:defRPr>
            </a:lvl2pPr>
            <a:lvl3pPr algn="ctr">
              <a:defRPr sz="1400">
                <a:solidFill>
                  <a:schemeClr val="bg2"/>
                </a:solidFill>
              </a:defRPr>
            </a:lvl3pPr>
            <a:lvl4pPr algn="ctr">
              <a:defRPr sz="1400">
                <a:solidFill>
                  <a:schemeClr val="bg2"/>
                </a:solidFill>
              </a:defRPr>
            </a:lvl4pPr>
            <a:lvl5pPr algn="ctr">
              <a:defRPr sz="1400">
                <a:solidFill>
                  <a:schemeClr val="bg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15" name="Text Placeholder 11">
            <a:extLst>
              <a:ext uri="{FF2B5EF4-FFF2-40B4-BE49-F238E27FC236}">
                <a16:creationId xmlns:a16="http://schemas.microsoft.com/office/drawing/2014/main" id="{19DE646A-7EE9-4AAA-A5F8-A8B4467E5E67}"/>
              </a:ext>
            </a:extLst>
          </p:cNvPr>
          <p:cNvSpPr>
            <a:spLocks noGrp="1"/>
          </p:cNvSpPr>
          <p:nvPr>
            <p:ph type="body" sz="quarter" idx="13" hasCustomPrompt="1"/>
          </p:nvPr>
        </p:nvSpPr>
        <p:spPr>
          <a:xfrm>
            <a:off x="325457" y="1685766"/>
            <a:ext cx="11539500" cy="548985"/>
          </a:xfrm>
          <a:solidFill>
            <a:schemeClr val="accent1"/>
          </a:solidFill>
          <a:ln>
            <a:noFill/>
          </a:ln>
        </p:spPr>
        <p:txBody>
          <a:bodyPr lIns="108000" tIns="0" rIns="108000" bIns="216000" anchor="ctr"/>
          <a:lstStyle>
            <a:lvl1pPr algn="ctr">
              <a:defRPr sz="1600" b="1" i="0" cap="all" baseline="0">
                <a:solidFill>
                  <a:schemeClr val="accent1"/>
                </a:solidFill>
              </a:defRPr>
            </a:lvl1pPr>
            <a:lvl2pPr>
              <a:defRPr sz="1600" b="1" i="0" cap="all" baseline="0"/>
            </a:lvl2pPr>
            <a:lvl3pPr>
              <a:defRPr sz="1400" b="1" i="0" cap="all" baseline="0"/>
            </a:lvl3pPr>
            <a:lvl4pPr>
              <a:defRPr sz="1200" b="1" i="0" cap="all" baseline="0"/>
            </a:lvl4pPr>
            <a:lvl5pPr>
              <a:defRPr sz="1100" b="1" i="0" cap="all" baseline="0"/>
            </a:lvl5pPr>
          </a:lstStyle>
          <a:p>
            <a:pPr lvl="0"/>
            <a:r>
              <a:rPr lang="en-US"/>
              <a:t> </a:t>
            </a:r>
          </a:p>
        </p:txBody>
      </p:sp>
      <p:sp>
        <p:nvSpPr>
          <p:cNvPr id="16" name="Text Placeholder 18">
            <a:extLst>
              <a:ext uri="{FF2B5EF4-FFF2-40B4-BE49-F238E27FC236}">
                <a16:creationId xmlns:a16="http://schemas.microsoft.com/office/drawing/2014/main" id="{02C0AB5F-83E6-46E3-9E5A-3E6E48AA39DD}"/>
              </a:ext>
            </a:extLst>
          </p:cNvPr>
          <p:cNvSpPr>
            <a:spLocks noGrp="1"/>
          </p:cNvSpPr>
          <p:nvPr>
            <p:ph type="body" sz="quarter" idx="14" hasCustomPrompt="1"/>
          </p:nvPr>
        </p:nvSpPr>
        <p:spPr>
          <a:xfrm>
            <a:off x="479266" y="2314256"/>
            <a:ext cx="11231882" cy="728834"/>
          </a:xfrm>
        </p:spPr>
        <p:txBody>
          <a:bodyPr/>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26" name="Text Placeholder 25">
            <a:extLst>
              <a:ext uri="{FF2B5EF4-FFF2-40B4-BE49-F238E27FC236}">
                <a16:creationId xmlns:a16="http://schemas.microsoft.com/office/drawing/2014/main" id="{3D91939B-80C0-4D02-B087-3568C5B3B290}"/>
              </a:ext>
            </a:extLst>
          </p:cNvPr>
          <p:cNvSpPr>
            <a:spLocks noGrp="1"/>
          </p:cNvSpPr>
          <p:nvPr>
            <p:ph type="body" sz="quarter" idx="29" hasCustomPrompt="1"/>
          </p:nvPr>
        </p:nvSpPr>
        <p:spPr>
          <a:xfrm>
            <a:off x="480059" y="1930401"/>
            <a:ext cx="11230296" cy="298736"/>
          </a:xfrm>
        </p:spPr>
        <p:txBody>
          <a:bodyPr/>
          <a:lstStyle>
            <a:lvl1pPr algn="ctr">
              <a:defRPr sz="1400">
                <a:solidFill>
                  <a:schemeClr val="bg2"/>
                </a:solidFill>
              </a:defRPr>
            </a:lvl1pPr>
            <a:lvl2pPr algn="ctr">
              <a:defRPr sz="1400">
                <a:solidFill>
                  <a:schemeClr val="bg2"/>
                </a:solidFill>
              </a:defRPr>
            </a:lvl2pPr>
            <a:lvl3pPr algn="ctr">
              <a:defRPr sz="1400">
                <a:solidFill>
                  <a:schemeClr val="bg2"/>
                </a:solidFill>
              </a:defRPr>
            </a:lvl3pPr>
            <a:lvl4pPr algn="ctr">
              <a:defRPr sz="1400">
                <a:solidFill>
                  <a:schemeClr val="bg2"/>
                </a:solidFill>
              </a:defRPr>
            </a:lvl4pPr>
            <a:lvl5pPr algn="ctr">
              <a:defRPr sz="1400">
                <a:solidFill>
                  <a:schemeClr val="bg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25" name="Text Placeholder 25">
            <a:extLst>
              <a:ext uri="{FF2B5EF4-FFF2-40B4-BE49-F238E27FC236}">
                <a16:creationId xmlns:a16="http://schemas.microsoft.com/office/drawing/2014/main" id="{2B0D4887-67E5-4C6E-8885-4E20F5F52A38}"/>
              </a:ext>
            </a:extLst>
          </p:cNvPr>
          <p:cNvSpPr>
            <a:spLocks noGrp="1"/>
          </p:cNvSpPr>
          <p:nvPr>
            <p:ph type="body" sz="quarter" idx="59" hasCustomPrompt="1"/>
          </p:nvPr>
        </p:nvSpPr>
        <p:spPr>
          <a:xfrm>
            <a:off x="480059" y="1685766"/>
            <a:ext cx="11230296" cy="298736"/>
          </a:xfrm>
        </p:spPr>
        <p:txBody>
          <a:bodyPr/>
          <a:lstStyle>
            <a:lvl1pPr algn="ctr">
              <a:defRPr sz="1600" b="1" cap="all" baseline="0">
                <a:solidFill>
                  <a:schemeClr val="bg2"/>
                </a:solidFill>
              </a:defRPr>
            </a:lvl1pPr>
            <a:lvl2pPr algn="ctr">
              <a:defRPr sz="1600">
                <a:solidFill>
                  <a:schemeClr val="tx2"/>
                </a:solidFill>
              </a:defRPr>
            </a:lvl2pPr>
            <a:lvl3pPr algn="ctr">
              <a:defRPr sz="1400">
                <a:solidFill>
                  <a:schemeClr val="tx2"/>
                </a:solidFill>
              </a:defRPr>
            </a:lvl3pPr>
            <a:lvl4pPr algn="ctr">
              <a:defRPr sz="1200">
                <a:solidFill>
                  <a:schemeClr val="tx2"/>
                </a:solidFill>
              </a:defRPr>
            </a:lvl4pPr>
            <a:lvl5pPr algn="ctr">
              <a:defRPr sz="1100">
                <a:solidFill>
                  <a:schemeClr val="tx2"/>
                </a:solidFill>
              </a:defRPr>
            </a:lvl5pPr>
          </a:lstStyle>
          <a:p>
            <a:pPr lvl="0"/>
            <a:r>
              <a:rPr lang="en-US"/>
              <a:t>Enter title here</a:t>
            </a:r>
          </a:p>
        </p:txBody>
      </p:sp>
      <p:sp>
        <p:nvSpPr>
          <p:cNvPr id="27" name="Text Placeholder 25">
            <a:extLst>
              <a:ext uri="{FF2B5EF4-FFF2-40B4-BE49-F238E27FC236}">
                <a16:creationId xmlns:a16="http://schemas.microsoft.com/office/drawing/2014/main" id="{1EE006B6-2856-4203-A54D-EBCAC3EDD9DD}"/>
              </a:ext>
            </a:extLst>
          </p:cNvPr>
          <p:cNvSpPr>
            <a:spLocks noGrp="1"/>
          </p:cNvSpPr>
          <p:nvPr>
            <p:ph type="body" sz="quarter" idx="60" hasCustomPrompt="1"/>
          </p:nvPr>
        </p:nvSpPr>
        <p:spPr>
          <a:xfrm>
            <a:off x="479266" y="3267893"/>
            <a:ext cx="11230296" cy="298736"/>
          </a:xfrm>
        </p:spPr>
        <p:txBody>
          <a:bodyPr/>
          <a:lstStyle>
            <a:lvl1pPr algn="ctr">
              <a:defRPr sz="1600" b="1" cap="all" baseline="0">
                <a:solidFill>
                  <a:schemeClr val="bg2"/>
                </a:solidFill>
              </a:defRPr>
            </a:lvl1pPr>
            <a:lvl2pPr algn="ctr">
              <a:defRPr sz="1600">
                <a:solidFill>
                  <a:schemeClr val="tx2"/>
                </a:solidFill>
              </a:defRPr>
            </a:lvl2pPr>
            <a:lvl3pPr algn="ctr">
              <a:defRPr sz="1400">
                <a:solidFill>
                  <a:schemeClr val="tx2"/>
                </a:solidFill>
              </a:defRPr>
            </a:lvl3pPr>
            <a:lvl4pPr algn="ctr">
              <a:defRPr sz="1200">
                <a:solidFill>
                  <a:schemeClr val="tx2"/>
                </a:solidFill>
              </a:defRPr>
            </a:lvl4pPr>
            <a:lvl5pPr algn="ctr">
              <a:defRPr sz="1100">
                <a:solidFill>
                  <a:schemeClr val="tx2"/>
                </a:solidFill>
              </a:defRPr>
            </a:lvl5pPr>
          </a:lstStyle>
          <a:p>
            <a:pPr lvl="0"/>
            <a:r>
              <a:rPr lang="en-US"/>
              <a:t>Enter title here</a:t>
            </a:r>
          </a:p>
        </p:txBody>
      </p:sp>
      <p:sp>
        <p:nvSpPr>
          <p:cNvPr id="28" name="Text Placeholder 25">
            <a:extLst>
              <a:ext uri="{FF2B5EF4-FFF2-40B4-BE49-F238E27FC236}">
                <a16:creationId xmlns:a16="http://schemas.microsoft.com/office/drawing/2014/main" id="{A0CF6A31-48BF-44CF-BD50-6767E10A51E3}"/>
              </a:ext>
            </a:extLst>
          </p:cNvPr>
          <p:cNvSpPr>
            <a:spLocks noGrp="1"/>
          </p:cNvSpPr>
          <p:nvPr>
            <p:ph type="body" sz="quarter" idx="61" hasCustomPrompt="1"/>
          </p:nvPr>
        </p:nvSpPr>
        <p:spPr>
          <a:xfrm>
            <a:off x="480059" y="4850021"/>
            <a:ext cx="11230296" cy="298736"/>
          </a:xfrm>
        </p:spPr>
        <p:txBody>
          <a:bodyPr/>
          <a:lstStyle>
            <a:lvl1pPr algn="ctr">
              <a:defRPr sz="1600" b="1" cap="all" baseline="0">
                <a:solidFill>
                  <a:schemeClr val="bg2"/>
                </a:solidFill>
              </a:defRPr>
            </a:lvl1pPr>
            <a:lvl2pPr algn="ctr">
              <a:defRPr sz="1600">
                <a:solidFill>
                  <a:schemeClr val="tx2"/>
                </a:solidFill>
              </a:defRPr>
            </a:lvl2pPr>
            <a:lvl3pPr algn="ctr">
              <a:defRPr sz="1400">
                <a:solidFill>
                  <a:schemeClr val="tx2"/>
                </a:solidFill>
              </a:defRPr>
            </a:lvl3pPr>
            <a:lvl4pPr algn="ctr">
              <a:defRPr sz="1200">
                <a:solidFill>
                  <a:schemeClr val="tx2"/>
                </a:solidFill>
              </a:defRPr>
            </a:lvl4pPr>
            <a:lvl5pPr algn="ctr">
              <a:defRPr sz="1100">
                <a:solidFill>
                  <a:schemeClr val="tx2"/>
                </a:solidFill>
              </a:defRPr>
            </a:lvl5pPr>
          </a:lstStyle>
          <a:p>
            <a:pPr lvl="0"/>
            <a:r>
              <a:rPr lang="en-US"/>
              <a:t>Enter title here</a:t>
            </a:r>
          </a:p>
        </p:txBody>
      </p:sp>
      <p:sp>
        <p:nvSpPr>
          <p:cNvPr id="29" name="Freeform: Shape 28">
            <a:extLst>
              <a:ext uri="{FF2B5EF4-FFF2-40B4-BE49-F238E27FC236}">
                <a16:creationId xmlns:a16="http://schemas.microsoft.com/office/drawing/2014/main" id="{7C0CC591-6A9A-4596-B5C1-3F81402FE86B}"/>
              </a:ext>
            </a:extLst>
          </p:cNvPr>
          <p:cNvSpPr/>
          <p:nvPr userDrawn="1"/>
        </p:nvSpPr>
        <p:spPr>
          <a:xfrm>
            <a:off x="325457" y="278027"/>
            <a:ext cx="11541086" cy="6154308"/>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dirty="0">
              <a:solidFill>
                <a:schemeClr val="tx1"/>
              </a:solidFill>
            </a:endParaRPr>
          </a:p>
        </p:txBody>
      </p:sp>
      <p:pic>
        <p:nvPicPr>
          <p:cNvPr id="30" name="Graphic 29">
            <a:extLst>
              <a:ext uri="{FF2B5EF4-FFF2-40B4-BE49-F238E27FC236}">
                <a16:creationId xmlns:a16="http://schemas.microsoft.com/office/drawing/2014/main" id="{0AC3EBCD-829D-41E3-A8F2-DC2ED015B64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457" y="6551607"/>
            <a:ext cx="1852404" cy="171450"/>
          </a:xfrm>
          <a:prstGeom prst="rect">
            <a:avLst/>
          </a:prstGeom>
        </p:spPr>
      </p:pic>
      <p:sp>
        <p:nvSpPr>
          <p:cNvPr id="6" name="Footer Placeholder 5">
            <a:extLst>
              <a:ext uri="{FF2B5EF4-FFF2-40B4-BE49-F238E27FC236}">
                <a16:creationId xmlns:a16="http://schemas.microsoft.com/office/drawing/2014/main" id="{45FA18C5-EE54-4C29-BDE3-2368C12A509D}"/>
              </a:ext>
            </a:extLst>
          </p:cNvPr>
          <p:cNvSpPr>
            <a:spLocks noGrp="1"/>
          </p:cNvSpPr>
          <p:nvPr>
            <p:ph type="ftr" sz="quarter" idx="63"/>
          </p:nvPr>
        </p:nvSpPr>
        <p:spPr/>
        <p:txBody>
          <a:bodyPr/>
          <a:lstStyle/>
          <a:p>
            <a:endParaRPr lang="en-US" sz="600" noProof="0" dirty="0"/>
          </a:p>
        </p:txBody>
      </p:sp>
      <p:sp>
        <p:nvSpPr>
          <p:cNvPr id="7" name="Slide Number Placeholder 6">
            <a:extLst>
              <a:ext uri="{FF2B5EF4-FFF2-40B4-BE49-F238E27FC236}">
                <a16:creationId xmlns:a16="http://schemas.microsoft.com/office/drawing/2014/main" id="{38BB7C76-E263-4C22-96A3-A8393D2C09F9}"/>
              </a:ext>
            </a:extLst>
          </p:cNvPr>
          <p:cNvSpPr>
            <a:spLocks noGrp="1"/>
          </p:cNvSpPr>
          <p:nvPr>
            <p:ph type="sldNum" sz="quarter" idx="64"/>
          </p:nvPr>
        </p:nvSpPr>
        <p:spPr/>
        <p:txBody>
          <a:bodyPr/>
          <a:lstStyle/>
          <a:p>
            <a:fld id="{5034EE70-12A8-400F-8E3D-398CDD8B315D}" type="slidenum">
              <a:rPr lang="en-US" smtClean="0"/>
              <a:pPr/>
              <a:t>‹#›</a:t>
            </a:fld>
            <a:endParaRPr lang="en-US" dirty="0"/>
          </a:p>
        </p:txBody>
      </p:sp>
    </p:spTree>
    <p:extLst>
      <p:ext uri="{BB962C8B-B14F-4D97-AF65-F5344CB8AC3E}">
        <p14:creationId xmlns:p14="http://schemas.microsoft.com/office/powerpoint/2010/main" val="227055628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4 Point Vertical">
    <p:spTree>
      <p:nvGrpSpPr>
        <p:cNvPr id="1" name=""/>
        <p:cNvGrpSpPr/>
        <p:nvPr/>
      </p:nvGrpSpPr>
      <p:grpSpPr>
        <a:xfrm>
          <a:off x="0" y="0"/>
          <a:ext cx="0" cy="0"/>
          <a:chOff x="0" y="0"/>
          <a:chExt cx="0" cy="0"/>
        </a:xfrm>
      </p:grpSpPr>
      <p:sp>
        <p:nvSpPr>
          <p:cNvPr id="34" name="Text Placeholder 11">
            <a:extLst>
              <a:ext uri="{FF2B5EF4-FFF2-40B4-BE49-F238E27FC236}">
                <a16:creationId xmlns:a16="http://schemas.microsoft.com/office/drawing/2014/main" id="{1A2C01FE-DB7A-4729-9084-66AE313DFE76}"/>
              </a:ext>
            </a:extLst>
          </p:cNvPr>
          <p:cNvSpPr>
            <a:spLocks noGrp="1"/>
          </p:cNvSpPr>
          <p:nvPr>
            <p:ph type="body" sz="quarter" idx="37" hasCustomPrompt="1"/>
          </p:nvPr>
        </p:nvSpPr>
        <p:spPr>
          <a:xfrm>
            <a:off x="9200723" y="1909467"/>
            <a:ext cx="2665820" cy="706141"/>
          </a:xfrm>
          <a:solidFill>
            <a:schemeClr val="accent1"/>
          </a:solidFill>
          <a:ln>
            <a:solidFill>
              <a:schemeClr val="accent1"/>
            </a:solidFill>
          </a:ln>
        </p:spPr>
        <p:txBody>
          <a:bodyPr lIns="108000" tIns="0" rIns="108000" bIns="216000" anchor="ctr"/>
          <a:lstStyle>
            <a:lvl1pPr algn="ctr">
              <a:defRPr sz="1600" b="1" i="0" cap="all" baseline="0">
                <a:solidFill>
                  <a:schemeClr val="accent1"/>
                </a:solidFill>
              </a:defRPr>
            </a:lvl1pPr>
            <a:lvl2pPr>
              <a:defRPr sz="1600" b="1" i="0" cap="all" baseline="0"/>
            </a:lvl2pPr>
            <a:lvl3pPr>
              <a:defRPr sz="1400" b="1" i="0" cap="all" baseline="0"/>
            </a:lvl3pPr>
            <a:lvl4pPr>
              <a:defRPr sz="1200" b="1" i="0" cap="all" baseline="0"/>
            </a:lvl4pPr>
            <a:lvl5pPr>
              <a:defRPr sz="1100" b="1" i="0" cap="all" baseline="0"/>
            </a:lvl5pPr>
          </a:lstStyle>
          <a:p>
            <a:pPr lvl="0"/>
            <a:r>
              <a:rPr lang="en-US"/>
              <a:t> </a:t>
            </a:r>
          </a:p>
        </p:txBody>
      </p:sp>
      <p:sp>
        <p:nvSpPr>
          <p:cNvPr id="65" name="Text Placeholder 36">
            <a:extLst>
              <a:ext uri="{FF2B5EF4-FFF2-40B4-BE49-F238E27FC236}">
                <a16:creationId xmlns:a16="http://schemas.microsoft.com/office/drawing/2014/main" id="{BFCD8B39-27EF-496F-8E1E-E7D98D676D94}"/>
              </a:ext>
            </a:extLst>
          </p:cNvPr>
          <p:cNvSpPr>
            <a:spLocks noGrp="1"/>
          </p:cNvSpPr>
          <p:nvPr>
            <p:ph type="body" sz="quarter" idx="51" hasCustomPrompt="1"/>
          </p:nvPr>
        </p:nvSpPr>
        <p:spPr>
          <a:xfrm>
            <a:off x="9200628" y="2615608"/>
            <a:ext cx="2666009" cy="3816728"/>
          </a:xfrm>
          <a:noFill/>
          <a:ln>
            <a:solidFill>
              <a:schemeClr val="accent1"/>
            </a:solidFill>
          </a:ln>
        </p:spPr>
        <p:txBody>
          <a:bodyPr/>
          <a:lstStyle>
            <a:lvl1pPr>
              <a:defRPr/>
            </a:lvl1pPr>
          </a:lstStyle>
          <a:p>
            <a:pPr lvl="0"/>
            <a:r>
              <a:rPr lang="en-US"/>
              <a:t> </a:t>
            </a:r>
          </a:p>
        </p:txBody>
      </p:sp>
      <p:sp>
        <p:nvSpPr>
          <p:cNvPr id="18" name="Text Placeholder 36">
            <a:extLst>
              <a:ext uri="{FF2B5EF4-FFF2-40B4-BE49-F238E27FC236}">
                <a16:creationId xmlns:a16="http://schemas.microsoft.com/office/drawing/2014/main" id="{C5EF3052-9365-4C75-AE3F-45827D307A51}"/>
              </a:ext>
            </a:extLst>
          </p:cNvPr>
          <p:cNvSpPr>
            <a:spLocks noGrp="1"/>
          </p:cNvSpPr>
          <p:nvPr>
            <p:ph type="body" sz="quarter" idx="26" hasCustomPrompt="1"/>
          </p:nvPr>
        </p:nvSpPr>
        <p:spPr>
          <a:xfrm>
            <a:off x="325457" y="2615608"/>
            <a:ext cx="2666584" cy="3816728"/>
          </a:xfrm>
          <a:noFill/>
          <a:ln>
            <a:solidFill>
              <a:schemeClr val="accent1"/>
            </a:solidFill>
          </a:ln>
        </p:spPr>
        <p:txBody>
          <a:bodyPr/>
          <a:lstStyle>
            <a:lvl1pPr>
              <a:defRPr/>
            </a:lvl1pPr>
          </a:lstStyle>
          <a:p>
            <a:pPr lvl="0"/>
            <a:r>
              <a:rPr lang="en-US"/>
              <a:t> </a:t>
            </a:r>
          </a:p>
        </p:txBody>
      </p:sp>
      <p:sp>
        <p:nvSpPr>
          <p:cNvPr id="2" name="Title 1">
            <a:extLst>
              <a:ext uri="{FF2B5EF4-FFF2-40B4-BE49-F238E27FC236}">
                <a16:creationId xmlns:a16="http://schemas.microsoft.com/office/drawing/2014/main" id="{BC0E1418-D76B-4E7B-BC2C-A4D67CDE8555}"/>
              </a:ext>
            </a:extLst>
          </p:cNvPr>
          <p:cNvSpPr>
            <a:spLocks noGrp="1"/>
          </p:cNvSpPr>
          <p:nvPr>
            <p:ph type="title" hasCustomPrompt="1"/>
          </p:nvPr>
        </p:nvSpPr>
        <p:spPr>
          <a:xfrm>
            <a:off x="480059" y="706279"/>
            <a:ext cx="10890275" cy="406241"/>
          </a:xfrm>
        </p:spPr>
        <p:txBody>
          <a:bodyPr/>
          <a:lstStyle>
            <a:lvl1pPr>
              <a:defRPr b="1">
                <a:solidFill>
                  <a:schemeClr val="accent1"/>
                </a:solidFill>
              </a:defRPr>
            </a:lvl1pPr>
          </a:lstStyle>
          <a:p>
            <a:r>
              <a:rPr lang="en-US"/>
              <a:t>CLICK TO INSERT TITLE</a:t>
            </a:r>
          </a:p>
        </p:txBody>
      </p:sp>
      <p:sp>
        <p:nvSpPr>
          <p:cNvPr id="15" name="Text Placeholder 11">
            <a:extLst>
              <a:ext uri="{FF2B5EF4-FFF2-40B4-BE49-F238E27FC236}">
                <a16:creationId xmlns:a16="http://schemas.microsoft.com/office/drawing/2014/main" id="{19DE646A-7EE9-4AAA-A5F8-A8B4467E5E67}"/>
              </a:ext>
            </a:extLst>
          </p:cNvPr>
          <p:cNvSpPr>
            <a:spLocks noGrp="1"/>
          </p:cNvSpPr>
          <p:nvPr>
            <p:ph type="body" sz="quarter" idx="13" hasCustomPrompt="1"/>
          </p:nvPr>
        </p:nvSpPr>
        <p:spPr>
          <a:xfrm>
            <a:off x="325457" y="1909467"/>
            <a:ext cx="2666584" cy="706141"/>
          </a:xfrm>
          <a:solidFill>
            <a:schemeClr val="accent1"/>
          </a:solidFill>
          <a:ln>
            <a:solidFill>
              <a:schemeClr val="accent1"/>
            </a:solidFill>
          </a:ln>
        </p:spPr>
        <p:txBody>
          <a:bodyPr lIns="108000" tIns="0" rIns="108000" bIns="216000" anchor="ctr"/>
          <a:lstStyle>
            <a:lvl1pPr algn="ctr">
              <a:defRPr sz="1600" b="1" i="0" cap="all" baseline="0">
                <a:solidFill>
                  <a:schemeClr val="accent1"/>
                </a:solidFill>
              </a:defRPr>
            </a:lvl1pPr>
            <a:lvl2pPr>
              <a:defRPr sz="1600" b="1" i="0" cap="all" baseline="0"/>
            </a:lvl2pPr>
            <a:lvl3pPr>
              <a:defRPr sz="1400" b="1" i="0" cap="all" baseline="0"/>
            </a:lvl3pPr>
            <a:lvl4pPr>
              <a:defRPr sz="1200" b="1" i="0" cap="all" baseline="0"/>
            </a:lvl4pPr>
            <a:lvl5pPr>
              <a:defRPr sz="1100" b="1" i="0" cap="all" baseline="0"/>
            </a:lvl5pPr>
          </a:lstStyle>
          <a:p>
            <a:pPr lvl="0"/>
            <a:r>
              <a:rPr lang="en-US"/>
              <a:t> </a:t>
            </a:r>
          </a:p>
        </p:txBody>
      </p:sp>
      <p:sp>
        <p:nvSpPr>
          <p:cNvPr id="16" name="Text Placeholder 18">
            <a:extLst>
              <a:ext uri="{FF2B5EF4-FFF2-40B4-BE49-F238E27FC236}">
                <a16:creationId xmlns:a16="http://schemas.microsoft.com/office/drawing/2014/main" id="{02C0AB5F-83E6-46E3-9E5A-3E6E48AA39DD}"/>
              </a:ext>
            </a:extLst>
          </p:cNvPr>
          <p:cNvSpPr>
            <a:spLocks noGrp="1"/>
          </p:cNvSpPr>
          <p:nvPr>
            <p:ph type="body" sz="quarter" idx="14" hasCustomPrompt="1"/>
          </p:nvPr>
        </p:nvSpPr>
        <p:spPr>
          <a:xfrm>
            <a:off x="475735" y="2780797"/>
            <a:ext cx="2366028" cy="3370924"/>
          </a:xfrm>
        </p:spPr>
        <p:txBody>
          <a:bodyPr/>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26" name="Text Placeholder 25">
            <a:extLst>
              <a:ext uri="{FF2B5EF4-FFF2-40B4-BE49-F238E27FC236}">
                <a16:creationId xmlns:a16="http://schemas.microsoft.com/office/drawing/2014/main" id="{3D91939B-80C0-4D02-B087-3568C5B3B290}"/>
              </a:ext>
            </a:extLst>
          </p:cNvPr>
          <p:cNvSpPr>
            <a:spLocks noGrp="1"/>
          </p:cNvSpPr>
          <p:nvPr>
            <p:ph type="body" sz="quarter" idx="29" hasCustomPrompt="1"/>
          </p:nvPr>
        </p:nvSpPr>
        <p:spPr>
          <a:xfrm>
            <a:off x="401113" y="2248697"/>
            <a:ext cx="2515272" cy="303213"/>
          </a:xfrm>
        </p:spPr>
        <p:txBody>
          <a:bodyPr/>
          <a:lstStyle>
            <a:lvl1pPr algn="ctr">
              <a:defRPr sz="1400">
                <a:solidFill>
                  <a:schemeClr val="bg2"/>
                </a:solidFill>
              </a:defRPr>
            </a:lvl1pPr>
            <a:lvl2pPr algn="ctr">
              <a:defRPr sz="1400">
                <a:solidFill>
                  <a:schemeClr val="bg2"/>
                </a:solidFill>
              </a:defRPr>
            </a:lvl2pPr>
            <a:lvl3pPr algn="ctr">
              <a:defRPr sz="1400">
                <a:solidFill>
                  <a:schemeClr val="bg2"/>
                </a:solidFill>
              </a:defRPr>
            </a:lvl3pPr>
            <a:lvl4pPr algn="ctr">
              <a:defRPr sz="1400">
                <a:solidFill>
                  <a:schemeClr val="bg2"/>
                </a:solidFill>
              </a:defRPr>
            </a:lvl4pPr>
            <a:lvl5pPr algn="ctr">
              <a:defRPr sz="1400">
                <a:solidFill>
                  <a:schemeClr val="bg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27" name="Text Placeholder 36">
            <a:extLst>
              <a:ext uri="{FF2B5EF4-FFF2-40B4-BE49-F238E27FC236}">
                <a16:creationId xmlns:a16="http://schemas.microsoft.com/office/drawing/2014/main" id="{CBB84B91-B831-4601-B9B1-215D997A17E5}"/>
              </a:ext>
            </a:extLst>
          </p:cNvPr>
          <p:cNvSpPr>
            <a:spLocks noGrp="1"/>
          </p:cNvSpPr>
          <p:nvPr>
            <p:ph type="body" sz="quarter" idx="30" hasCustomPrompt="1"/>
          </p:nvPr>
        </p:nvSpPr>
        <p:spPr>
          <a:xfrm>
            <a:off x="3284389" y="2615608"/>
            <a:ext cx="2665819" cy="3816728"/>
          </a:xfrm>
          <a:noFill/>
          <a:ln>
            <a:solidFill>
              <a:schemeClr val="accent1"/>
            </a:solidFill>
          </a:ln>
        </p:spPr>
        <p:txBody>
          <a:bodyPr/>
          <a:lstStyle>
            <a:lvl1pPr>
              <a:defRPr/>
            </a:lvl1pPr>
          </a:lstStyle>
          <a:p>
            <a:pPr lvl="0"/>
            <a:r>
              <a:rPr lang="en-US"/>
              <a:t> </a:t>
            </a:r>
          </a:p>
        </p:txBody>
      </p:sp>
      <p:sp>
        <p:nvSpPr>
          <p:cNvPr id="28" name="Text Placeholder 11">
            <a:extLst>
              <a:ext uri="{FF2B5EF4-FFF2-40B4-BE49-F238E27FC236}">
                <a16:creationId xmlns:a16="http://schemas.microsoft.com/office/drawing/2014/main" id="{88057196-3CF1-467F-AF57-186EC13A573F}"/>
              </a:ext>
            </a:extLst>
          </p:cNvPr>
          <p:cNvSpPr>
            <a:spLocks noGrp="1"/>
          </p:cNvSpPr>
          <p:nvPr>
            <p:ph type="body" sz="quarter" idx="31" hasCustomPrompt="1"/>
          </p:nvPr>
        </p:nvSpPr>
        <p:spPr>
          <a:xfrm>
            <a:off x="3284389" y="1909467"/>
            <a:ext cx="2665819" cy="706141"/>
          </a:xfrm>
          <a:solidFill>
            <a:schemeClr val="accent1"/>
          </a:solidFill>
          <a:ln>
            <a:solidFill>
              <a:schemeClr val="accent1"/>
            </a:solidFill>
          </a:ln>
        </p:spPr>
        <p:txBody>
          <a:bodyPr lIns="108000" tIns="0" rIns="108000" bIns="216000" anchor="ctr"/>
          <a:lstStyle>
            <a:lvl1pPr algn="ctr">
              <a:defRPr sz="1600" b="1" i="0" cap="all" baseline="0">
                <a:solidFill>
                  <a:schemeClr val="accent1"/>
                </a:solidFill>
              </a:defRPr>
            </a:lvl1pPr>
            <a:lvl2pPr>
              <a:defRPr sz="1600" b="1" i="0" cap="all" baseline="0"/>
            </a:lvl2pPr>
            <a:lvl3pPr>
              <a:defRPr sz="1400" b="1" i="0" cap="all" baseline="0"/>
            </a:lvl3pPr>
            <a:lvl4pPr>
              <a:defRPr sz="1200" b="1" i="0" cap="all" baseline="0"/>
            </a:lvl4pPr>
            <a:lvl5pPr>
              <a:defRPr sz="1100" b="1" i="0" cap="all" baseline="0"/>
            </a:lvl5pPr>
          </a:lstStyle>
          <a:p>
            <a:pPr lvl="0"/>
            <a:r>
              <a:rPr lang="en-US"/>
              <a:t> </a:t>
            </a:r>
          </a:p>
        </p:txBody>
      </p:sp>
      <p:sp>
        <p:nvSpPr>
          <p:cNvPr id="32" name="Text Placeholder 25">
            <a:extLst>
              <a:ext uri="{FF2B5EF4-FFF2-40B4-BE49-F238E27FC236}">
                <a16:creationId xmlns:a16="http://schemas.microsoft.com/office/drawing/2014/main" id="{56A5B684-6174-4875-BBCD-03B279BABFB5}"/>
              </a:ext>
            </a:extLst>
          </p:cNvPr>
          <p:cNvSpPr>
            <a:spLocks noGrp="1"/>
          </p:cNvSpPr>
          <p:nvPr>
            <p:ph type="body" sz="quarter" idx="35" hasCustomPrompt="1"/>
          </p:nvPr>
        </p:nvSpPr>
        <p:spPr>
          <a:xfrm>
            <a:off x="3360023" y="2248697"/>
            <a:ext cx="2514551" cy="303213"/>
          </a:xfrm>
        </p:spPr>
        <p:txBody>
          <a:bodyPr/>
          <a:lstStyle>
            <a:lvl1pPr algn="ctr">
              <a:defRPr sz="1400">
                <a:solidFill>
                  <a:schemeClr val="bg2"/>
                </a:solidFill>
              </a:defRPr>
            </a:lvl1pPr>
            <a:lvl2pPr algn="ctr">
              <a:defRPr sz="1400">
                <a:solidFill>
                  <a:schemeClr val="bg2"/>
                </a:solidFill>
              </a:defRPr>
            </a:lvl2pPr>
            <a:lvl3pPr algn="ctr">
              <a:defRPr sz="1400">
                <a:solidFill>
                  <a:schemeClr val="bg2"/>
                </a:solidFill>
              </a:defRPr>
            </a:lvl3pPr>
            <a:lvl4pPr algn="ctr">
              <a:defRPr sz="1400">
                <a:solidFill>
                  <a:schemeClr val="bg2"/>
                </a:solidFill>
              </a:defRPr>
            </a:lvl4pPr>
            <a:lvl5pPr algn="ctr">
              <a:defRPr sz="1400">
                <a:solidFill>
                  <a:schemeClr val="bg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38" name="Text Placeholder 25">
            <a:extLst>
              <a:ext uri="{FF2B5EF4-FFF2-40B4-BE49-F238E27FC236}">
                <a16:creationId xmlns:a16="http://schemas.microsoft.com/office/drawing/2014/main" id="{9C430142-683E-46CC-872C-DBFDE61E4C49}"/>
              </a:ext>
            </a:extLst>
          </p:cNvPr>
          <p:cNvSpPr>
            <a:spLocks noGrp="1"/>
          </p:cNvSpPr>
          <p:nvPr>
            <p:ph type="body" sz="quarter" idx="41" hasCustomPrompt="1"/>
          </p:nvPr>
        </p:nvSpPr>
        <p:spPr>
          <a:xfrm>
            <a:off x="9276357" y="2248697"/>
            <a:ext cx="2514552" cy="303213"/>
          </a:xfrm>
        </p:spPr>
        <p:txBody>
          <a:bodyPr/>
          <a:lstStyle>
            <a:lvl1pPr algn="ctr">
              <a:defRPr sz="1400">
                <a:solidFill>
                  <a:schemeClr val="bg2"/>
                </a:solidFill>
              </a:defRPr>
            </a:lvl1pPr>
            <a:lvl2pPr algn="ctr">
              <a:defRPr sz="1400">
                <a:solidFill>
                  <a:schemeClr val="bg2"/>
                </a:solidFill>
              </a:defRPr>
            </a:lvl2pPr>
            <a:lvl3pPr algn="ctr">
              <a:defRPr sz="1400">
                <a:solidFill>
                  <a:schemeClr val="bg2"/>
                </a:solidFill>
              </a:defRPr>
            </a:lvl3pPr>
            <a:lvl4pPr algn="ctr">
              <a:defRPr sz="1400">
                <a:solidFill>
                  <a:schemeClr val="bg2"/>
                </a:solidFill>
              </a:defRPr>
            </a:lvl4pPr>
            <a:lvl5pPr algn="ctr">
              <a:defRPr sz="1400">
                <a:solidFill>
                  <a:schemeClr val="bg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47" name="Text Placeholder 36">
            <a:extLst>
              <a:ext uri="{FF2B5EF4-FFF2-40B4-BE49-F238E27FC236}">
                <a16:creationId xmlns:a16="http://schemas.microsoft.com/office/drawing/2014/main" id="{1784D1E9-B4F6-4A1E-8F30-06EDE9F556F6}"/>
              </a:ext>
            </a:extLst>
          </p:cNvPr>
          <p:cNvSpPr>
            <a:spLocks noGrp="1"/>
          </p:cNvSpPr>
          <p:nvPr>
            <p:ph type="body" sz="quarter" idx="42" hasCustomPrompt="1"/>
          </p:nvPr>
        </p:nvSpPr>
        <p:spPr>
          <a:xfrm>
            <a:off x="6242556" y="2615608"/>
            <a:ext cx="2665819" cy="3816728"/>
          </a:xfrm>
          <a:noFill/>
          <a:ln>
            <a:solidFill>
              <a:schemeClr val="accent1"/>
            </a:solidFill>
          </a:ln>
        </p:spPr>
        <p:txBody>
          <a:bodyPr/>
          <a:lstStyle>
            <a:lvl1pPr>
              <a:defRPr/>
            </a:lvl1pPr>
          </a:lstStyle>
          <a:p>
            <a:pPr lvl="0"/>
            <a:r>
              <a:rPr lang="en-US"/>
              <a:t> </a:t>
            </a:r>
          </a:p>
        </p:txBody>
      </p:sp>
      <p:sp>
        <p:nvSpPr>
          <p:cNvPr id="48" name="Text Placeholder 11">
            <a:extLst>
              <a:ext uri="{FF2B5EF4-FFF2-40B4-BE49-F238E27FC236}">
                <a16:creationId xmlns:a16="http://schemas.microsoft.com/office/drawing/2014/main" id="{E7458637-19F6-472E-AFC7-1B42B1F3A7C5}"/>
              </a:ext>
            </a:extLst>
          </p:cNvPr>
          <p:cNvSpPr>
            <a:spLocks noGrp="1"/>
          </p:cNvSpPr>
          <p:nvPr>
            <p:ph type="body" sz="quarter" idx="43" hasCustomPrompt="1"/>
          </p:nvPr>
        </p:nvSpPr>
        <p:spPr>
          <a:xfrm>
            <a:off x="6242556" y="1909467"/>
            <a:ext cx="2665819" cy="706141"/>
          </a:xfrm>
          <a:solidFill>
            <a:schemeClr val="accent1"/>
          </a:solidFill>
          <a:ln>
            <a:solidFill>
              <a:schemeClr val="accent1"/>
            </a:solidFill>
          </a:ln>
        </p:spPr>
        <p:txBody>
          <a:bodyPr lIns="108000" tIns="0" rIns="108000" bIns="216000" anchor="ctr"/>
          <a:lstStyle>
            <a:lvl1pPr algn="ctr">
              <a:defRPr sz="1600" b="1" i="0" cap="all" baseline="0">
                <a:solidFill>
                  <a:schemeClr val="accent1"/>
                </a:solidFill>
              </a:defRPr>
            </a:lvl1pPr>
            <a:lvl2pPr>
              <a:defRPr sz="1600" b="1" i="0" cap="all" baseline="0"/>
            </a:lvl2pPr>
            <a:lvl3pPr>
              <a:defRPr sz="1400" b="1" i="0" cap="all" baseline="0"/>
            </a:lvl3pPr>
            <a:lvl4pPr>
              <a:defRPr sz="1200" b="1" i="0" cap="all" baseline="0"/>
            </a:lvl4pPr>
            <a:lvl5pPr>
              <a:defRPr sz="1100" b="1" i="0" cap="all" baseline="0"/>
            </a:lvl5pPr>
          </a:lstStyle>
          <a:p>
            <a:pPr lvl="0"/>
            <a:r>
              <a:rPr lang="en-US"/>
              <a:t> </a:t>
            </a:r>
          </a:p>
        </p:txBody>
      </p:sp>
      <p:sp>
        <p:nvSpPr>
          <p:cNvPr id="49" name="Text Placeholder 25">
            <a:extLst>
              <a:ext uri="{FF2B5EF4-FFF2-40B4-BE49-F238E27FC236}">
                <a16:creationId xmlns:a16="http://schemas.microsoft.com/office/drawing/2014/main" id="{CB200127-0C60-41D7-96AC-CCE4B07C7ABA}"/>
              </a:ext>
            </a:extLst>
          </p:cNvPr>
          <p:cNvSpPr>
            <a:spLocks noGrp="1"/>
          </p:cNvSpPr>
          <p:nvPr>
            <p:ph type="body" sz="quarter" idx="44" hasCustomPrompt="1"/>
          </p:nvPr>
        </p:nvSpPr>
        <p:spPr>
          <a:xfrm>
            <a:off x="6318190" y="2248697"/>
            <a:ext cx="2514551" cy="303213"/>
          </a:xfrm>
        </p:spPr>
        <p:txBody>
          <a:bodyPr/>
          <a:lstStyle>
            <a:lvl1pPr algn="ctr">
              <a:defRPr sz="1400">
                <a:solidFill>
                  <a:schemeClr val="bg2"/>
                </a:solidFill>
              </a:defRPr>
            </a:lvl1pPr>
            <a:lvl2pPr algn="ctr">
              <a:defRPr sz="1400">
                <a:solidFill>
                  <a:schemeClr val="bg2"/>
                </a:solidFill>
              </a:defRPr>
            </a:lvl2pPr>
            <a:lvl3pPr algn="ctr">
              <a:defRPr sz="1400">
                <a:solidFill>
                  <a:schemeClr val="bg2"/>
                </a:solidFill>
              </a:defRPr>
            </a:lvl3pPr>
            <a:lvl4pPr algn="ctr">
              <a:defRPr sz="1400">
                <a:solidFill>
                  <a:schemeClr val="bg2"/>
                </a:solidFill>
              </a:defRPr>
            </a:lvl4pPr>
            <a:lvl5pPr algn="ctr">
              <a:defRPr sz="1400">
                <a:solidFill>
                  <a:schemeClr val="bg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50" name="Text Placeholder 18">
            <a:extLst>
              <a:ext uri="{FF2B5EF4-FFF2-40B4-BE49-F238E27FC236}">
                <a16:creationId xmlns:a16="http://schemas.microsoft.com/office/drawing/2014/main" id="{A0002D78-793B-49D6-BC04-033B27AE948E}"/>
              </a:ext>
            </a:extLst>
          </p:cNvPr>
          <p:cNvSpPr>
            <a:spLocks noGrp="1"/>
          </p:cNvSpPr>
          <p:nvPr>
            <p:ph type="body" sz="quarter" idx="45" hasCustomPrompt="1"/>
          </p:nvPr>
        </p:nvSpPr>
        <p:spPr>
          <a:xfrm>
            <a:off x="3434285" y="2780797"/>
            <a:ext cx="2366028" cy="3370924"/>
          </a:xfrm>
        </p:spPr>
        <p:txBody>
          <a:bodyPr/>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51" name="Text Placeholder 18">
            <a:extLst>
              <a:ext uri="{FF2B5EF4-FFF2-40B4-BE49-F238E27FC236}">
                <a16:creationId xmlns:a16="http://schemas.microsoft.com/office/drawing/2014/main" id="{F8653AF5-2362-46D4-92E1-6F9D020DBB7A}"/>
              </a:ext>
            </a:extLst>
          </p:cNvPr>
          <p:cNvSpPr>
            <a:spLocks noGrp="1"/>
          </p:cNvSpPr>
          <p:nvPr>
            <p:ph type="body" sz="quarter" idx="46" hasCustomPrompt="1"/>
          </p:nvPr>
        </p:nvSpPr>
        <p:spPr>
          <a:xfrm>
            <a:off x="6392451" y="2780797"/>
            <a:ext cx="2366028" cy="3370924"/>
          </a:xfrm>
        </p:spPr>
        <p:txBody>
          <a:bodyPr/>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52" name="Text Placeholder 18">
            <a:extLst>
              <a:ext uri="{FF2B5EF4-FFF2-40B4-BE49-F238E27FC236}">
                <a16:creationId xmlns:a16="http://schemas.microsoft.com/office/drawing/2014/main" id="{7C43DF44-3DCF-4133-8255-C33481836B9F}"/>
              </a:ext>
            </a:extLst>
          </p:cNvPr>
          <p:cNvSpPr>
            <a:spLocks noGrp="1"/>
          </p:cNvSpPr>
          <p:nvPr>
            <p:ph type="body" sz="quarter" idx="47" hasCustomPrompt="1"/>
          </p:nvPr>
        </p:nvSpPr>
        <p:spPr>
          <a:xfrm>
            <a:off x="9350619" y="2780797"/>
            <a:ext cx="2366028" cy="3370924"/>
          </a:xfrm>
        </p:spPr>
        <p:txBody>
          <a:bodyPr/>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54" name="Text Placeholder 40">
            <a:extLst>
              <a:ext uri="{FF2B5EF4-FFF2-40B4-BE49-F238E27FC236}">
                <a16:creationId xmlns:a16="http://schemas.microsoft.com/office/drawing/2014/main" id="{4F8A1B4E-7987-4A71-AD20-0756F75377F7}"/>
              </a:ext>
            </a:extLst>
          </p:cNvPr>
          <p:cNvSpPr>
            <a:spLocks noGrp="1"/>
          </p:cNvSpPr>
          <p:nvPr>
            <p:ph type="body" sz="quarter" idx="19" hasCustomPrompt="1"/>
          </p:nvPr>
        </p:nvSpPr>
        <p:spPr>
          <a:xfrm>
            <a:off x="480059" y="1203325"/>
            <a:ext cx="10890275" cy="391636"/>
          </a:xfrm>
        </p:spPr>
        <p:txBody>
          <a:bodyPr/>
          <a:lstStyle>
            <a:lvl1pPr>
              <a:defRPr>
                <a:solidFill>
                  <a:schemeClr val="accent3"/>
                </a:solidFill>
              </a:defRPr>
            </a:lvl1pPr>
          </a:lstStyle>
          <a:p>
            <a:pPr lvl="0"/>
            <a:r>
              <a:rPr lang="en-US"/>
              <a:t>Click to insert subtitle</a:t>
            </a:r>
          </a:p>
        </p:txBody>
      </p:sp>
      <p:sp>
        <p:nvSpPr>
          <p:cNvPr id="30" name="Text Placeholder 25">
            <a:extLst>
              <a:ext uri="{FF2B5EF4-FFF2-40B4-BE49-F238E27FC236}">
                <a16:creationId xmlns:a16="http://schemas.microsoft.com/office/drawing/2014/main" id="{21CEC7D8-2A04-4D18-87C4-26D0779566D1}"/>
              </a:ext>
            </a:extLst>
          </p:cNvPr>
          <p:cNvSpPr>
            <a:spLocks noGrp="1"/>
          </p:cNvSpPr>
          <p:nvPr>
            <p:ph type="body" sz="quarter" idx="59" hasCustomPrompt="1"/>
          </p:nvPr>
        </p:nvSpPr>
        <p:spPr>
          <a:xfrm>
            <a:off x="401113" y="1938042"/>
            <a:ext cx="2515272" cy="303213"/>
          </a:xfrm>
        </p:spPr>
        <p:txBody>
          <a:bodyPr/>
          <a:lstStyle>
            <a:lvl1pPr algn="ctr">
              <a:defRPr sz="1600" b="1" cap="all" baseline="0">
                <a:solidFill>
                  <a:schemeClr val="bg2"/>
                </a:solidFill>
              </a:defRPr>
            </a:lvl1pPr>
            <a:lvl2pPr algn="ctr">
              <a:defRPr sz="1600">
                <a:solidFill>
                  <a:schemeClr val="tx2"/>
                </a:solidFill>
              </a:defRPr>
            </a:lvl2pPr>
            <a:lvl3pPr algn="ctr">
              <a:defRPr sz="1400">
                <a:solidFill>
                  <a:schemeClr val="tx2"/>
                </a:solidFill>
              </a:defRPr>
            </a:lvl3pPr>
            <a:lvl4pPr algn="ctr">
              <a:defRPr sz="1200">
                <a:solidFill>
                  <a:schemeClr val="tx2"/>
                </a:solidFill>
              </a:defRPr>
            </a:lvl4pPr>
            <a:lvl5pPr algn="ctr">
              <a:defRPr sz="1100">
                <a:solidFill>
                  <a:schemeClr val="tx2"/>
                </a:solidFill>
              </a:defRPr>
            </a:lvl5pPr>
          </a:lstStyle>
          <a:p>
            <a:pPr lvl="0"/>
            <a:r>
              <a:rPr lang="en-US"/>
              <a:t>Enter title here</a:t>
            </a:r>
          </a:p>
        </p:txBody>
      </p:sp>
      <p:sp>
        <p:nvSpPr>
          <p:cNvPr id="31" name="Text Placeholder 25">
            <a:extLst>
              <a:ext uri="{FF2B5EF4-FFF2-40B4-BE49-F238E27FC236}">
                <a16:creationId xmlns:a16="http://schemas.microsoft.com/office/drawing/2014/main" id="{F5900F8E-DC0B-4724-A2F4-D0ACA2A95161}"/>
              </a:ext>
            </a:extLst>
          </p:cNvPr>
          <p:cNvSpPr>
            <a:spLocks noGrp="1"/>
          </p:cNvSpPr>
          <p:nvPr>
            <p:ph type="body" sz="quarter" idx="60" hasCustomPrompt="1"/>
          </p:nvPr>
        </p:nvSpPr>
        <p:spPr>
          <a:xfrm>
            <a:off x="3359663" y="1938042"/>
            <a:ext cx="2515272" cy="303213"/>
          </a:xfrm>
        </p:spPr>
        <p:txBody>
          <a:bodyPr/>
          <a:lstStyle>
            <a:lvl1pPr algn="ctr">
              <a:defRPr sz="1600" b="1" cap="all" baseline="0">
                <a:solidFill>
                  <a:schemeClr val="bg2"/>
                </a:solidFill>
              </a:defRPr>
            </a:lvl1pPr>
            <a:lvl2pPr algn="ctr">
              <a:defRPr sz="1600">
                <a:solidFill>
                  <a:schemeClr val="tx2"/>
                </a:solidFill>
              </a:defRPr>
            </a:lvl2pPr>
            <a:lvl3pPr algn="ctr">
              <a:defRPr sz="1400">
                <a:solidFill>
                  <a:schemeClr val="tx2"/>
                </a:solidFill>
              </a:defRPr>
            </a:lvl3pPr>
            <a:lvl4pPr algn="ctr">
              <a:defRPr sz="1200">
                <a:solidFill>
                  <a:schemeClr val="tx2"/>
                </a:solidFill>
              </a:defRPr>
            </a:lvl4pPr>
            <a:lvl5pPr algn="ctr">
              <a:defRPr sz="1100">
                <a:solidFill>
                  <a:schemeClr val="tx2"/>
                </a:solidFill>
              </a:defRPr>
            </a:lvl5pPr>
          </a:lstStyle>
          <a:p>
            <a:pPr lvl="0"/>
            <a:r>
              <a:rPr lang="en-US"/>
              <a:t>Enter title here</a:t>
            </a:r>
          </a:p>
        </p:txBody>
      </p:sp>
      <p:sp>
        <p:nvSpPr>
          <p:cNvPr id="33" name="Text Placeholder 25">
            <a:extLst>
              <a:ext uri="{FF2B5EF4-FFF2-40B4-BE49-F238E27FC236}">
                <a16:creationId xmlns:a16="http://schemas.microsoft.com/office/drawing/2014/main" id="{362B5AA9-41DA-4B25-959F-70C6CA92ED5D}"/>
              </a:ext>
            </a:extLst>
          </p:cNvPr>
          <p:cNvSpPr>
            <a:spLocks noGrp="1"/>
          </p:cNvSpPr>
          <p:nvPr>
            <p:ph type="body" sz="quarter" idx="61" hasCustomPrompt="1"/>
          </p:nvPr>
        </p:nvSpPr>
        <p:spPr>
          <a:xfrm>
            <a:off x="6317829" y="1938042"/>
            <a:ext cx="2515272" cy="303213"/>
          </a:xfrm>
        </p:spPr>
        <p:txBody>
          <a:bodyPr/>
          <a:lstStyle>
            <a:lvl1pPr algn="ctr">
              <a:defRPr sz="1600" b="1" cap="all" baseline="0">
                <a:solidFill>
                  <a:schemeClr val="bg2"/>
                </a:solidFill>
              </a:defRPr>
            </a:lvl1pPr>
            <a:lvl2pPr algn="ctr">
              <a:defRPr sz="1600">
                <a:solidFill>
                  <a:schemeClr val="tx2"/>
                </a:solidFill>
              </a:defRPr>
            </a:lvl2pPr>
            <a:lvl3pPr algn="ctr">
              <a:defRPr sz="1400">
                <a:solidFill>
                  <a:schemeClr val="tx2"/>
                </a:solidFill>
              </a:defRPr>
            </a:lvl3pPr>
            <a:lvl4pPr algn="ctr">
              <a:defRPr sz="1200">
                <a:solidFill>
                  <a:schemeClr val="tx2"/>
                </a:solidFill>
              </a:defRPr>
            </a:lvl4pPr>
            <a:lvl5pPr algn="ctr">
              <a:defRPr sz="1100">
                <a:solidFill>
                  <a:schemeClr val="tx2"/>
                </a:solidFill>
              </a:defRPr>
            </a:lvl5pPr>
          </a:lstStyle>
          <a:p>
            <a:pPr lvl="0"/>
            <a:r>
              <a:rPr lang="en-US"/>
              <a:t>Enter title here</a:t>
            </a:r>
          </a:p>
        </p:txBody>
      </p:sp>
      <p:sp>
        <p:nvSpPr>
          <p:cNvPr id="35" name="Text Placeholder 25">
            <a:extLst>
              <a:ext uri="{FF2B5EF4-FFF2-40B4-BE49-F238E27FC236}">
                <a16:creationId xmlns:a16="http://schemas.microsoft.com/office/drawing/2014/main" id="{69F7C8DD-7606-46AE-8DAB-77C62C47287A}"/>
              </a:ext>
            </a:extLst>
          </p:cNvPr>
          <p:cNvSpPr>
            <a:spLocks noGrp="1"/>
          </p:cNvSpPr>
          <p:nvPr>
            <p:ph type="body" sz="quarter" idx="62" hasCustomPrompt="1"/>
          </p:nvPr>
        </p:nvSpPr>
        <p:spPr>
          <a:xfrm>
            <a:off x="9275997" y="1938042"/>
            <a:ext cx="2515272" cy="303213"/>
          </a:xfrm>
        </p:spPr>
        <p:txBody>
          <a:bodyPr/>
          <a:lstStyle>
            <a:lvl1pPr algn="ctr">
              <a:defRPr sz="1600" b="1" cap="all" baseline="0">
                <a:solidFill>
                  <a:schemeClr val="bg2"/>
                </a:solidFill>
              </a:defRPr>
            </a:lvl1pPr>
            <a:lvl2pPr algn="ctr">
              <a:defRPr sz="1600">
                <a:solidFill>
                  <a:schemeClr val="tx2"/>
                </a:solidFill>
              </a:defRPr>
            </a:lvl2pPr>
            <a:lvl3pPr algn="ctr">
              <a:defRPr sz="1400">
                <a:solidFill>
                  <a:schemeClr val="tx2"/>
                </a:solidFill>
              </a:defRPr>
            </a:lvl3pPr>
            <a:lvl4pPr algn="ctr">
              <a:defRPr sz="1200">
                <a:solidFill>
                  <a:schemeClr val="tx2"/>
                </a:solidFill>
              </a:defRPr>
            </a:lvl4pPr>
            <a:lvl5pPr algn="ctr">
              <a:defRPr sz="1100">
                <a:solidFill>
                  <a:schemeClr val="tx2"/>
                </a:solidFill>
              </a:defRPr>
            </a:lvl5pPr>
          </a:lstStyle>
          <a:p>
            <a:pPr lvl="0"/>
            <a:r>
              <a:rPr lang="en-US"/>
              <a:t>Enter title here</a:t>
            </a:r>
          </a:p>
        </p:txBody>
      </p:sp>
      <p:sp>
        <p:nvSpPr>
          <p:cNvPr id="40" name="Freeform: Shape 39">
            <a:extLst>
              <a:ext uri="{FF2B5EF4-FFF2-40B4-BE49-F238E27FC236}">
                <a16:creationId xmlns:a16="http://schemas.microsoft.com/office/drawing/2014/main" id="{3B7DA6D0-CAAE-4DF9-ABE1-3B2854507F2E}"/>
              </a:ext>
            </a:extLst>
          </p:cNvPr>
          <p:cNvSpPr/>
          <p:nvPr userDrawn="1"/>
        </p:nvSpPr>
        <p:spPr>
          <a:xfrm>
            <a:off x="325457" y="278027"/>
            <a:ext cx="11541086" cy="6154308"/>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dirty="0">
              <a:solidFill>
                <a:schemeClr val="tx1"/>
              </a:solidFill>
            </a:endParaRPr>
          </a:p>
        </p:txBody>
      </p:sp>
      <p:pic>
        <p:nvPicPr>
          <p:cNvPr id="41" name="Graphic 40">
            <a:extLst>
              <a:ext uri="{FF2B5EF4-FFF2-40B4-BE49-F238E27FC236}">
                <a16:creationId xmlns:a16="http://schemas.microsoft.com/office/drawing/2014/main" id="{505C1F8E-DFC8-4D65-8E7B-D2A24489E8C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457" y="6551607"/>
            <a:ext cx="1852404" cy="171450"/>
          </a:xfrm>
          <a:prstGeom prst="rect">
            <a:avLst/>
          </a:prstGeom>
        </p:spPr>
      </p:pic>
      <p:sp>
        <p:nvSpPr>
          <p:cNvPr id="5" name="Footer Placeholder 4">
            <a:extLst>
              <a:ext uri="{FF2B5EF4-FFF2-40B4-BE49-F238E27FC236}">
                <a16:creationId xmlns:a16="http://schemas.microsoft.com/office/drawing/2014/main" id="{432495DF-25EE-4262-A85A-C9831A900150}"/>
              </a:ext>
            </a:extLst>
          </p:cNvPr>
          <p:cNvSpPr>
            <a:spLocks noGrp="1"/>
          </p:cNvSpPr>
          <p:nvPr>
            <p:ph type="ftr" sz="quarter" idx="64"/>
          </p:nvPr>
        </p:nvSpPr>
        <p:spPr/>
        <p:txBody>
          <a:bodyPr/>
          <a:lstStyle/>
          <a:p>
            <a:endParaRPr lang="en-US" sz="600" noProof="0" dirty="0"/>
          </a:p>
        </p:txBody>
      </p:sp>
      <p:sp>
        <p:nvSpPr>
          <p:cNvPr id="7" name="Slide Number Placeholder 6">
            <a:extLst>
              <a:ext uri="{FF2B5EF4-FFF2-40B4-BE49-F238E27FC236}">
                <a16:creationId xmlns:a16="http://schemas.microsoft.com/office/drawing/2014/main" id="{814F6BC9-AB2E-4354-8698-A20F71A637E9}"/>
              </a:ext>
            </a:extLst>
          </p:cNvPr>
          <p:cNvSpPr>
            <a:spLocks noGrp="1"/>
          </p:cNvSpPr>
          <p:nvPr>
            <p:ph type="sldNum" sz="quarter" idx="65"/>
          </p:nvPr>
        </p:nvSpPr>
        <p:spPr/>
        <p:txBody>
          <a:bodyPr/>
          <a:lstStyle/>
          <a:p>
            <a:fld id="{5034EE70-12A8-400F-8E3D-398CDD8B315D}" type="slidenum">
              <a:rPr lang="en-US" smtClean="0"/>
              <a:pPr/>
              <a:t>‹#›</a:t>
            </a:fld>
            <a:endParaRPr lang="en-US" dirty="0"/>
          </a:p>
        </p:txBody>
      </p:sp>
    </p:spTree>
    <p:extLst>
      <p:ext uri="{BB962C8B-B14F-4D97-AF65-F5344CB8AC3E}">
        <p14:creationId xmlns:p14="http://schemas.microsoft.com/office/powerpoint/2010/main" val="308954301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3 Stat">
    <p:spTree>
      <p:nvGrpSpPr>
        <p:cNvPr id="1" name=""/>
        <p:cNvGrpSpPr/>
        <p:nvPr/>
      </p:nvGrpSpPr>
      <p:grpSpPr>
        <a:xfrm>
          <a:off x="0" y="0"/>
          <a:ext cx="0" cy="0"/>
          <a:chOff x="0" y="0"/>
          <a:chExt cx="0" cy="0"/>
        </a:xfrm>
      </p:grpSpPr>
      <p:sp>
        <p:nvSpPr>
          <p:cNvPr id="39" name="Text Placeholder 36">
            <a:extLst>
              <a:ext uri="{FF2B5EF4-FFF2-40B4-BE49-F238E27FC236}">
                <a16:creationId xmlns:a16="http://schemas.microsoft.com/office/drawing/2014/main" id="{0BCCF02B-6EED-4D27-9CE2-E83ABE48D32B}"/>
              </a:ext>
            </a:extLst>
          </p:cNvPr>
          <p:cNvSpPr>
            <a:spLocks noGrp="1"/>
          </p:cNvSpPr>
          <p:nvPr>
            <p:ph type="body" sz="quarter" idx="27" hasCustomPrompt="1"/>
          </p:nvPr>
        </p:nvSpPr>
        <p:spPr>
          <a:xfrm>
            <a:off x="4452280" y="2547477"/>
            <a:ext cx="3287442" cy="2584450"/>
          </a:xfrm>
          <a:noFill/>
          <a:ln>
            <a:solidFill>
              <a:schemeClr val="accent1"/>
            </a:solidFill>
          </a:ln>
        </p:spPr>
        <p:txBody>
          <a:bodyPr/>
          <a:lstStyle>
            <a:lvl1pPr>
              <a:defRPr/>
            </a:lvl1pPr>
          </a:lstStyle>
          <a:p>
            <a:pPr lvl="0"/>
            <a:r>
              <a:rPr lang="en-US"/>
              <a:t> </a:t>
            </a:r>
          </a:p>
        </p:txBody>
      </p:sp>
      <p:sp>
        <p:nvSpPr>
          <p:cNvPr id="40" name="Text Placeholder 36">
            <a:extLst>
              <a:ext uri="{FF2B5EF4-FFF2-40B4-BE49-F238E27FC236}">
                <a16:creationId xmlns:a16="http://schemas.microsoft.com/office/drawing/2014/main" id="{7168FF53-716C-46C8-9063-0D1D3F3C276A}"/>
              </a:ext>
            </a:extLst>
          </p:cNvPr>
          <p:cNvSpPr>
            <a:spLocks noGrp="1"/>
          </p:cNvSpPr>
          <p:nvPr>
            <p:ph type="body" sz="quarter" idx="28" hasCustomPrompt="1"/>
          </p:nvPr>
        </p:nvSpPr>
        <p:spPr>
          <a:xfrm>
            <a:off x="8159209" y="2547477"/>
            <a:ext cx="3287643" cy="2584450"/>
          </a:xfrm>
          <a:noFill/>
          <a:ln>
            <a:solidFill>
              <a:schemeClr val="accent1"/>
            </a:solidFill>
          </a:ln>
        </p:spPr>
        <p:txBody>
          <a:bodyPr/>
          <a:lstStyle>
            <a:lvl1pPr>
              <a:defRPr/>
            </a:lvl1pPr>
          </a:lstStyle>
          <a:p>
            <a:pPr lvl="0"/>
            <a:r>
              <a:rPr lang="en-US"/>
              <a:t> </a:t>
            </a:r>
          </a:p>
        </p:txBody>
      </p:sp>
      <p:sp>
        <p:nvSpPr>
          <p:cNvPr id="38" name="Text Placeholder 36">
            <a:extLst>
              <a:ext uri="{FF2B5EF4-FFF2-40B4-BE49-F238E27FC236}">
                <a16:creationId xmlns:a16="http://schemas.microsoft.com/office/drawing/2014/main" id="{AB18794F-94FD-4404-9B43-34B565A45A40}"/>
              </a:ext>
            </a:extLst>
          </p:cNvPr>
          <p:cNvSpPr>
            <a:spLocks noGrp="1"/>
          </p:cNvSpPr>
          <p:nvPr>
            <p:ph type="body" sz="quarter" idx="26" hasCustomPrompt="1"/>
          </p:nvPr>
        </p:nvSpPr>
        <p:spPr>
          <a:xfrm>
            <a:off x="745148" y="2547477"/>
            <a:ext cx="3287645" cy="2584450"/>
          </a:xfrm>
          <a:noFill/>
          <a:ln>
            <a:solidFill>
              <a:schemeClr val="accent1"/>
            </a:solidFill>
          </a:ln>
        </p:spPr>
        <p:txBody>
          <a:bodyPr/>
          <a:lstStyle>
            <a:lvl1pPr>
              <a:defRPr/>
            </a:lvl1pPr>
          </a:lstStyle>
          <a:p>
            <a:pPr lvl="0"/>
            <a:r>
              <a:rPr lang="en-US"/>
              <a:t> </a:t>
            </a:r>
          </a:p>
        </p:txBody>
      </p:sp>
      <p:sp>
        <p:nvSpPr>
          <p:cNvPr id="2" name="Title 1">
            <a:extLst>
              <a:ext uri="{FF2B5EF4-FFF2-40B4-BE49-F238E27FC236}">
                <a16:creationId xmlns:a16="http://schemas.microsoft.com/office/drawing/2014/main" id="{BC0E1418-D76B-4E7B-BC2C-A4D67CDE8555}"/>
              </a:ext>
            </a:extLst>
          </p:cNvPr>
          <p:cNvSpPr>
            <a:spLocks noGrp="1"/>
          </p:cNvSpPr>
          <p:nvPr>
            <p:ph type="title" hasCustomPrompt="1"/>
          </p:nvPr>
        </p:nvSpPr>
        <p:spPr>
          <a:xfrm>
            <a:off x="480060" y="706279"/>
            <a:ext cx="10897578" cy="406241"/>
          </a:xfrm>
        </p:spPr>
        <p:txBody>
          <a:bodyPr/>
          <a:lstStyle>
            <a:lvl1pPr>
              <a:defRPr>
                <a:solidFill>
                  <a:schemeClr val="accent1"/>
                </a:solidFill>
              </a:defRPr>
            </a:lvl1pPr>
          </a:lstStyle>
          <a:p>
            <a:r>
              <a:rPr lang="en-US"/>
              <a:t>CLICK TO INSERT TITLE</a:t>
            </a:r>
          </a:p>
        </p:txBody>
      </p:sp>
      <p:sp>
        <p:nvSpPr>
          <p:cNvPr id="12" name="Text Placeholder 11">
            <a:extLst>
              <a:ext uri="{FF2B5EF4-FFF2-40B4-BE49-F238E27FC236}">
                <a16:creationId xmlns:a16="http://schemas.microsoft.com/office/drawing/2014/main" id="{2E8D3ABD-32E4-40D4-84DA-75A718812D57}"/>
              </a:ext>
            </a:extLst>
          </p:cNvPr>
          <p:cNvSpPr>
            <a:spLocks noGrp="1"/>
          </p:cNvSpPr>
          <p:nvPr>
            <p:ph type="body" sz="quarter" idx="13" hasCustomPrompt="1"/>
          </p:nvPr>
        </p:nvSpPr>
        <p:spPr>
          <a:xfrm>
            <a:off x="745148" y="2063289"/>
            <a:ext cx="3287645" cy="484188"/>
          </a:xfrm>
          <a:solidFill>
            <a:schemeClr val="accent1"/>
          </a:solidFill>
          <a:ln>
            <a:solidFill>
              <a:schemeClr val="accent1"/>
            </a:solidFill>
          </a:ln>
        </p:spPr>
        <p:txBody>
          <a:bodyPr lIns="180000" anchor="ctr"/>
          <a:lstStyle>
            <a:lvl1pPr>
              <a:defRPr sz="1600" b="1" i="0" cap="all" baseline="0">
                <a:solidFill>
                  <a:schemeClr val="bg2"/>
                </a:solidFill>
              </a:defRPr>
            </a:lvl1pPr>
            <a:lvl2pPr>
              <a:defRPr sz="1600" b="1" i="0" cap="all" baseline="0"/>
            </a:lvl2pPr>
            <a:lvl3pPr>
              <a:defRPr sz="1400" b="1" i="0" cap="all" baseline="0"/>
            </a:lvl3pPr>
            <a:lvl4pPr>
              <a:defRPr sz="1200" b="1" i="0" cap="all" baseline="0"/>
            </a:lvl4pPr>
            <a:lvl5pPr>
              <a:defRPr sz="1100" b="1" i="0" cap="all" baseline="0"/>
            </a:lvl5pPr>
          </a:lstStyle>
          <a:p>
            <a:pPr lvl="0"/>
            <a:r>
              <a:rPr lang="en-US"/>
              <a:t>INSERT TITLE</a:t>
            </a:r>
          </a:p>
        </p:txBody>
      </p:sp>
      <p:sp>
        <p:nvSpPr>
          <p:cNvPr id="19" name="Text Placeholder 18">
            <a:extLst>
              <a:ext uri="{FF2B5EF4-FFF2-40B4-BE49-F238E27FC236}">
                <a16:creationId xmlns:a16="http://schemas.microsoft.com/office/drawing/2014/main" id="{715CAB15-E359-4FF5-B7D8-F215AC08AC75}"/>
              </a:ext>
            </a:extLst>
          </p:cNvPr>
          <p:cNvSpPr>
            <a:spLocks noGrp="1"/>
          </p:cNvSpPr>
          <p:nvPr>
            <p:ph type="body" sz="quarter" idx="14" hasCustomPrompt="1"/>
          </p:nvPr>
        </p:nvSpPr>
        <p:spPr>
          <a:xfrm>
            <a:off x="973589" y="2780839"/>
            <a:ext cx="2894317" cy="928687"/>
          </a:xfrm>
        </p:spPr>
        <p:txBody>
          <a:bodyPr/>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20" name="Text Placeholder 18">
            <a:extLst>
              <a:ext uri="{FF2B5EF4-FFF2-40B4-BE49-F238E27FC236}">
                <a16:creationId xmlns:a16="http://schemas.microsoft.com/office/drawing/2014/main" id="{E13DCA3E-AB2C-4028-A32B-83F9CDC1374A}"/>
              </a:ext>
            </a:extLst>
          </p:cNvPr>
          <p:cNvSpPr>
            <a:spLocks noGrp="1"/>
          </p:cNvSpPr>
          <p:nvPr>
            <p:ph type="body" sz="quarter" idx="15" hasCustomPrompt="1"/>
          </p:nvPr>
        </p:nvSpPr>
        <p:spPr>
          <a:xfrm>
            <a:off x="973589" y="3709526"/>
            <a:ext cx="2894317" cy="649537"/>
          </a:xfrm>
        </p:spPr>
        <p:txBody>
          <a:bodyPr anchor="b"/>
          <a:lstStyle>
            <a:lvl1pPr>
              <a:defRPr sz="3800" b="1">
                <a:solidFill>
                  <a:schemeClr val="accent3"/>
                </a:solidFill>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050">
                <a:solidFill>
                  <a:schemeClr val="bg1"/>
                </a:solidFill>
              </a:defRPr>
            </a:lvl5pPr>
          </a:lstStyle>
          <a:p>
            <a:pPr lvl="0"/>
            <a:r>
              <a:rPr lang="en-US"/>
              <a:t>XX%</a:t>
            </a:r>
          </a:p>
        </p:txBody>
      </p:sp>
      <p:sp>
        <p:nvSpPr>
          <p:cNvPr id="21" name="Text Placeholder 18">
            <a:extLst>
              <a:ext uri="{FF2B5EF4-FFF2-40B4-BE49-F238E27FC236}">
                <a16:creationId xmlns:a16="http://schemas.microsoft.com/office/drawing/2014/main" id="{C27CD9EA-4C26-4CAA-8197-7347E6E56A9F}"/>
              </a:ext>
            </a:extLst>
          </p:cNvPr>
          <p:cNvSpPr>
            <a:spLocks noGrp="1"/>
          </p:cNvSpPr>
          <p:nvPr>
            <p:ph type="body" sz="quarter" idx="16" hasCustomPrompt="1"/>
          </p:nvPr>
        </p:nvSpPr>
        <p:spPr>
          <a:xfrm>
            <a:off x="973589" y="4385791"/>
            <a:ext cx="2894317" cy="649537"/>
          </a:xfrm>
        </p:spPr>
        <p:txBody>
          <a:bodyPr/>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281D76A4-423D-448D-A2D9-13D01B448A33}"/>
              </a:ext>
            </a:extLst>
          </p:cNvPr>
          <p:cNvSpPr>
            <a:spLocks noGrp="1"/>
          </p:cNvSpPr>
          <p:nvPr>
            <p:ph type="body" sz="quarter" idx="17" hasCustomPrompt="1"/>
          </p:nvPr>
        </p:nvSpPr>
        <p:spPr>
          <a:xfrm>
            <a:off x="4452280" y="2063405"/>
            <a:ext cx="3287442" cy="484188"/>
          </a:xfrm>
          <a:solidFill>
            <a:schemeClr val="accent1"/>
          </a:solidFill>
          <a:ln>
            <a:solidFill>
              <a:schemeClr val="accent1"/>
            </a:solidFill>
          </a:ln>
        </p:spPr>
        <p:txBody>
          <a:bodyPr lIns="180000" anchor="ctr"/>
          <a:lstStyle>
            <a:lvl1pPr>
              <a:defRPr sz="1600" b="1" i="0" cap="all" baseline="0">
                <a:solidFill>
                  <a:schemeClr val="bg2"/>
                </a:solidFill>
              </a:defRPr>
            </a:lvl1pPr>
            <a:lvl2pPr>
              <a:defRPr sz="1600" b="1" i="0" cap="all" baseline="0"/>
            </a:lvl2pPr>
            <a:lvl3pPr>
              <a:defRPr sz="1400" b="1" i="0" cap="all" baseline="0"/>
            </a:lvl3pPr>
            <a:lvl4pPr>
              <a:defRPr sz="1200" b="1" i="0" cap="all" baseline="0"/>
            </a:lvl4pPr>
            <a:lvl5pPr>
              <a:defRPr sz="1100" b="1" i="0" cap="all" baseline="0"/>
            </a:lvl5pPr>
          </a:lstStyle>
          <a:p>
            <a:pPr lvl="0"/>
            <a:r>
              <a:rPr lang="en-US"/>
              <a:t>INSERT TITLE</a:t>
            </a:r>
          </a:p>
        </p:txBody>
      </p:sp>
      <p:sp>
        <p:nvSpPr>
          <p:cNvPr id="25" name="Text Placeholder 18">
            <a:extLst>
              <a:ext uri="{FF2B5EF4-FFF2-40B4-BE49-F238E27FC236}">
                <a16:creationId xmlns:a16="http://schemas.microsoft.com/office/drawing/2014/main" id="{8F157940-8EED-4B74-85BE-9B4FE169A25A}"/>
              </a:ext>
            </a:extLst>
          </p:cNvPr>
          <p:cNvSpPr>
            <a:spLocks noGrp="1"/>
          </p:cNvSpPr>
          <p:nvPr>
            <p:ph type="body" sz="quarter" idx="18" hasCustomPrompt="1"/>
          </p:nvPr>
        </p:nvSpPr>
        <p:spPr>
          <a:xfrm>
            <a:off x="4680721" y="2780955"/>
            <a:ext cx="2894139" cy="928687"/>
          </a:xfrm>
        </p:spPr>
        <p:txBody>
          <a:bodyPr/>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26" name="Text Placeholder 18">
            <a:extLst>
              <a:ext uri="{FF2B5EF4-FFF2-40B4-BE49-F238E27FC236}">
                <a16:creationId xmlns:a16="http://schemas.microsoft.com/office/drawing/2014/main" id="{9F2DA740-1D24-48D4-8CAC-41182115B228}"/>
              </a:ext>
            </a:extLst>
          </p:cNvPr>
          <p:cNvSpPr>
            <a:spLocks noGrp="1"/>
          </p:cNvSpPr>
          <p:nvPr>
            <p:ph type="body" sz="quarter" idx="19" hasCustomPrompt="1"/>
          </p:nvPr>
        </p:nvSpPr>
        <p:spPr>
          <a:xfrm>
            <a:off x="4680721" y="3709642"/>
            <a:ext cx="2894139" cy="649537"/>
          </a:xfrm>
        </p:spPr>
        <p:txBody>
          <a:bodyPr anchor="b"/>
          <a:lstStyle>
            <a:lvl1pPr>
              <a:defRPr sz="3800" b="1">
                <a:solidFill>
                  <a:schemeClr val="accent3"/>
                </a:solidFill>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050">
                <a:solidFill>
                  <a:schemeClr val="bg1"/>
                </a:solidFill>
              </a:defRPr>
            </a:lvl5pPr>
          </a:lstStyle>
          <a:p>
            <a:pPr lvl="0"/>
            <a:r>
              <a:rPr lang="en-US"/>
              <a:t>XX%</a:t>
            </a:r>
          </a:p>
        </p:txBody>
      </p:sp>
      <p:sp>
        <p:nvSpPr>
          <p:cNvPr id="27" name="Text Placeholder 18">
            <a:extLst>
              <a:ext uri="{FF2B5EF4-FFF2-40B4-BE49-F238E27FC236}">
                <a16:creationId xmlns:a16="http://schemas.microsoft.com/office/drawing/2014/main" id="{7A8D0F01-EF89-4EF2-8A5C-951F72732273}"/>
              </a:ext>
            </a:extLst>
          </p:cNvPr>
          <p:cNvSpPr>
            <a:spLocks noGrp="1"/>
          </p:cNvSpPr>
          <p:nvPr>
            <p:ph type="body" sz="quarter" idx="20" hasCustomPrompt="1"/>
          </p:nvPr>
        </p:nvSpPr>
        <p:spPr>
          <a:xfrm>
            <a:off x="4680721" y="4385907"/>
            <a:ext cx="2894139" cy="649537"/>
          </a:xfrm>
        </p:spPr>
        <p:txBody>
          <a:bodyPr/>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29" name="Text Placeholder 11">
            <a:extLst>
              <a:ext uri="{FF2B5EF4-FFF2-40B4-BE49-F238E27FC236}">
                <a16:creationId xmlns:a16="http://schemas.microsoft.com/office/drawing/2014/main" id="{F0D7FF12-91EC-440C-87CC-9EB32C30313F}"/>
              </a:ext>
            </a:extLst>
          </p:cNvPr>
          <p:cNvSpPr>
            <a:spLocks noGrp="1"/>
          </p:cNvSpPr>
          <p:nvPr>
            <p:ph type="body" sz="quarter" idx="21" hasCustomPrompt="1"/>
          </p:nvPr>
        </p:nvSpPr>
        <p:spPr>
          <a:xfrm>
            <a:off x="8159209" y="2063289"/>
            <a:ext cx="3287643" cy="484188"/>
          </a:xfrm>
          <a:solidFill>
            <a:schemeClr val="accent1"/>
          </a:solidFill>
          <a:ln>
            <a:solidFill>
              <a:schemeClr val="accent1"/>
            </a:solidFill>
          </a:ln>
        </p:spPr>
        <p:txBody>
          <a:bodyPr lIns="180000" anchor="ctr"/>
          <a:lstStyle>
            <a:lvl1pPr>
              <a:defRPr sz="1600" b="1" i="0" cap="all" baseline="0">
                <a:solidFill>
                  <a:schemeClr val="bg2"/>
                </a:solidFill>
              </a:defRPr>
            </a:lvl1pPr>
            <a:lvl2pPr>
              <a:defRPr sz="1600" b="1" i="0" cap="all" baseline="0"/>
            </a:lvl2pPr>
            <a:lvl3pPr>
              <a:defRPr sz="1400" b="1" i="0" cap="all" baseline="0"/>
            </a:lvl3pPr>
            <a:lvl4pPr>
              <a:defRPr sz="1200" b="1" i="0" cap="all" baseline="0"/>
            </a:lvl4pPr>
            <a:lvl5pPr>
              <a:defRPr sz="1100" b="1" i="0" cap="all" baseline="0"/>
            </a:lvl5pPr>
          </a:lstStyle>
          <a:p>
            <a:pPr lvl="0"/>
            <a:r>
              <a:rPr lang="en-US"/>
              <a:t>INSERT TITLE</a:t>
            </a:r>
          </a:p>
        </p:txBody>
      </p:sp>
      <p:sp>
        <p:nvSpPr>
          <p:cNvPr id="30" name="Text Placeholder 18">
            <a:extLst>
              <a:ext uri="{FF2B5EF4-FFF2-40B4-BE49-F238E27FC236}">
                <a16:creationId xmlns:a16="http://schemas.microsoft.com/office/drawing/2014/main" id="{444CCBE6-9FAC-4E5E-94D2-73BE7D4C1893}"/>
              </a:ext>
            </a:extLst>
          </p:cNvPr>
          <p:cNvSpPr>
            <a:spLocks noGrp="1"/>
          </p:cNvSpPr>
          <p:nvPr>
            <p:ph type="body" sz="quarter" idx="22" hasCustomPrompt="1"/>
          </p:nvPr>
        </p:nvSpPr>
        <p:spPr>
          <a:xfrm>
            <a:off x="8404696" y="2780839"/>
            <a:ext cx="2894316" cy="928687"/>
          </a:xfrm>
        </p:spPr>
        <p:txBody>
          <a:bodyPr/>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31" name="Text Placeholder 18">
            <a:extLst>
              <a:ext uri="{FF2B5EF4-FFF2-40B4-BE49-F238E27FC236}">
                <a16:creationId xmlns:a16="http://schemas.microsoft.com/office/drawing/2014/main" id="{2F3FF9EA-A939-4916-9B85-C7F6489F27D1}"/>
              </a:ext>
            </a:extLst>
          </p:cNvPr>
          <p:cNvSpPr>
            <a:spLocks noGrp="1"/>
          </p:cNvSpPr>
          <p:nvPr>
            <p:ph type="body" sz="quarter" idx="23" hasCustomPrompt="1"/>
          </p:nvPr>
        </p:nvSpPr>
        <p:spPr>
          <a:xfrm>
            <a:off x="8404696" y="3709526"/>
            <a:ext cx="2894316" cy="649537"/>
          </a:xfrm>
        </p:spPr>
        <p:txBody>
          <a:bodyPr anchor="b"/>
          <a:lstStyle>
            <a:lvl1pPr>
              <a:defRPr sz="3800" b="1">
                <a:solidFill>
                  <a:schemeClr val="accent3"/>
                </a:solidFill>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050">
                <a:solidFill>
                  <a:schemeClr val="bg1"/>
                </a:solidFill>
              </a:defRPr>
            </a:lvl5pPr>
          </a:lstStyle>
          <a:p>
            <a:pPr lvl="0"/>
            <a:r>
              <a:rPr lang="en-US"/>
              <a:t>XX%</a:t>
            </a:r>
          </a:p>
        </p:txBody>
      </p:sp>
      <p:sp>
        <p:nvSpPr>
          <p:cNvPr id="32" name="Text Placeholder 18">
            <a:extLst>
              <a:ext uri="{FF2B5EF4-FFF2-40B4-BE49-F238E27FC236}">
                <a16:creationId xmlns:a16="http://schemas.microsoft.com/office/drawing/2014/main" id="{EEA02DF3-DEE1-44AC-BC59-AE57C1BB837D}"/>
              </a:ext>
            </a:extLst>
          </p:cNvPr>
          <p:cNvSpPr>
            <a:spLocks noGrp="1"/>
          </p:cNvSpPr>
          <p:nvPr>
            <p:ph type="body" sz="quarter" idx="24" hasCustomPrompt="1"/>
          </p:nvPr>
        </p:nvSpPr>
        <p:spPr>
          <a:xfrm>
            <a:off x="8404696" y="4385791"/>
            <a:ext cx="2894316" cy="649537"/>
          </a:xfrm>
        </p:spPr>
        <p:txBody>
          <a:bodyPr/>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43" name="Text Placeholder 40">
            <a:extLst>
              <a:ext uri="{FF2B5EF4-FFF2-40B4-BE49-F238E27FC236}">
                <a16:creationId xmlns:a16="http://schemas.microsoft.com/office/drawing/2014/main" id="{D57F67E6-CA01-4635-B409-8BE366406867}"/>
              </a:ext>
            </a:extLst>
          </p:cNvPr>
          <p:cNvSpPr>
            <a:spLocks noGrp="1"/>
          </p:cNvSpPr>
          <p:nvPr>
            <p:ph type="body" sz="quarter" idx="32" hasCustomPrompt="1"/>
          </p:nvPr>
        </p:nvSpPr>
        <p:spPr>
          <a:xfrm>
            <a:off x="480060" y="1203325"/>
            <a:ext cx="10897578" cy="391636"/>
          </a:xfrm>
        </p:spPr>
        <p:txBody>
          <a:bodyPr/>
          <a:lstStyle>
            <a:lvl1pPr>
              <a:defRPr>
                <a:solidFill>
                  <a:schemeClr val="accent3"/>
                </a:solidFill>
              </a:defRPr>
            </a:lvl1pPr>
          </a:lstStyle>
          <a:p>
            <a:pPr lvl="0"/>
            <a:r>
              <a:rPr lang="en-US"/>
              <a:t>Click to insert subtitle</a:t>
            </a:r>
          </a:p>
        </p:txBody>
      </p:sp>
      <p:sp>
        <p:nvSpPr>
          <p:cNvPr id="33" name="Freeform: Shape 32">
            <a:extLst>
              <a:ext uri="{FF2B5EF4-FFF2-40B4-BE49-F238E27FC236}">
                <a16:creationId xmlns:a16="http://schemas.microsoft.com/office/drawing/2014/main" id="{66BD8F58-A2A4-4DCA-8026-066439FC1A83}"/>
              </a:ext>
            </a:extLst>
          </p:cNvPr>
          <p:cNvSpPr/>
          <p:nvPr userDrawn="1"/>
        </p:nvSpPr>
        <p:spPr>
          <a:xfrm>
            <a:off x="325457" y="278027"/>
            <a:ext cx="11541086" cy="6154308"/>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dirty="0">
              <a:solidFill>
                <a:schemeClr val="tx1"/>
              </a:solidFill>
            </a:endParaRPr>
          </a:p>
        </p:txBody>
      </p:sp>
      <p:pic>
        <p:nvPicPr>
          <p:cNvPr id="34" name="Graphic 33">
            <a:extLst>
              <a:ext uri="{FF2B5EF4-FFF2-40B4-BE49-F238E27FC236}">
                <a16:creationId xmlns:a16="http://schemas.microsoft.com/office/drawing/2014/main" id="{85C0964F-5133-47F6-9992-76BF5CA400A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457" y="6551607"/>
            <a:ext cx="1852404" cy="171450"/>
          </a:xfrm>
          <a:prstGeom prst="rect">
            <a:avLst/>
          </a:prstGeom>
        </p:spPr>
      </p:pic>
      <p:sp>
        <p:nvSpPr>
          <p:cNvPr id="6" name="Footer Placeholder 5">
            <a:extLst>
              <a:ext uri="{FF2B5EF4-FFF2-40B4-BE49-F238E27FC236}">
                <a16:creationId xmlns:a16="http://schemas.microsoft.com/office/drawing/2014/main" id="{A5281EA1-B54F-49B0-87E1-857F18C3452A}"/>
              </a:ext>
            </a:extLst>
          </p:cNvPr>
          <p:cNvSpPr>
            <a:spLocks noGrp="1"/>
          </p:cNvSpPr>
          <p:nvPr>
            <p:ph type="ftr" sz="quarter" idx="34"/>
          </p:nvPr>
        </p:nvSpPr>
        <p:spPr/>
        <p:txBody>
          <a:bodyPr/>
          <a:lstStyle/>
          <a:p>
            <a:endParaRPr lang="en-US" sz="600" noProof="0" dirty="0"/>
          </a:p>
        </p:txBody>
      </p:sp>
      <p:sp>
        <p:nvSpPr>
          <p:cNvPr id="7" name="Slide Number Placeholder 6">
            <a:extLst>
              <a:ext uri="{FF2B5EF4-FFF2-40B4-BE49-F238E27FC236}">
                <a16:creationId xmlns:a16="http://schemas.microsoft.com/office/drawing/2014/main" id="{F9E9CB0B-7D71-4F4C-8070-14DF13F691F2}"/>
              </a:ext>
            </a:extLst>
          </p:cNvPr>
          <p:cNvSpPr>
            <a:spLocks noGrp="1"/>
          </p:cNvSpPr>
          <p:nvPr>
            <p:ph type="sldNum" sz="quarter" idx="35"/>
          </p:nvPr>
        </p:nvSpPr>
        <p:spPr/>
        <p:txBody>
          <a:bodyPr/>
          <a:lstStyle/>
          <a:p>
            <a:fld id="{5034EE70-12A8-400F-8E3D-398CDD8B315D}" type="slidenum">
              <a:rPr lang="en-US" smtClean="0"/>
              <a:pPr/>
              <a:t>‹#›</a:t>
            </a:fld>
            <a:endParaRPr lang="en-US" dirty="0"/>
          </a:p>
        </p:txBody>
      </p:sp>
    </p:spTree>
    <p:extLst>
      <p:ext uri="{BB962C8B-B14F-4D97-AF65-F5344CB8AC3E}">
        <p14:creationId xmlns:p14="http://schemas.microsoft.com/office/powerpoint/2010/main" val="65344123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4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0E1418-D76B-4E7B-BC2C-A4D67CDE8555}"/>
              </a:ext>
            </a:extLst>
          </p:cNvPr>
          <p:cNvSpPr>
            <a:spLocks noGrp="1"/>
          </p:cNvSpPr>
          <p:nvPr>
            <p:ph type="title" hasCustomPrompt="1"/>
          </p:nvPr>
        </p:nvSpPr>
        <p:spPr>
          <a:xfrm>
            <a:off x="480059" y="706279"/>
            <a:ext cx="10890276" cy="406241"/>
          </a:xfrm>
        </p:spPr>
        <p:txBody>
          <a:bodyPr/>
          <a:lstStyle>
            <a:lvl1pPr>
              <a:defRPr>
                <a:solidFill>
                  <a:schemeClr val="accent1"/>
                </a:solidFill>
              </a:defRPr>
            </a:lvl1pPr>
          </a:lstStyle>
          <a:p>
            <a:r>
              <a:rPr lang="en-US"/>
              <a:t>CLICK TO INSERT TITLE</a:t>
            </a:r>
          </a:p>
        </p:txBody>
      </p:sp>
      <p:sp>
        <p:nvSpPr>
          <p:cNvPr id="16" name="Text Placeholder 15">
            <a:extLst>
              <a:ext uri="{FF2B5EF4-FFF2-40B4-BE49-F238E27FC236}">
                <a16:creationId xmlns:a16="http://schemas.microsoft.com/office/drawing/2014/main" id="{592896D2-2563-4526-A7CF-457BC26ED5DE}"/>
              </a:ext>
            </a:extLst>
          </p:cNvPr>
          <p:cNvSpPr>
            <a:spLocks noGrp="1"/>
          </p:cNvSpPr>
          <p:nvPr>
            <p:ph type="body" sz="quarter" idx="13" hasCustomPrompt="1"/>
          </p:nvPr>
        </p:nvSpPr>
        <p:spPr>
          <a:xfrm>
            <a:off x="958937" y="1797808"/>
            <a:ext cx="10274124" cy="576263"/>
          </a:xfrm>
        </p:spPr>
        <p:txBody>
          <a:bodyPr/>
          <a:lstStyle>
            <a:lvl1pPr algn="ctr">
              <a:defRPr sz="1400">
                <a:solidFill>
                  <a:schemeClr val="tx2"/>
                </a:solidFill>
              </a:defRPr>
            </a:lvl1pPr>
            <a:lvl2pPr algn="ctr">
              <a:defRPr sz="1400">
                <a:solidFill>
                  <a:schemeClr val="tx2"/>
                </a:solidFill>
              </a:defRPr>
            </a:lvl2pPr>
            <a:lvl3pPr algn="ctr">
              <a:defRPr sz="1400">
                <a:solidFill>
                  <a:schemeClr val="tx2"/>
                </a:solidFill>
              </a:defRPr>
            </a:lvl3pPr>
            <a:lvl4pPr algn="ctr">
              <a:defRPr sz="1400">
                <a:solidFill>
                  <a:schemeClr val="tx2"/>
                </a:solidFill>
              </a:defRPr>
            </a:lvl4pPr>
            <a:lvl5pPr algn="ctr">
              <a:defRPr sz="140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17" name="Picture Placeholder 15">
            <a:extLst>
              <a:ext uri="{FF2B5EF4-FFF2-40B4-BE49-F238E27FC236}">
                <a16:creationId xmlns:a16="http://schemas.microsoft.com/office/drawing/2014/main" id="{B92CC22D-880B-4370-A42A-B339BB525C03}"/>
              </a:ext>
            </a:extLst>
          </p:cNvPr>
          <p:cNvSpPr>
            <a:spLocks noGrp="1"/>
          </p:cNvSpPr>
          <p:nvPr>
            <p:ph type="pic" sz="quarter" idx="25" hasCustomPrompt="1"/>
          </p:nvPr>
        </p:nvSpPr>
        <p:spPr>
          <a:xfrm>
            <a:off x="958937" y="2898666"/>
            <a:ext cx="2268401" cy="2855704"/>
          </a:xfrm>
          <a:ln>
            <a:solidFill>
              <a:schemeClr val="accent1"/>
            </a:solidFill>
            <a:miter lim="800000"/>
          </a:ln>
        </p:spPr>
        <p:txBody>
          <a:bodyPr anchor="ctr"/>
          <a:lstStyle>
            <a:lvl1pPr algn="ctr">
              <a:defRPr sz="1200">
                <a:solidFill>
                  <a:schemeClr val="accent1"/>
                </a:solidFill>
              </a:defRPr>
            </a:lvl1pPr>
          </a:lstStyle>
          <a:p>
            <a:r>
              <a:rPr lang="en-US" dirty="0"/>
              <a:t>Click to insert image</a:t>
            </a:r>
          </a:p>
        </p:txBody>
      </p:sp>
      <p:sp>
        <p:nvSpPr>
          <p:cNvPr id="18" name="Picture Placeholder 15">
            <a:extLst>
              <a:ext uri="{FF2B5EF4-FFF2-40B4-BE49-F238E27FC236}">
                <a16:creationId xmlns:a16="http://schemas.microsoft.com/office/drawing/2014/main" id="{7C6C15BC-75DC-4E28-AED8-17158D7B36F9}"/>
              </a:ext>
            </a:extLst>
          </p:cNvPr>
          <p:cNvSpPr>
            <a:spLocks noGrp="1"/>
          </p:cNvSpPr>
          <p:nvPr>
            <p:ph type="pic" sz="quarter" idx="26" hasCustomPrompt="1"/>
          </p:nvPr>
        </p:nvSpPr>
        <p:spPr>
          <a:xfrm>
            <a:off x="3627511" y="2898666"/>
            <a:ext cx="2268401" cy="2855704"/>
          </a:xfrm>
          <a:ln>
            <a:solidFill>
              <a:schemeClr val="accent1"/>
            </a:solidFill>
            <a:miter lim="800000"/>
          </a:ln>
        </p:spPr>
        <p:txBody>
          <a:bodyPr anchor="ctr"/>
          <a:lstStyle>
            <a:lvl1pPr algn="ctr">
              <a:defRPr sz="1200">
                <a:solidFill>
                  <a:schemeClr val="accent1"/>
                </a:solidFill>
              </a:defRPr>
            </a:lvl1pPr>
          </a:lstStyle>
          <a:p>
            <a:r>
              <a:rPr lang="en-US" dirty="0"/>
              <a:t>Click to insert image</a:t>
            </a:r>
          </a:p>
        </p:txBody>
      </p:sp>
      <p:sp>
        <p:nvSpPr>
          <p:cNvPr id="19" name="Picture Placeholder 15">
            <a:extLst>
              <a:ext uri="{FF2B5EF4-FFF2-40B4-BE49-F238E27FC236}">
                <a16:creationId xmlns:a16="http://schemas.microsoft.com/office/drawing/2014/main" id="{C3F83161-3CC6-4A5F-A3FB-B866A9F4B003}"/>
              </a:ext>
            </a:extLst>
          </p:cNvPr>
          <p:cNvSpPr>
            <a:spLocks noGrp="1"/>
          </p:cNvSpPr>
          <p:nvPr>
            <p:ph type="pic" sz="quarter" idx="27" hasCustomPrompt="1"/>
          </p:nvPr>
        </p:nvSpPr>
        <p:spPr>
          <a:xfrm>
            <a:off x="6296085" y="2898666"/>
            <a:ext cx="2268401" cy="2855704"/>
          </a:xfrm>
          <a:ln>
            <a:solidFill>
              <a:schemeClr val="accent1"/>
            </a:solidFill>
            <a:miter lim="800000"/>
          </a:ln>
        </p:spPr>
        <p:txBody>
          <a:bodyPr anchor="ctr"/>
          <a:lstStyle>
            <a:lvl1pPr algn="ctr">
              <a:defRPr sz="1200">
                <a:solidFill>
                  <a:schemeClr val="accent1"/>
                </a:solidFill>
              </a:defRPr>
            </a:lvl1pPr>
          </a:lstStyle>
          <a:p>
            <a:r>
              <a:rPr lang="en-US" dirty="0"/>
              <a:t>Click to insert image</a:t>
            </a:r>
          </a:p>
        </p:txBody>
      </p:sp>
      <p:sp>
        <p:nvSpPr>
          <p:cNvPr id="20" name="Picture Placeholder 15">
            <a:extLst>
              <a:ext uri="{FF2B5EF4-FFF2-40B4-BE49-F238E27FC236}">
                <a16:creationId xmlns:a16="http://schemas.microsoft.com/office/drawing/2014/main" id="{DB62DA2A-F58F-4063-8615-D4FEEDD02A45}"/>
              </a:ext>
            </a:extLst>
          </p:cNvPr>
          <p:cNvSpPr>
            <a:spLocks noGrp="1"/>
          </p:cNvSpPr>
          <p:nvPr>
            <p:ph type="pic" sz="quarter" idx="28" hasCustomPrompt="1"/>
          </p:nvPr>
        </p:nvSpPr>
        <p:spPr>
          <a:xfrm>
            <a:off x="8964659" y="2898666"/>
            <a:ext cx="2268401" cy="2855704"/>
          </a:xfrm>
          <a:ln>
            <a:solidFill>
              <a:schemeClr val="accent1"/>
            </a:solidFill>
            <a:miter lim="800000"/>
          </a:ln>
        </p:spPr>
        <p:txBody>
          <a:bodyPr anchor="ctr"/>
          <a:lstStyle>
            <a:lvl1pPr algn="ctr">
              <a:defRPr sz="1200">
                <a:solidFill>
                  <a:schemeClr val="accent1"/>
                </a:solidFill>
              </a:defRPr>
            </a:lvl1pPr>
          </a:lstStyle>
          <a:p>
            <a:r>
              <a:rPr lang="en-US" dirty="0"/>
              <a:t>Click to insert image</a:t>
            </a:r>
          </a:p>
        </p:txBody>
      </p:sp>
      <p:sp>
        <p:nvSpPr>
          <p:cNvPr id="49" name="Text Placeholder 40">
            <a:extLst>
              <a:ext uri="{FF2B5EF4-FFF2-40B4-BE49-F238E27FC236}">
                <a16:creationId xmlns:a16="http://schemas.microsoft.com/office/drawing/2014/main" id="{A13AF255-3BBF-4C4E-ACB2-1DFE25E6D099}"/>
              </a:ext>
            </a:extLst>
          </p:cNvPr>
          <p:cNvSpPr>
            <a:spLocks noGrp="1"/>
          </p:cNvSpPr>
          <p:nvPr>
            <p:ph type="body" sz="quarter" idx="19" hasCustomPrompt="1"/>
          </p:nvPr>
        </p:nvSpPr>
        <p:spPr>
          <a:xfrm>
            <a:off x="480059" y="1203325"/>
            <a:ext cx="10890276" cy="391636"/>
          </a:xfrm>
        </p:spPr>
        <p:txBody>
          <a:bodyPr/>
          <a:lstStyle>
            <a:lvl1pPr>
              <a:defRPr>
                <a:solidFill>
                  <a:schemeClr val="accent3"/>
                </a:solidFill>
              </a:defRPr>
            </a:lvl1pPr>
          </a:lstStyle>
          <a:p>
            <a:pPr lvl="0"/>
            <a:r>
              <a:rPr lang="en-US"/>
              <a:t>Click to insert subtitle</a:t>
            </a:r>
          </a:p>
        </p:txBody>
      </p:sp>
      <p:sp>
        <p:nvSpPr>
          <p:cNvPr id="15" name="Freeform: Shape 14">
            <a:extLst>
              <a:ext uri="{FF2B5EF4-FFF2-40B4-BE49-F238E27FC236}">
                <a16:creationId xmlns:a16="http://schemas.microsoft.com/office/drawing/2014/main" id="{0144FF51-C8F5-4198-B59D-B950DEC88931}"/>
              </a:ext>
            </a:extLst>
          </p:cNvPr>
          <p:cNvSpPr/>
          <p:nvPr userDrawn="1"/>
        </p:nvSpPr>
        <p:spPr>
          <a:xfrm>
            <a:off x="325457" y="278027"/>
            <a:ext cx="11541086" cy="6154308"/>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dirty="0">
              <a:solidFill>
                <a:schemeClr val="tx1"/>
              </a:solidFill>
            </a:endParaRPr>
          </a:p>
        </p:txBody>
      </p:sp>
      <p:pic>
        <p:nvPicPr>
          <p:cNvPr id="21" name="Graphic 20">
            <a:extLst>
              <a:ext uri="{FF2B5EF4-FFF2-40B4-BE49-F238E27FC236}">
                <a16:creationId xmlns:a16="http://schemas.microsoft.com/office/drawing/2014/main" id="{2F929534-67AC-4EBC-8F9E-10B9723C4E6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457" y="6551607"/>
            <a:ext cx="1852404" cy="171450"/>
          </a:xfrm>
          <a:prstGeom prst="rect">
            <a:avLst/>
          </a:prstGeom>
        </p:spPr>
      </p:pic>
      <p:sp>
        <p:nvSpPr>
          <p:cNvPr id="6" name="Footer Placeholder 5">
            <a:extLst>
              <a:ext uri="{FF2B5EF4-FFF2-40B4-BE49-F238E27FC236}">
                <a16:creationId xmlns:a16="http://schemas.microsoft.com/office/drawing/2014/main" id="{FE82F654-D418-4BF3-AFCF-9F69782BDDD2}"/>
              </a:ext>
            </a:extLst>
          </p:cNvPr>
          <p:cNvSpPr>
            <a:spLocks noGrp="1"/>
          </p:cNvSpPr>
          <p:nvPr>
            <p:ph type="ftr" sz="quarter" idx="30"/>
          </p:nvPr>
        </p:nvSpPr>
        <p:spPr/>
        <p:txBody>
          <a:bodyPr/>
          <a:lstStyle/>
          <a:p>
            <a:endParaRPr lang="en-US" sz="600" noProof="0" dirty="0"/>
          </a:p>
        </p:txBody>
      </p:sp>
      <p:sp>
        <p:nvSpPr>
          <p:cNvPr id="7" name="Slide Number Placeholder 6">
            <a:extLst>
              <a:ext uri="{FF2B5EF4-FFF2-40B4-BE49-F238E27FC236}">
                <a16:creationId xmlns:a16="http://schemas.microsoft.com/office/drawing/2014/main" id="{AC52467C-D023-426A-8180-14BF12D2DB7D}"/>
              </a:ext>
            </a:extLst>
          </p:cNvPr>
          <p:cNvSpPr>
            <a:spLocks noGrp="1"/>
          </p:cNvSpPr>
          <p:nvPr>
            <p:ph type="sldNum" sz="quarter" idx="31"/>
          </p:nvPr>
        </p:nvSpPr>
        <p:spPr/>
        <p:txBody>
          <a:bodyPr/>
          <a:lstStyle/>
          <a:p>
            <a:fld id="{5034EE70-12A8-400F-8E3D-398CDD8B315D}" type="slidenum">
              <a:rPr lang="en-US" smtClean="0"/>
              <a:pPr/>
              <a:t>‹#›</a:t>
            </a:fld>
            <a:endParaRPr lang="en-US" dirty="0"/>
          </a:p>
        </p:txBody>
      </p:sp>
    </p:spTree>
    <p:extLst>
      <p:ext uri="{BB962C8B-B14F-4D97-AF65-F5344CB8AC3E}">
        <p14:creationId xmlns:p14="http://schemas.microsoft.com/office/powerpoint/2010/main" val="148625598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Multi Point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08977D8-C536-4253-982B-43DD39FFEA58}"/>
              </a:ext>
            </a:extLst>
          </p:cNvPr>
          <p:cNvSpPr>
            <a:spLocks/>
          </p:cNvSpPr>
          <p:nvPr userDrawn="1"/>
        </p:nvSpPr>
        <p:spPr>
          <a:xfrm>
            <a:off x="4926010" y="3355974"/>
            <a:ext cx="6940534" cy="3076361"/>
          </a:xfrm>
          <a:prstGeom prst="rect">
            <a:avLst/>
          </a:prstGeom>
          <a:solidFill>
            <a:srgbClr val="F2F2F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600"/>
              </a:spcAft>
            </a:pPr>
            <a:endParaRPr lang="en-US" sz="2000" dirty="0">
              <a:solidFill>
                <a:schemeClr val="tx1"/>
              </a:solidFill>
            </a:endParaRPr>
          </a:p>
        </p:txBody>
      </p:sp>
      <p:sp>
        <p:nvSpPr>
          <p:cNvPr id="22" name="Rectangle 21">
            <a:extLst>
              <a:ext uri="{FF2B5EF4-FFF2-40B4-BE49-F238E27FC236}">
                <a16:creationId xmlns:a16="http://schemas.microsoft.com/office/drawing/2014/main" id="{C8FD5092-1B77-4702-A335-6FDEFFC2F54A}"/>
              </a:ext>
            </a:extLst>
          </p:cNvPr>
          <p:cNvSpPr/>
          <p:nvPr userDrawn="1"/>
        </p:nvSpPr>
        <p:spPr>
          <a:xfrm>
            <a:off x="4926010" y="2869566"/>
            <a:ext cx="6940534" cy="490378"/>
          </a:xfrm>
          <a:prstGeom prst="rect">
            <a:avLst/>
          </a:prstGeom>
          <a:solidFill>
            <a:schemeClr val="accent3"/>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600"/>
              </a:spcAft>
            </a:pPr>
            <a:endParaRPr lang="en-US" sz="2000" dirty="0">
              <a:solidFill>
                <a:schemeClr val="bg1"/>
              </a:solidFill>
            </a:endParaRPr>
          </a:p>
        </p:txBody>
      </p:sp>
      <p:sp>
        <p:nvSpPr>
          <p:cNvPr id="59" name="Text Placeholder 40">
            <a:extLst>
              <a:ext uri="{FF2B5EF4-FFF2-40B4-BE49-F238E27FC236}">
                <a16:creationId xmlns:a16="http://schemas.microsoft.com/office/drawing/2014/main" id="{DBBAB082-A2CD-46E2-B5D8-1FBF9762E76F}"/>
              </a:ext>
            </a:extLst>
          </p:cNvPr>
          <p:cNvSpPr>
            <a:spLocks noGrp="1"/>
          </p:cNvSpPr>
          <p:nvPr>
            <p:ph type="body" sz="quarter" idx="26" hasCustomPrompt="1"/>
          </p:nvPr>
        </p:nvSpPr>
        <p:spPr>
          <a:xfrm>
            <a:off x="480059" y="1203325"/>
            <a:ext cx="3962401" cy="391636"/>
          </a:xfrm>
        </p:spPr>
        <p:txBody>
          <a:bodyPr/>
          <a:lstStyle>
            <a:lvl1pPr>
              <a:defRPr>
                <a:solidFill>
                  <a:schemeClr val="accent3"/>
                </a:solidFill>
              </a:defRPr>
            </a:lvl1pPr>
          </a:lstStyle>
          <a:p>
            <a:pPr lvl="0"/>
            <a:r>
              <a:rPr lang="en-US"/>
              <a:t>Click to insert subtitle</a:t>
            </a:r>
          </a:p>
        </p:txBody>
      </p:sp>
      <p:sp>
        <p:nvSpPr>
          <p:cNvPr id="2" name="Title 1">
            <a:extLst>
              <a:ext uri="{FF2B5EF4-FFF2-40B4-BE49-F238E27FC236}">
                <a16:creationId xmlns:a16="http://schemas.microsoft.com/office/drawing/2014/main" id="{BC0E1418-D76B-4E7B-BC2C-A4D67CDE8555}"/>
              </a:ext>
            </a:extLst>
          </p:cNvPr>
          <p:cNvSpPr>
            <a:spLocks noGrp="1"/>
          </p:cNvSpPr>
          <p:nvPr>
            <p:ph type="title" hasCustomPrompt="1"/>
          </p:nvPr>
        </p:nvSpPr>
        <p:spPr>
          <a:xfrm>
            <a:off x="480059" y="706279"/>
            <a:ext cx="3962401" cy="406241"/>
          </a:xfrm>
        </p:spPr>
        <p:txBody>
          <a:bodyPr/>
          <a:lstStyle>
            <a:lvl1pPr>
              <a:defRPr>
                <a:solidFill>
                  <a:schemeClr val="accent1"/>
                </a:solidFill>
              </a:defRPr>
            </a:lvl1pPr>
          </a:lstStyle>
          <a:p>
            <a:r>
              <a:rPr lang="en-US"/>
              <a:t>CLICK TO INSERT TITLE</a:t>
            </a:r>
          </a:p>
        </p:txBody>
      </p:sp>
      <p:sp>
        <p:nvSpPr>
          <p:cNvPr id="19" name="Text Placeholder 18">
            <a:extLst>
              <a:ext uri="{FF2B5EF4-FFF2-40B4-BE49-F238E27FC236}">
                <a16:creationId xmlns:a16="http://schemas.microsoft.com/office/drawing/2014/main" id="{A28BEC20-9DBE-4F97-AE50-54E52CBEEB5A}"/>
              </a:ext>
            </a:extLst>
          </p:cNvPr>
          <p:cNvSpPr>
            <a:spLocks noGrp="1"/>
          </p:cNvSpPr>
          <p:nvPr>
            <p:ph type="body" sz="quarter" idx="13" hasCustomPrompt="1"/>
          </p:nvPr>
        </p:nvSpPr>
        <p:spPr>
          <a:xfrm>
            <a:off x="477231" y="2269067"/>
            <a:ext cx="3965230" cy="3727873"/>
          </a:xfrm>
        </p:spPr>
        <p:txBody>
          <a:bodyPr/>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27" name="Text Placeholder 26">
            <a:extLst>
              <a:ext uri="{FF2B5EF4-FFF2-40B4-BE49-F238E27FC236}">
                <a16:creationId xmlns:a16="http://schemas.microsoft.com/office/drawing/2014/main" id="{ACE8733C-5566-4500-8713-57B971D60F0F}"/>
              </a:ext>
            </a:extLst>
          </p:cNvPr>
          <p:cNvSpPr>
            <a:spLocks noGrp="1"/>
          </p:cNvSpPr>
          <p:nvPr>
            <p:ph type="body" sz="quarter" idx="15" hasCustomPrompt="1"/>
          </p:nvPr>
        </p:nvSpPr>
        <p:spPr>
          <a:xfrm>
            <a:off x="5073650" y="2864804"/>
            <a:ext cx="5784850" cy="491172"/>
          </a:xfrm>
        </p:spPr>
        <p:txBody>
          <a:bodyPr anchor="ctr"/>
          <a:lstStyle>
            <a:lvl1pPr>
              <a:defRPr sz="1400" b="1">
                <a:solidFill>
                  <a:schemeClr val="bg1"/>
                </a:solidFill>
              </a:defRPr>
            </a:lvl1pPr>
            <a:lvl2pPr>
              <a:defRPr sz="1400">
                <a:solidFill>
                  <a:schemeClr val="tx1"/>
                </a:solidFill>
              </a:defRPr>
            </a:lvl2pPr>
            <a:lvl3pPr>
              <a:defRPr sz="1200">
                <a:solidFill>
                  <a:schemeClr val="tx1"/>
                </a:solidFill>
              </a:defRPr>
            </a:lvl3pPr>
            <a:lvl4pPr>
              <a:defRPr sz="1100">
                <a:solidFill>
                  <a:schemeClr val="tx1"/>
                </a:solidFill>
              </a:defRPr>
            </a:lvl4pPr>
            <a:lvl5pPr>
              <a:defRPr sz="1050">
                <a:solidFill>
                  <a:schemeClr val="tx1"/>
                </a:solidFill>
              </a:defRPr>
            </a:lvl5pPr>
          </a:lstStyle>
          <a:p>
            <a:pPr lvl="0"/>
            <a:r>
              <a:rPr lang="en-US"/>
              <a:t>Click to insert text</a:t>
            </a:r>
          </a:p>
        </p:txBody>
      </p:sp>
      <p:sp>
        <p:nvSpPr>
          <p:cNvPr id="29" name="Text Placeholder 28">
            <a:extLst>
              <a:ext uri="{FF2B5EF4-FFF2-40B4-BE49-F238E27FC236}">
                <a16:creationId xmlns:a16="http://schemas.microsoft.com/office/drawing/2014/main" id="{239B859F-ED94-448D-8BF5-ABECE9218C80}"/>
              </a:ext>
            </a:extLst>
          </p:cNvPr>
          <p:cNvSpPr>
            <a:spLocks noGrp="1"/>
          </p:cNvSpPr>
          <p:nvPr>
            <p:ph type="body" sz="quarter" idx="16" hasCustomPrompt="1"/>
          </p:nvPr>
        </p:nvSpPr>
        <p:spPr>
          <a:xfrm>
            <a:off x="5073649" y="3902869"/>
            <a:ext cx="2001379" cy="447675"/>
          </a:xfrm>
        </p:spPr>
        <p:txBody>
          <a:bodyPr anchor="b"/>
          <a:lstStyle>
            <a:lvl1pPr>
              <a:defRPr sz="1400" b="1">
                <a:solidFill>
                  <a:schemeClr val="tx2"/>
                </a:solidFill>
              </a:defRPr>
            </a:lvl1pPr>
            <a:lvl2pPr>
              <a:defRPr sz="1400" b="1">
                <a:solidFill>
                  <a:schemeClr val="tx2"/>
                </a:solidFill>
              </a:defRPr>
            </a:lvl2pPr>
            <a:lvl3pPr>
              <a:defRPr sz="1400" b="1">
                <a:solidFill>
                  <a:schemeClr val="tx2"/>
                </a:solidFill>
              </a:defRPr>
            </a:lvl3pPr>
            <a:lvl4pPr>
              <a:defRPr sz="1400" b="1">
                <a:solidFill>
                  <a:schemeClr val="tx2"/>
                </a:solidFill>
              </a:defRPr>
            </a:lvl4pPr>
            <a:lvl5pPr>
              <a:defRPr sz="1400" b="1">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31" name="Text Placeholder 30">
            <a:extLst>
              <a:ext uri="{FF2B5EF4-FFF2-40B4-BE49-F238E27FC236}">
                <a16:creationId xmlns:a16="http://schemas.microsoft.com/office/drawing/2014/main" id="{0B2AB5CE-E6B5-44AF-8F31-398F665887E7}"/>
              </a:ext>
            </a:extLst>
          </p:cNvPr>
          <p:cNvSpPr>
            <a:spLocks noGrp="1"/>
          </p:cNvSpPr>
          <p:nvPr>
            <p:ph type="body" sz="quarter" idx="17" hasCustomPrompt="1"/>
          </p:nvPr>
        </p:nvSpPr>
        <p:spPr>
          <a:xfrm>
            <a:off x="5073650" y="4387851"/>
            <a:ext cx="2001380" cy="1047750"/>
          </a:xfrm>
        </p:spPr>
        <p:txBody>
          <a:bodyPr/>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32" name="Text Placeholder 28">
            <a:extLst>
              <a:ext uri="{FF2B5EF4-FFF2-40B4-BE49-F238E27FC236}">
                <a16:creationId xmlns:a16="http://schemas.microsoft.com/office/drawing/2014/main" id="{54CA78B8-DA88-4EB7-953F-781391559FC0}"/>
              </a:ext>
            </a:extLst>
          </p:cNvPr>
          <p:cNvSpPr>
            <a:spLocks noGrp="1"/>
          </p:cNvSpPr>
          <p:nvPr>
            <p:ph type="body" sz="quarter" idx="18" hasCustomPrompt="1"/>
          </p:nvPr>
        </p:nvSpPr>
        <p:spPr>
          <a:xfrm>
            <a:off x="7402111" y="3902869"/>
            <a:ext cx="2001379" cy="447675"/>
          </a:xfrm>
        </p:spPr>
        <p:txBody>
          <a:bodyPr anchor="b"/>
          <a:lstStyle>
            <a:lvl1pPr>
              <a:defRPr sz="1400" b="1">
                <a:solidFill>
                  <a:schemeClr val="tx2"/>
                </a:solidFill>
              </a:defRPr>
            </a:lvl1pPr>
            <a:lvl2pPr>
              <a:defRPr sz="1400" b="1">
                <a:solidFill>
                  <a:schemeClr val="tx2"/>
                </a:solidFill>
              </a:defRPr>
            </a:lvl2pPr>
            <a:lvl3pPr>
              <a:defRPr sz="1400" b="1">
                <a:solidFill>
                  <a:schemeClr val="tx2"/>
                </a:solidFill>
              </a:defRPr>
            </a:lvl3pPr>
            <a:lvl4pPr>
              <a:defRPr sz="1400" b="1">
                <a:solidFill>
                  <a:schemeClr val="tx2"/>
                </a:solidFill>
              </a:defRPr>
            </a:lvl4pPr>
            <a:lvl5pPr>
              <a:defRPr sz="1400" b="1">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33" name="Text Placeholder 30">
            <a:extLst>
              <a:ext uri="{FF2B5EF4-FFF2-40B4-BE49-F238E27FC236}">
                <a16:creationId xmlns:a16="http://schemas.microsoft.com/office/drawing/2014/main" id="{FAD792CE-7C2E-49F9-B8CB-BBEE6FD9C800}"/>
              </a:ext>
            </a:extLst>
          </p:cNvPr>
          <p:cNvSpPr>
            <a:spLocks noGrp="1"/>
          </p:cNvSpPr>
          <p:nvPr>
            <p:ph type="body" sz="quarter" idx="19" hasCustomPrompt="1"/>
          </p:nvPr>
        </p:nvSpPr>
        <p:spPr>
          <a:xfrm>
            <a:off x="7402112" y="4387851"/>
            <a:ext cx="2001380" cy="1047750"/>
          </a:xfrm>
        </p:spPr>
        <p:txBody>
          <a:bodyPr/>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34" name="Text Placeholder 28">
            <a:extLst>
              <a:ext uri="{FF2B5EF4-FFF2-40B4-BE49-F238E27FC236}">
                <a16:creationId xmlns:a16="http://schemas.microsoft.com/office/drawing/2014/main" id="{A4EAB2F0-58E9-4FF1-B4DE-63FEC55AFCE9}"/>
              </a:ext>
            </a:extLst>
          </p:cNvPr>
          <p:cNvSpPr>
            <a:spLocks noGrp="1"/>
          </p:cNvSpPr>
          <p:nvPr>
            <p:ph type="body" sz="quarter" idx="20" hasCustomPrompt="1"/>
          </p:nvPr>
        </p:nvSpPr>
        <p:spPr>
          <a:xfrm>
            <a:off x="9730579" y="3902869"/>
            <a:ext cx="2001379" cy="447675"/>
          </a:xfrm>
        </p:spPr>
        <p:txBody>
          <a:bodyPr anchor="b"/>
          <a:lstStyle>
            <a:lvl1pPr>
              <a:defRPr sz="1400" b="1">
                <a:solidFill>
                  <a:schemeClr val="tx2"/>
                </a:solidFill>
              </a:defRPr>
            </a:lvl1pPr>
            <a:lvl2pPr>
              <a:defRPr sz="1400" b="1">
                <a:solidFill>
                  <a:schemeClr val="tx2"/>
                </a:solidFill>
              </a:defRPr>
            </a:lvl2pPr>
            <a:lvl3pPr>
              <a:defRPr sz="1400" b="1">
                <a:solidFill>
                  <a:schemeClr val="tx2"/>
                </a:solidFill>
              </a:defRPr>
            </a:lvl3pPr>
            <a:lvl4pPr>
              <a:defRPr sz="1400" b="1">
                <a:solidFill>
                  <a:schemeClr val="tx2"/>
                </a:solidFill>
              </a:defRPr>
            </a:lvl4pPr>
            <a:lvl5pPr>
              <a:defRPr sz="1400" b="1">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35" name="Text Placeholder 30">
            <a:extLst>
              <a:ext uri="{FF2B5EF4-FFF2-40B4-BE49-F238E27FC236}">
                <a16:creationId xmlns:a16="http://schemas.microsoft.com/office/drawing/2014/main" id="{7A7A0BB9-040D-4293-8D5A-C788526504F9}"/>
              </a:ext>
            </a:extLst>
          </p:cNvPr>
          <p:cNvSpPr>
            <a:spLocks noGrp="1"/>
          </p:cNvSpPr>
          <p:nvPr>
            <p:ph type="body" sz="quarter" idx="21" hasCustomPrompt="1"/>
          </p:nvPr>
        </p:nvSpPr>
        <p:spPr>
          <a:xfrm>
            <a:off x="9730580" y="4387851"/>
            <a:ext cx="2001380" cy="1047750"/>
          </a:xfrm>
        </p:spPr>
        <p:txBody>
          <a:bodyPr/>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37" name="Picture Placeholder 36">
            <a:extLst>
              <a:ext uri="{FF2B5EF4-FFF2-40B4-BE49-F238E27FC236}">
                <a16:creationId xmlns:a16="http://schemas.microsoft.com/office/drawing/2014/main" id="{C40DC150-F197-4257-81C2-5D4C5D7D8005}"/>
              </a:ext>
            </a:extLst>
          </p:cNvPr>
          <p:cNvSpPr>
            <a:spLocks noGrp="1"/>
          </p:cNvSpPr>
          <p:nvPr>
            <p:ph type="pic" sz="quarter" idx="27" hasCustomPrompt="1"/>
          </p:nvPr>
        </p:nvSpPr>
        <p:spPr>
          <a:xfrm>
            <a:off x="4920695" y="285170"/>
            <a:ext cx="6941086" cy="2504289"/>
          </a:xfrm>
          <a:custGeom>
            <a:avLst/>
            <a:gdLst>
              <a:gd name="connsiteX0" fmla="*/ 1104 w 7042705"/>
              <a:gd name="connsiteY0" fmla="*/ 0 h 2540952"/>
              <a:gd name="connsiteX1" fmla="*/ 3895268 w 7042705"/>
              <a:gd name="connsiteY1" fmla="*/ 0 h 2540952"/>
              <a:gd name="connsiteX2" fmla="*/ 3895268 w 7042705"/>
              <a:gd name="connsiteY2" fmla="*/ 1 h 2540952"/>
              <a:gd name="connsiteX3" fmla="*/ 6478900 w 7042705"/>
              <a:gd name="connsiteY3" fmla="*/ 1 h 2540952"/>
              <a:gd name="connsiteX4" fmla="*/ 7042705 w 7042705"/>
              <a:gd name="connsiteY4" fmla="*/ 563197 h 2540952"/>
              <a:gd name="connsiteX5" fmla="*/ 7042705 w 7042705"/>
              <a:gd name="connsiteY5" fmla="*/ 2415382 h 2540952"/>
              <a:gd name="connsiteX6" fmla="*/ 7042153 w 7042705"/>
              <a:gd name="connsiteY6" fmla="*/ 2415382 h 2540952"/>
              <a:gd name="connsiteX7" fmla="*/ 7042153 w 7042705"/>
              <a:gd name="connsiteY7" fmla="*/ 2540952 h 2540952"/>
              <a:gd name="connsiteX8" fmla="*/ 0 w 7042705"/>
              <a:gd name="connsiteY8" fmla="*/ 2540952 h 2540952"/>
              <a:gd name="connsiteX9" fmla="*/ 0 w 7042705"/>
              <a:gd name="connsiteY9" fmla="*/ 2190749 h 2540952"/>
              <a:gd name="connsiteX10" fmla="*/ 1104 w 7042705"/>
              <a:gd name="connsiteY10" fmla="*/ 2190749 h 2540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42705" h="2540952">
                <a:moveTo>
                  <a:pt x="1104" y="0"/>
                </a:moveTo>
                <a:lnTo>
                  <a:pt x="3895268" y="0"/>
                </a:lnTo>
                <a:lnTo>
                  <a:pt x="3895268" y="1"/>
                </a:lnTo>
                <a:lnTo>
                  <a:pt x="6478900" y="1"/>
                </a:lnTo>
                <a:lnTo>
                  <a:pt x="7042705" y="563197"/>
                </a:lnTo>
                <a:lnTo>
                  <a:pt x="7042705" y="2415382"/>
                </a:lnTo>
                <a:lnTo>
                  <a:pt x="7042153" y="2415382"/>
                </a:lnTo>
                <a:lnTo>
                  <a:pt x="7042153" y="2540952"/>
                </a:lnTo>
                <a:lnTo>
                  <a:pt x="0" y="2540952"/>
                </a:lnTo>
                <a:lnTo>
                  <a:pt x="0" y="2190749"/>
                </a:lnTo>
                <a:lnTo>
                  <a:pt x="1104" y="2190749"/>
                </a:lnTo>
                <a:close/>
              </a:path>
            </a:pathLst>
          </a:custGeom>
          <a:ln>
            <a:solidFill>
              <a:schemeClr val="accent1"/>
            </a:solidFill>
          </a:ln>
        </p:spPr>
        <p:txBody>
          <a:bodyPr wrap="square" anchor="ctr">
            <a:noAutofit/>
          </a:bodyPr>
          <a:lstStyle>
            <a:lvl1pPr algn="ctr">
              <a:defRPr sz="1200"/>
            </a:lvl1pPr>
          </a:lstStyle>
          <a:p>
            <a:r>
              <a:rPr lang="en-US" dirty="0"/>
              <a:t>Click to insert image</a:t>
            </a:r>
          </a:p>
        </p:txBody>
      </p:sp>
      <p:sp>
        <p:nvSpPr>
          <p:cNvPr id="21" name="Freeform: Shape 20">
            <a:extLst>
              <a:ext uri="{FF2B5EF4-FFF2-40B4-BE49-F238E27FC236}">
                <a16:creationId xmlns:a16="http://schemas.microsoft.com/office/drawing/2014/main" id="{D779E1D6-ECCF-4244-9A30-6A029663D5FD}"/>
              </a:ext>
            </a:extLst>
          </p:cNvPr>
          <p:cNvSpPr/>
          <p:nvPr userDrawn="1"/>
        </p:nvSpPr>
        <p:spPr>
          <a:xfrm>
            <a:off x="325457" y="278027"/>
            <a:ext cx="11541086" cy="6154308"/>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dirty="0">
              <a:solidFill>
                <a:schemeClr val="tx1"/>
              </a:solidFill>
            </a:endParaRPr>
          </a:p>
        </p:txBody>
      </p:sp>
      <p:pic>
        <p:nvPicPr>
          <p:cNvPr id="24" name="Graphic 23">
            <a:extLst>
              <a:ext uri="{FF2B5EF4-FFF2-40B4-BE49-F238E27FC236}">
                <a16:creationId xmlns:a16="http://schemas.microsoft.com/office/drawing/2014/main" id="{802F90C1-1174-4470-B603-7D6FAE19B6B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457" y="6551607"/>
            <a:ext cx="1852404" cy="171450"/>
          </a:xfrm>
          <a:prstGeom prst="rect">
            <a:avLst/>
          </a:prstGeom>
        </p:spPr>
      </p:pic>
      <p:sp>
        <p:nvSpPr>
          <p:cNvPr id="6" name="Footer Placeholder 5">
            <a:extLst>
              <a:ext uri="{FF2B5EF4-FFF2-40B4-BE49-F238E27FC236}">
                <a16:creationId xmlns:a16="http://schemas.microsoft.com/office/drawing/2014/main" id="{21A43A70-B0E2-490A-B2F5-3CF5C5C0BCC2}"/>
              </a:ext>
            </a:extLst>
          </p:cNvPr>
          <p:cNvSpPr>
            <a:spLocks noGrp="1"/>
          </p:cNvSpPr>
          <p:nvPr>
            <p:ph type="ftr" sz="quarter" idx="29"/>
          </p:nvPr>
        </p:nvSpPr>
        <p:spPr/>
        <p:txBody>
          <a:bodyPr/>
          <a:lstStyle/>
          <a:p>
            <a:endParaRPr lang="en-US" sz="600" noProof="0" dirty="0"/>
          </a:p>
        </p:txBody>
      </p:sp>
      <p:sp>
        <p:nvSpPr>
          <p:cNvPr id="7" name="Slide Number Placeholder 6">
            <a:extLst>
              <a:ext uri="{FF2B5EF4-FFF2-40B4-BE49-F238E27FC236}">
                <a16:creationId xmlns:a16="http://schemas.microsoft.com/office/drawing/2014/main" id="{F0ABF2D3-B6F3-430E-81C4-06FC11F53ABF}"/>
              </a:ext>
            </a:extLst>
          </p:cNvPr>
          <p:cNvSpPr>
            <a:spLocks noGrp="1"/>
          </p:cNvSpPr>
          <p:nvPr>
            <p:ph type="sldNum" sz="quarter" idx="30"/>
          </p:nvPr>
        </p:nvSpPr>
        <p:spPr/>
        <p:txBody>
          <a:bodyPr/>
          <a:lstStyle/>
          <a:p>
            <a:fld id="{5034EE70-12A8-400F-8E3D-398CDD8B315D}" type="slidenum">
              <a:rPr lang="en-US" smtClean="0"/>
              <a:pPr/>
              <a:t>‹#›</a:t>
            </a:fld>
            <a:endParaRPr lang="en-US" dirty="0"/>
          </a:p>
        </p:txBody>
      </p:sp>
    </p:spTree>
    <p:extLst>
      <p:ext uri="{BB962C8B-B14F-4D97-AF65-F5344CB8AC3E}">
        <p14:creationId xmlns:p14="http://schemas.microsoft.com/office/powerpoint/2010/main" val="320451061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ext Panel Left">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B7D71990-518F-4E31-95AE-19C6EB25112C}"/>
              </a:ext>
            </a:extLst>
          </p:cNvPr>
          <p:cNvSpPr/>
          <p:nvPr userDrawn="1"/>
        </p:nvSpPr>
        <p:spPr>
          <a:xfrm>
            <a:off x="419677" y="429299"/>
            <a:ext cx="7142594" cy="14055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600"/>
              </a:spcAft>
            </a:pPr>
            <a:endParaRPr lang="en-US" sz="2000" dirty="0">
              <a:solidFill>
                <a:schemeClr val="tx1"/>
              </a:solidFill>
            </a:endParaRPr>
          </a:p>
        </p:txBody>
      </p:sp>
      <p:sp>
        <p:nvSpPr>
          <p:cNvPr id="64" name="Text Placeholder 40">
            <a:extLst>
              <a:ext uri="{FF2B5EF4-FFF2-40B4-BE49-F238E27FC236}">
                <a16:creationId xmlns:a16="http://schemas.microsoft.com/office/drawing/2014/main" id="{94A67CDE-CF24-4AFC-BDCC-0495D94CA15E}"/>
              </a:ext>
            </a:extLst>
          </p:cNvPr>
          <p:cNvSpPr>
            <a:spLocks noGrp="1"/>
          </p:cNvSpPr>
          <p:nvPr>
            <p:ph type="body" sz="quarter" idx="19" hasCustomPrompt="1"/>
          </p:nvPr>
        </p:nvSpPr>
        <p:spPr>
          <a:xfrm>
            <a:off x="480059" y="1053206"/>
            <a:ext cx="6884987" cy="655955"/>
          </a:xfrm>
        </p:spPr>
        <p:txBody>
          <a:bodyPr/>
          <a:lstStyle>
            <a:lvl1pPr>
              <a:defRPr sz="1400">
                <a:solidFill>
                  <a:schemeClr val="bg1"/>
                </a:solidFill>
              </a:defRPr>
            </a:lvl1pPr>
          </a:lstStyle>
          <a:p>
            <a:pPr lvl="0"/>
            <a:r>
              <a:rPr lang="en-US"/>
              <a:t>Click to insert text</a:t>
            </a:r>
          </a:p>
        </p:txBody>
      </p:sp>
      <p:sp>
        <p:nvSpPr>
          <p:cNvPr id="2" name="Title 1">
            <a:extLst>
              <a:ext uri="{FF2B5EF4-FFF2-40B4-BE49-F238E27FC236}">
                <a16:creationId xmlns:a16="http://schemas.microsoft.com/office/drawing/2014/main" id="{BC0E1418-D76B-4E7B-BC2C-A4D67CDE8555}"/>
              </a:ext>
            </a:extLst>
          </p:cNvPr>
          <p:cNvSpPr>
            <a:spLocks noGrp="1"/>
          </p:cNvSpPr>
          <p:nvPr>
            <p:ph type="title" hasCustomPrompt="1"/>
          </p:nvPr>
        </p:nvSpPr>
        <p:spPr>
          <a:xfrm>
            <a:off x="480059" y="556161"/>
            <a:ext cx="6892290" cy="406241"/>
          </a:xfrm>
        </p:spPr>
        <p:txBody>
          <a:bodyPr anchor="b"/>
          <a:lstStyle>
            <a:lvl1pPr>
              <a:defRPr sz="1800" b="1">
                <a:solidFill>
                  <a:schemeClr val="accent3"/>
                </a:solidFill>
              </a:defRPr>
            </a:lvl1pPr>
          </a:lstStyle>
          <a:p>
            <a:r>
              <a:rPr lang="en-US"/>
              <a:t>CLICK TO INSERT text</a:t>
            </a:r>
          </a:p>
        </p:txBody>
      </p:sp>
      <p:sp>
        <p:nvSpPr>
          <p:cNvPr id="32" name="Rectangle 31">
            <a:extLst>
              <a:ext uri="{FF2B5EF4-FFF2-40B4-BE49-F238E27FC236}">
                <a16:creationId xmlns:a16="http://schemas.microsoft.com/office/drawing/2014/main" id="{72213F14-54B4-41F4-847B-B3188A22A585}"/>
              </a:ext>
            </a:extLst>
          </p:cNvPr>
          <p:cNvSpPr/>
          <p:nvPr userDrawn="1"/>
        </p:nvSpPr>
        <p:spPr>
          <a:xfrm>
            <a:off x="419677" y="1961758"/>
            <a:ext cx="7142594" cy="4340081"/>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600"/>
              </a:spcAft>
            </a:pPr>
            <a:endParaRPr lang="en-US" sz="2000" dirty="0">
              <a:solidFill>
                <a:schemeClr val="tx1"/>
              </a:solidFill>
            </a:endParaRPr>
          </a:p>
        </p:txBody>
      </p:sp>
      <p:sp>
        <p:nvSpPr>
          <p:cNvPr id="9" name="Text Placeholder 8">
            <a:extLst>
              <a:ext uri="{FF2B5EF4-FFF2-40B4-BE49-F238E27FC236}">
                <a16:creationId xmlns:a16="http://schemas.microsoft.com/office/drawing/2014/main" id="{5D6DD727-551E-4A43-87D1-B785164624BF}"/>
              </a:ext>
            </a:extLst>
          </p:cNvPr>
          <p:cNvSpPr>
            <a:spLocks noGrp="1"/>
          </p:cNvSpPr>
          <p:nvPr>
            <p:ph type="body" sz="quarter" idx="53" hasCustomPrompt="1"/>
          </p:nvPr>
        </p:nvSpPr>
        <p:spPr>
          <a:xfrm>
            <a:off x="479425" y="2086930"/>
            <a:ext cx="6892290" cy="406241"/>
          </a:xfrm>
        </p:spPr>
        <p:txBody>
          <a:bodyPr vert="horz" wrap="square" lIns="91440" tIns="45720" rIns="91440" bIns="45720" rtlCol="0" anchor="b">
            <a:noAutofit/>
          </a:bodyPr>
          <a:lstStyle>
            <a:lvl1pPr>
              <a:defRPr lang="en-US" sz="1800" b="1" cap="all" baseline="0" dirty="0" smtClean="0">
                <a:solidFill>
                  <a:schemeClr val="accent1"/>
                </a:solidFill>
                <a:latin typeface="+mj-lt"/>
                <a:ea typeface="+mj-ea"/>
                <a:cs typeface="+mj-cs"/>
              </a:defRPr>
            </a:lvl1pPr>
            <a:lvl2pPr>
              <a:defRPr lang="en-US" dirty="0" smtClean="0"/>
            </a:lvl2pPr>
            <a:lvl3pPr>
              <a:defRPr lang="en-US" dirty="0" smtClean="0"/>
            </a:lvl3pPr>
            <a:lvl4pPr>
              <a:defRPr lang="en-US" dirty="0" smtClean="0"/>
            </a:lvl4pPr>
            <a:lvl5pPr>
              <a:defRPr lang="en-GB" dirty="0"/>
            </a:lvl5pPr>
          </a:lstStyle>
          <a:p>
            <a:pPr lvl="0">
              <a:spcBef>
                <a:spcPct val="0"/>
              </a:spcBef>
              <a:spcAft>
                <a:spcPts val="600"/>
              </a:spcAft>
            </a:pPr>
            <a:r>
              <a:rPr lang="en-US"/>
              <a:t>Click to insert text</a:t>
            </a:r>
          </a:p>
        </p:txBody>
      </p:sp>
      <p:sp>
        <p:nvSpPr>
          <p:cNvPr id="44" name="Text Placeholder 10">
            <a:extLst>
              <a:ext uri="{FF2B5EF4-FFF2-40B4-BE49-F238E27FC236}">
                <a16:creationId xmlns:a16="http://schemas.microsoft.com/office/drawing/2014/main" id="{FEAFAFBE-DB47-479C-9C66-5E4A428B2C9C}"/>
              </a:ext>
            </a:extLst>
          </p:cNvPr>
          <p:cNvSpPr>
            <a:spLocks noGrp="1"/>
          </p:cNvSpPr>
          <p:nvPr>
            <p:ph type="body" sz="quarter" idx="54" hasCustomPrompt="1"/>
          </p:nvPr>
        </p:nvSpPr>
        <p:spPr>
          <a:xfrm>
            <a:off x="480059" y="2585665"/>
            <a:ext cx="6884987" cy="1235486"/>
          </a:xfrm>
        </p:spPr>
        <p:txBody>
          <a:bodyPr/>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45" name="Text Placeholder 8">
            <a:extLst>
              <a:ext uri="{FF2B5EF4-FFF2-40B4-BE49-F238E27FC236}">
                <a16:creationId xmlns:a16="http://schemas.microsoft.com/office/drawing/2014/main" id="{EA917DE9-F840-4BB8-9371-79611F5009E7}"/>
              </a:ext>
            </a:extLst>
          </p:cNvPr>
          <p:cNvSpPr>
            <a:spLocks noGrp="1"/>
          </p:cNvSpPr>
          <p:nvPr>
            <p:ph type="body" sz="quarter" idx="55" hasCustomPrompt="1"/>
          </p:nvPr>
        </p:nvSpPr>
        <p:spPr>
          <a:xfrm>
            <a:off x="479425" y="4130746"/>
            <a:ext cx="6892290" cy="406241"/>
          </a:xfrm>
        </p:spPr>
        <p:txBody>
          <a:bodyPr vert="horz" wrap="square" lIns="91440" tIns="45720" rIns="91440" bIns="45720" rtlCol="0" anchor="b">
            <a:noAutofit/>
          </a:bodyPr>
          <a:lstStyle>
            <a:lvl1pPr>
              <a:defRPr lang="en-US" sz="1800" b="1" cap="all" baseline="0" dirty="0" smtClean="0">
                <a:solidFill>
                  <a:schemeClr val="accent1"/>
                </a:solidFill>
                <a:latin typeface="+mj-lt"/>
                <a:ea typeface="+mj-ea"/>
                <a:cs typeface="+mj-cs"/>
              </a:defRPr>
            </a:lvl1pPr>
            <a:lvl2pPr>
              <a:defRPr lang="en-US" dirty="0" smtClean="0"/>
            </a:lvl2pPr>
            <a:lvl3pPr>
              <a:defRPr lang="en-US" dirty="0" smtClean="0"/>
            </a:lvl3pPr>
            <a:lvl4pPr>
              <a:defRPr lang="en-US" dirty="0" smtClean="0"/>
            </a:lvl4pPr>
            <a:lvl5pPr>
              <a:defRPr lang="en-GB" dirty="0"/>
            </a:lvl5pPr>
          </a:lstStyle>
          <a:p>
            <a:pPr lvl="0">
              <a:spcBef>
                <a:spcPct val="0"/>
              </a:spcBef>
              <a:spcAft>
                <a:spcPts val="600"/>
              </a:spcAft>
            </a:pPr>
            <a:r>
              <a:rPr lang="en-US"/>
              <a:t>Click to insert text</a:t>
            </a:r>
          </a:p>
        </p:txBody>
      </p:sp>
      <p:sp>
        <p:nvSpPr>
          <p:cNvPr id="46" name="Text Placeholder 10">
            <a:extLst>
              <a:ext uri="{FF2B5EF4-FFF2-40B4-BE49-F238E27FC236}">
                <a16:creationId xmlns:a16="http://schemas.microsoft.com/office/drawing/2014/main" id="{DF7290C2-E457-42A3-85EB-CE4426355474}"/>
              </a:ext>
            </a:extLst>
          </p:cNvPr>
          <p:cNvSpPr>
            <a:spLocks noGrp="1"/>
          </p:cNvSpPr>
          <p:nvPr>
            <p:ph type="body" sz="quarter" idx="56" hasCustomPrompt="1"/>
          </p:nvPr>
        </p:nvSpPr>
        <p:spPr>
          <a:xfrm>
            <a:off x="480059" y="4629481"/>
            <a:ext cx="6884987" cy="1235486"/>
          </a:xfrm>
        </p:spPr>
        <p:txBody>
          <a:bodyPr/>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16" name="Freeform: Shape 15">
            <a:extLst>
              <a:ext uri="{FF2B5EF4-FFF2-40B4-BE49-F238E27FC236}">
                <a16:creationId xmlns:a16="http://schemas.microsoft.com/office/drawing/2014/main" id="{11C5F935-8D89-4EE2-B010-686D609545C1}"/>
              </a:ext>
            </a:extLst>
          </p:cNvPr>
          <p:cNvSpPr/>
          <p:nvPr userDrawn="1"/>
        </p:nvSpPr>
        <p:spPr>
          <a:xfrm>
            <a:off x="325457" y="278027"/>
            <a:ext cx="11541086" cy="6154308"/>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dirty="0">
              <a:solidFill>
                <a:schemeClr val="tx1"/>
              </a:solidFill>
            </a:endParaRPr>
          </a:p>
        </p:txBody>
      </p:sp>
      <p:pic>
        <p:nvPicPr>
          <p:cNvPr id="17" name="Graphic 16">
            <a:extLst>
              <a:ext uri="{FF2B5EF4-FFF2-40B4-BE49-F238E27FC236}">
                <a16:creationId xmlns:a16="http://schemas.microsoft.com/office/drawing/2014/main" id="{7CEBFA88-A0CB-4AC7-91F7-55179997534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457" y="6551607"/>
            <a:ext cx="1852404" cy="171450"/>
          </a:xfrm>
          <a:prstGeom prst="rect">
            <a:avLst/>
          </a:prstGeom>
        </p:spPr>
      </p:pic>
      <p:sp>
        <p:nvSpPr>
          <p:cNvPr id="6" name="Footer Placeholder 5">
            <a:extLst>
              <a:ext uri="{FF2B5EF4-FFF2-40B4-BE49-F238E27FC236}">
                <a16:creationId xmlns:a16="http://schemas.microsoft.com/office/drawing/2014/main" id="{1A3A0583-042A-46A9-AD9E-2FA113961D7F}"/>
              </a:ext>
            </a:extLst>
          </p:cNvPr>
          <p:cNvSpPr>
            <a:spLocks noGrp="1"/>
          </p:cNvSpPr>
          <p:nvPr>
            <p:ph type="ftr" sz="quarter" idx="58"/>
          </p:nvPr>
        </p:nvSpPr>
        <p:spPr/>
        <p:txBody>
          <a:bodyPr/>
          <a:lstStyle/>
          <a:p>
            <a:endParaRPr lang="en-US" sz="600" noProof="0" dirty="0"/>
          </a:p>
        </p:txBody>
      </p:sp>
      <p:sp>
        <p:nvSpPr>
          <p:cNvPr id="10" name="Slide Number Placeholder 9">
            <a:extLst>
              <a:ext uri="{FF2B5EF4-FFF2-40B4-BE49-F238E27FC236}">
                <a16:creationId xmlns:a16="http://schemas.microsoft.com/office/drawing/2014/main" id="{242CB59C-3E06-4324-9C17-F1A32187CFD1}"/>
              </a:ext>
            </a:extLst>
          </p:cNvPr>
          <p:cNvSpPr>
            <a:spLocks noGrp="1"/>
          </p:cNvSpPr>
          <p:nvPr>
            <p:ph type="sldNum" sz="quarter" idx="59"/>
          </p:nvPr>
        </p:nvSpPr>
        <p:spPr/>
        <p:txBody>
          <a:bodyPr/>
          <a:lstStyle/>
          <a:p>
            <a:fld id="{5034EE70-12A8-400F-8E3D-398CDD8B315D}" type="slidenum">
              <a:rPr lang="en-US" smtClean="0"/>
              <a:pPr/>
              <a:t>‹#›</a:t>
            </a:fld>
            <a:endParaRPr lang="en-US" dirty="0"/>
          </a:p>
        </p:txBody>
      </p:sp>
      <p:sp>
        <p:nvSpPr>
          <p:cNvPr id="15" name="Picture Placeholder 49">
            <a:extLst>
              <a:ext uri="{FF2B5EF4-FFF2-40B4-BE49-F238E27FC236}">
                <a16:creationId xmlns:a16="http://schemas.microsoft.com/office/drawing/2014/main" id="{7402D3B5-8C77-44C9-BFDA-2A26F351BB2D}"/>
              </a:ext>
            </a:extLst>
          </p:cNvPr>
          <p:cNvSpPr>
            <a:spLocks noGrp="1"/>
          </p:cNvSpPr>
          <p:nvPr>
            <p:ph type="pic" sz="quarter" idx="51" hasCustomPrompt="1"/>
          </p:nvPr>
        </p:nvSpPr>
        <p:spPr>
          <a:xfrm>
            <a:off x="7735797" y="283370"/>
            <a:ext cx="4129556" cy="6146005"/>
          </a:xfrm>
          <a:custGeom>
            <a:avLst/>
            <a:gdLst>
              <a:gd name="connsiteX0" fmla="*/ 0 w 4210050"/>
              <a:gd name="connsiteY0" fmla="*/ 0 h 6256425"/>
              <a:gd name="connsiteX1" fmla="*/ 3653384 w 4210050"/>
              <a:gd name="connsiteY1" fmla="*/ 0 h 6256425"/>
              <a:gd name="connsiteX2" fmla="*/ 4210050 w 4210050"/>
              <a:gd name="connsiteY2" fmla="*/ 556666 h 6256425"/>
              <a:gd name="connsiteX3" fmla="*/ 4210050 w 4210050"/>
              <a:gd name="connsiteY3" fmla="*/ 6256425 h 6256425"/>
              <a:gd name="connsiteX4" fmla="*/ 0 w 4210050"/>
              <a:gd name="connsiteY4" fmla="*/ 6256425 h 6256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050" h="6256425">
                <a:moveTo>
                  <a:pt x="0" y="0"/>
                </a:moveTo>
                <a:lnTo>
                  <a:pt x="3653384" y="0"/>
                </a:lnTo>
                <a:lnTo>
                  <a:pt x="4210050" y="556666"/>
                </a:lnTo>
                <a:lnTo>
                  <a:pt x="4210050" y="6256425"/>
                </a:lnTo>
                <a:lnTo>
                  <a:pt x="0" y="6256425"/>
                </a:lnTo>
                <a:close/>
              </a:path>
            </a:pathLst>
          </a:custGeom>
          <a:ln>
            <a:noFill/>
          </a:ln>
        </p:spPr>
        <p:txBody>
          <a:bodyPr wrap="square" anchor="ctr">
            <a:noAutofit/>
          </a:bodyPr>
          <a:lstStyle>
            <a:lvl1pPr algn="ctr">
              <a:defRPr sz="1200"/>
            </a:lvl1pPr>
          </a:lstStyle>
          <a:p>
            <a:r>
              <a:rPr lang="en-US" dirty="0"/>
              <a:t>Click to insert image</a:t>
            </a:r>
          </a:p>
        </p:txBody>
      </p:sp>
      <p:cxnSp>
        <p:nvCxnSpPr>
          <p:cNvPr id="18" name="Straight Connector 17">
            <a:extLst>
              <a:ext uri="{FF2B5EF4-FFF2-40B4-BE49-F238E27FC236}">
                <a16:creationId xmlns:a16="http://schemas.microsoft.com/office/drawing/2014/main" id="{1C72F37D-6D6A-4775-83A6-22D9105572CF}"/>
              </a:ext>
            </a:extLst>
          </p:cNvPr>
          <p:cNvCxnSpPr>
            <a:cxnSpLocks/>
          </p:cNvCxnSpPr>
          <p:nvPr userDrawn="1"/>
        </p:nvCxnSpPr>
        <p:spPr>
          <a:xfrm>
            <a:off x="7728654" y="283370"/>
            <a:ext cx="0" cy="6150768"/>
          </a:xfrm>
          <a:prstGeom prst="line">
            <a:avLst/>
          </a:prstGeom>
          <a:ln w="952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89550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ext Panel Right">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29A17198-25A3-4802-A6B9-3BF8A8F8F2D6}"/>
              </a:ext>
            </a:extLst>
          </p:cNvPr>
          <p:cNvCxnSpPr>
            <a:cxnSpLocks/>
          </p:cNvCxnSpPr>
          <p:nvPr userDrawn="1"/>
        </p:nvCxnSpPr>
        <p:spPr>
          <a:xfrm>
            <a:off x="4436268" y="283370"/>
            <a:ext cx="0" cy="6148386"/>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B7D71990-518F-4E31-95AE-19C6EB25112C}"/>
              </a:ext>
            </a:extLst>
          </p:cNvPr>
          <p:cNvSpPr/>
          <p:nvPr userDrawn="1"/>
        </p:nvSpPr>
        <p:spPr>
          <a:xfrm>
            <a:off x="4629728" y="429299"/>
            <a:ext cx="6664348" cy="14055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600"/>
              </a:spcAft>
            </a:pPr>
            <a:endParaRPr lang="en-US" sz="2000" dirty="0">
              <a:solidFill>
                <a:schemeClr val="tx1"/>
              </a:solidFill>
            </a:endParaRPr>
          </a:p>
        </p:txBody>
      </p:sp>
      <p:sp>
        <p:nvSpPr>
          <p:cNvPr id="64" name="Text Placeholder 40">
            <a:extLst>
              <a:ext uri="{FF2B5EF4-FFF2-40B4-BE49-F238E27FC236}">
                <a16:creationId xmlns:a16="http://schemas.microsoft.com/office/drawing/2014/main" id="{94A67CDE-CF24-4AFC-BDCC-0495D94CA15E}"/>
              </a:ext>
            </a:extLst>
          </p:cNvPr>
          <p:cNvSpPr>
            <a:spLocks noGrp="1"/>
          </p:cNvSpPr>
          <p:nvPr>
            <p:ph type="body" sz="quarter" idx="19" hasCustomPrompt="1"/>
          </p:nvPr>
        </p:nvSpPr>
        <p:spPr>
          <a:xfrm>
            <a:off x="4690110" y="1053206"/>
            <a:ext cx="6458789" cy="655955"/>
          </a:xfrm>
        </p:spPr>
        <p:txBody>
          <a:bodyPr/>
          <a:lstStyle>
            <a:lvl1pPr>
              <a:defRPr sz="1400">
                <a:solidFill>
                  <a:schemeClr val="bg1"/>
                </a:solidFill>
              </a:defRPr>
            </a:lvl1pPr>
          </a:lstStyle>
          <a:p>
            <a:pPr lvl="0"/>
            <a:r>
              <a:rPr lang="en-US"/>
              <a:t>Click to insert text</a:t>
            </a:r>
          </a:p>
        </p:txBody>
      </p:sp>
      <p:sp>
        <p:nvSpPr>
          <p:cNvPr id="2" name="Title 1">
            <a:extLst>
              <a:ext uri="{FF2B5EF4-FFF2-40B4-BE49-F238E27FC236}">
                <a16:creationId xmlns:a16="http://schemas.microsoft.com/office/drawing/2014/main" id="{BC0E1418-D76B-4E7B-BC2C-A4D67CDE8555}"/>
              </a:ext>
            </a:extLst>
          </p:cNvPr>
          <p:cNvSpPr>
            <a:spLocks noGrp="1"/>
          </p:cNvSpPr>
          <p:nvPr>
            <p:ph type="title" hasCustomPrompt="1"/>
          </p:nvPr>
        </p:nvSpPr>
        <p:spPr>
          <a:xfrm>
            <a:off x="4690110" y="556161"/>
            <a:ext cx="6465640" cy="406241"/>
          </a:xfrm>
        </p:spPr>
        <p:txBody>
          <a:bodyPr anchor="b"/>
          <a:lstStyle>
            <a:lvl1pPr>
              <a:defRPr sz="1800" b="1">
                <a:solidFill>
                  <a:schemeClr val="accent3"/>
                </a:solidFill>
              </a:defRPr>
            </a:lvl1pPr>
          </a:lstStyle>
          <a:p>
            <a:r>
              <a:rPr lang="en-US"/>
              <a:t>CLICK TO INSERT text</a:t>
            </a:r>
          </a:p>
        </p:txBody>
      </p:sp>
      <p:sp>
        <p:nvSpPr>
          <p:cNvPr id="32" name="Rectangle 31">
            <a:extLst>
              <a:ext uri="{FF2B5EF4-FFF2-40B4-BE49-F238E27FC236}">
                <a16:creationId xmlns:a16="http://schemas.microsoft.com/office/drawing/2014/main" id="{72213F14-54B4-41F4-847B-B3188A22A585}"/>
              </a:ext>
            </a:extLst>
          </p:cNvPr>
          <p:cNvSpPr/>
          <p:nvPr userDrawn="1"/>
        </p:nvSpPr>
        <p:spPr>
          <a:xfrm>
            <a:off x="4629728" y="1961758"/>
            <a:ext cx="6664348" cy="4340081"/>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600"/>
              </a:spcAft>
            </a:pPr>
            <a:endParaRPr lang="en-US" sz="2000" dirty="0">
              <a:solidFill>
                <a:schemeClr val="tx1"/>
              </a:solidFill>
            </a:endParaRPr>
          </a:p>
        </p:txBody>
      </p:sp>
      <p:sp>
        <p:nvSpPr>
          <p:cNvPr id="9" name="Text Placeholder 8">
            <a:extLst>
              <a:ext uri="{FF2B5EF4-FFF2-40B4-BE49-F238E27FC236}">
                <a16:creationId xmlns:a16="http://schemas.microsoft.com/office/drawing/2014/main" id="{5D6DD727-551E-4A43-87D1-B785164624BF}"/>
              </a:ext>
            </a:extLst>
          </p:cNvPr>
          <p:cNvSpPr>
            <a:spLocks noGrp="1"/>
          </p:cNvSpPr>
          <p:nvPr>
            <p:ph type="body" sz="quarter" idx="53" hasCustomPrompt="1"/>
          </p:nvPr>
        </p:nvSpPr>
        <p:spPr>
          <a:xfrm>
            <a:off x="4689476" y="2086930"/>
            <a:ext cx="6465640" cy="406241"/>
          </a:xfrm>
        </p:spPr>
        <p:txBody>
          <a:bodyPr vert="horz" wrap="square" lIns="91440" tIns="45720" rIns="91440" bIns="45720" rtlCol="0" anchor="b">
            <a:noAutofit/>
          </a:bodyPr>
          <a:lstStyle>
            <a:lvl1pPr>
              <a:defRPr lang="en-US" sz="1800" b="1" cap="all" baseline="0" dirty="0" smtClean="0">
                <a:solidFill>
                  <a:schemeClr val="accent1"/>
                </a:solidFill>
                <a:latin typeface="+mj-lt"/>
                <a:ea typeface="+mj-ea"/>
                <a:cs typeface="+mj-cs"/>
              </a:defRPr>
            </a:lvl1pPr>
            <a:lvl2pPr>
              <a:defRPr lang="en-US" dirty="0" smtClean="0"/>
            </a:lvl2pPr>
            <a:lvl3pPr>
              <a:defRPr lang="en-US" dirty="0" smtClean="0"/>
            </a:lvl3pPr>
            <a:lvl4pPr>
              <a:defRPr lang="en-US" dirty="0" smtClean="0"/>
            </a:lvl4pPr>
            <a:lvl5pPr>
              <a:defRPr lang="en-GB" dirty="0"/>
            </a:lvl5pPr>
          </a:lstStyle>
          <a:p>
            <a:pPr lvl="0">
              <a:spcBef>
                <a:spcPct val="0"/>
              </a:spcBef>
              <a:spcAft>
                <a:spcPts val="600"/>
              </a:spcAft>
            </a:pPr>
            <a:r>
              <a:rPr lang="en-US"/>
              <a:t>Click to insert text</a:t>
            </a:r>
          </a:p>
        </p:txBody>
      </p:sp>
      <p:sp>
        <p:nvSpPr>
          <p:cNvPr id="44" name="Text Placeholder 10">
            <a:extLst>
              <a:ext uri="{FF2B5EF4-FFF2-40B4-BE49-F238E27FC236}">
                <a16:creationId xmlns:a16="http://schemas.microsoft.com/office/drawing/2014/main" id="{FEAFAFBE-DB47-479C-9C66-5E4A428B2C9C}"/>
              </a:ext>
            </a:extLst>
          </p:cNvPr>
          <p:cNvSpPr>
            <a:spLocks noGrp="1"/>
          </p:cNvSpPr>
          <p:nvPr>
            <p:ph type="body" sz="quarter" idx="54" hasCustomPrompt="1"/>
          </p:nvPr>
        </p:nvSpPr>
        <p:spPr>
          <a:xfrm>
            <a:off x="4690110" y="2585665"/>
            <a:ext cx="6458789" cy="1235486"/>
          </a:xfrm>
        </p:spPr>
        <p:txBody>
          <a:bodyPr/>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45" name="Text Placeholder 8">
            <a:extLst>
              <a:ext uri="{FF2B5EF4-FFF2-40B4-BE49-F238E27FC236}">
                <a16:creationId xmlns:a16="http://schemas.microsoft.com/office/drawing/2014/main" id="{EA917DE9-F840-4BB8-9371-79611F5009E7}"/>
              </a:ext>
            </a:extLst>
          </p:cNvPr>
          <p:cNvSpPr>
            <a:spLocks noGrp="1"/>
          </p:cNvSpPr>
          <p:nvPr>
            <p:ph type="body" sz="quarter" idx="55" hasCustomPrompt="1"/>
          </p:nvPr>
        </p:nvSpPr>
        <p:spPr>
          <a:xfrm>
            <a:off x="4689476" y="4130746"/>
            <a:ext cx="6465640" cy="406241"/>
          </a:xfrm>
        </p:spPr>
        <p:txBody>
          <a:bodyPr vert="horz" wrap="square" lIns="91440" tIns="45720" rIns="91440" bIns="45720" rtlCol="0" anchor="b">
            <a:noAutofit/>
          </a:bodyPr>
          <a:lstStyle>
            <a:lvl1pPr>
              <a:defRPr lang="en-US" sz="1800" b="1" cap="all" baseline="0" dirty="0" smtClean="0">
                <a:solidFill>
                  <a:schemeClr val="accent1"/>
                </a:solidFill>
                <a:latin typeface="+mj-lt"/>
                <a:ea typeface="+mj-ea"/>
                <a:cs typeface="+mj-cs"/>
              </a:defRPr>
            </a:lvl1pPr>
            <a:lvl2pPr>
              <a:defRPr lang="en-US" dirty="0" smtClean="0"/>
            </a:lvl2pPr>
            <a:lvl3pPr>
              <a:defRPr lang="en-US" dirty="0" smtClean="0"/>
            </a:lvl3pPr>
            <a:lvl4pPr>
              <a:defRPr lang="en-US" dirty="0" smtClean="0"/>
            </a:lvl4pPr>
            <a:lvl5pPr>
              <a:defRPr lang="en-GB" dirty="0"/>
            </a:lvl5pPr>
          </a:lstStyle>
          <a:p>
            <a:pPr lvl="0">
              <a:spcBef>
                <a:spcPct val="0"/>
              </a:spcBef>
              <a:spcAft>
                <a:spcPts val="600"/>
              </a:spcAft>
            </a:pPr>
            <a:r>
              <a:rPr lang="en-US"/>
              <a:t>Click to insert text</a:t>
            </a:r>
          </a:p>
        </p:txBody>
      </p:sp>
      <p:sp>
        <p:nvSpPr>
          <p:cNvPr id="46" name="Text Placeholder 10">
            <a:extLst>
              <a:ext uri="{FF2B5EF4-FFF2-40B4-BE49-F238E27FC236}">
                <a16:creationId xmlns:a16="http://schemas.microsoft.com/office/drawing/2014/main" id="{DF7290C2-E457-42A3-85EB-CE4426355474}"/>
              </a:ext>
            </a:extLst>
          </p:cNvPr>
          <p:cNvSpPr>
            <a:spLocks noGrp="1"/>
          </p:cNvSpPr>
          <p:nvPr>
            <p:ph type="body" sz="quarter" idx="56" hasCustomPrompt="1"/>
          </p:nvPr>
        </p:nvSpPr>
        <p:spPr>
          <a:xfrm>
            <a:off x="4690110" y="4629481"/>
            <a:ext cx="6458789" cy="1235486"/>
          </a:xfrm>
        </p:spPr>
        <p:txBody>
          <a:bodyPr/>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6" name="Picture Placeholder 5">
            <a:extLst>
              <a:ext uri="{FF2B5EF4-FFF2-40B4-BE49-F238E27FC236}">
                <a16:creationId xmlns:a16="http://schemas.microsoft.com/office/drawing/2014/main" id="{76B23411-6A85-4DAE-AD1E-32FBB8B806AE}"/>
              </a:ext>
            </a:extLst>
          </p:cNvPr>
          <p:cNvSpPr>
            <a:spLocks noGrp="1"/>
          </p:cNvSpPr>
          <p:nvPr>
            <p:ph type="pic" sz="quarter" idx="57" hasCustomPrompt="1"/>
          </p:nvPr>
        </p:nvSpPr>
        <p:spPr>
          <a:xfrm>
            <a:off x="327837" y="280408"/>
            <a:ext cx="4108431" cy="6148967"/>
          </a:xfrm>
          <a:ln>
            <a:noFill/>
          </a:ln>
        </p:spPr>
        <p:txBody>
          <a:bodyPr vert="horz" wrap="square" lIns="91440" tIns="45720" rIns="91440" bIns="45720" rtlCol="0" anchor="ctr">
            <a:noAutofit/>
          </a:bodyPr>
          <a:lstStyle>
            <a:lvl1pPr algn="ctr">
              <a:defRPr lang="en-GB" sz="1200" dirty="0"/>
            </a:lvl1pPr>
          </a:lstStyle>
          <a:p>
            <a:pPr lvl="0" algn="ctr"/>
            <a:r>
              <a:rPr lang="en-US" dirty="0"/>
              <a:t>Click to insert image</a:t>
            </a:r>
          </a:p>
        </p:txBody>
      </p:sp>
      <p:sp>
        <p:nvSpPr>
          <p:cNvPr id="16" name="Freeform: Shape 15">
            <a:extLst>
              <a:ext uri="{FF2B5EF4-FFF2-40B4-BE49-F238E27FC236}">
                <a16:creationId xmlns:a16="http://schemas.microsoft.com/office/drawing/2014/main" id="{1D7E94DE-B5B4-4349-B6AD-D6C3F95E04E0}"/>
              </a:ext>
            </a:extLst>
          </p:cNvPr>
          <p:cNvSpPr/>
          <p:nvPr userDrawn="1"/>
        </p:nvSpPr>
        <p:spPr>
          <a:xfrm>
            <a:off x="325457" y="278027"/>
            <a:ext cx="11541086" cy="6154308"/>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dirty="0">
              <a:solidFill>
                <a:schemeClr val="tx1"/>
              </a:solidFill>
            </a:endParaRPr>
          </a:p>
        </p:txBody>
      </p:sp>
      <p:pic>
        <p:nvPicPr>
          <p:cNvPr id="17" name="Graphic 16">
            <a:extLst>
              <a:ext uri="{FF2B5EF4-FFF2-40B4-BE49-F238E27FC236}">
                <a16:creationId xmlns:a16="http://schemas.microsoft.com/office/drawing/2014/main" id="{C8C01BA0-8BCF-4B10-ADC1-D6744BAA4CE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5457" y="6551607"/>
            <a:ext cx="1852404" cy="171450"/>
          </a:xfrm>
          <a:prstGeom prst="rect">
            <a:avLst/>
          </a:prstGeom>
        </p:spPr>
      </p:pic>
      <p:sp>
        <p:nvSpPr>
          <p:cNvPr id="14" name="Footer Placeholder 13">
            <a:extLst>
              <a:ext uri="{FF2B5EF4-FFF2-40B4-BE49-F238E27FC236}">
                <a16:creationId xmlns:a16="http://schemas.microsoft.com/office/drawing/2014/main" id="{764E3151-021E-4D67-BA70-93A6AAC2F0AD}"/>
              </a:ext>
            </a:extLst>
          </p:cNvPr>
          <p:cNvSpPr>
            <a:spLocks noGrp="1"/>
          </p:cNvSpPr>
          <p:nvPr>
            <p:ph type="ftr" sz="quarter" idx="59"/>
          </p:nvPr>
        </p:nvSpPr>
        <p:spPr/>
        <p:txBody>
          <a:bodyPr/>
          <a:lstStyle/>
          <a:p>
            <a:endParaRPr lang="en-US" sz="600" noProof="0" dirty="0"/>
          </a:p>
        </p:txBody>
      </p:sp>
      <p:sp>
        <p:nvSpPr>
          <p:cNvPr id="18" name="Slide Number Placeholder 17">
            <a:extLst>
              <a:ext uri="{FF2B5EF4-FFF2-40B4-BE49-F238E27FC236}">
                <a16:creationId xmlns:a16="http://schemas.microsoft.com/office/drawing/2014/main" id="{B72BB421-2961-4019-A77B-0F21BEF9B9A6}"/>
              </a:ext>
            </a:extLst>
          </p:cNvPr>
          <p:cNvSpPr>
            <a:spLocks noGrp="1"/>
          </p:cNvSpPr>
          <p:nvPr>
            <p:ph type="sldNum" sz="quarter" idx="60"/>
          </p:nvPr>
        </p:nvSpPr>
        <p:spPr/>
        <p:txBody>
          <a:bodyPr/>
          <a:lstStyle/>
          <a:p>
            <a:fld id="{5034EE70-12A8-400F-8E3D-398CDD8B315D}" type="slidenum">
              <a:rPr lang="en-US" smtClean="0"/>
              <a:pPr/>
              <a:t>‹#›</a:t>
            </a:fld>
            <a:endParaRPr lang="en-US" dirty="0"/>
          </a:p>
        </p:txBody>
      </p:sp>
    </p:spTree>
    <p:extLst>
      <p:ext uri="{BB962C8B-B14F-4D97-AF65-F5344CB8AC3E}">
        <p14:creationId xmlns:p14="http://schemas.microsoft.com/office/powerpoint/2010/main" val="313225128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Fullscreen Video">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6D2F0A9D-203F-40EE-A3C4-B7A3AC7504E3}"/>
              </a:ext>
            </a:extLst>
          </p:cNvPr>
          <p:cNvSpPr>
            <a:spLocks noGrp="1"/>
          </p:cNvSpPr>
          <p:nvPr>
            <p:ph type="body" sz="quarter" idx="21" hasCustomPrompt="1"/>
          </p:nvPr>
        </p:nvSpPr>
        <p:spPr>
          <a:xfrm>
            <a:off x="0" y="0"/>
            <a:ext cx="12192000" cy="6858000"/>
          </a:xfrm>
          <a:custGeom>
            <a:avLst/>
            <a:gdLst>
              <a:gd name="connsiteX0" fmla="*/ 325457 w 12192000"/>
              <a:gd name="connsiteY0" fmla="*/ 278027 h 6858000"/>
              <a:gd name="connsiteX1" fmla="*/ 325457 w 12192000"/>
              <a:gd name="connsiteY1" fmla="*/ 6432335 h 6858000"/>
              <a:gd name="connsiteX2" fmla="*/ 11866543 w 12192000"/>
              <a:gd name="connsiteY2" fmla="*/ 6432335 h 6858000"/>
              <a:gd name="connsiteX3" fmla="*/ 11866543 w 12192000"/>
              <a:gd name="connsiteY3" fmla="*/ 831212 h 6858000"/>
              <a:gd name="connsiteX4" fmla="*/ 11313358 w 12192000"/>
              <a:gd name="connsiteY4" fmla="*/ 278027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325457" y="278027"/>
                </a:moveTo>
                <a:lnTo>
                  <a:pt x="325457" y="6432335"/>
                </a:lnTo>
                <a:lnTo>
                  <a:pt x="11866543" y="6432335"/>
                </a:lnTo>
                <a:lnTo>
                  <a:pt x="11866543" y="831212"/>
                </a:lnTo>
                <a:lnTo>
                  <a:pt x="11313358" y="278027"/>
                </a:lnTo>
                <a:close/>
                <a:moveTo>
                  <a:pt x="0" y="0"/>
                </a:moveTo>
                <a:lnTo>
                  <a:pt x="12192000" y="0"/>
                </a:lnTo>
                <a:lnTo>
                  <a:pt x="12192000" y="6858000"/>
                </a:lnTo>
                <a:lnTo>
                  <a:pt x="0" y="6858000"/>
                </a:lnTo>
                <a:close/>
              </a:path>
            </a:pathLst>
          </a:custGeom>
          <a:solidFill>
            <a:schemeClr val="tx1"/>
          </a:solidFill>
        </p:spPr>
        <p:txBody>
          <a:bodyPr wrap="square">
            <a:noAutofit/>
          </a:bodyPr>
          <a:lstStyle>
            <a:lvl1pPr>
              <a:defRPr/>
            </a:lvl1pPr>
          </a:lstStyle>
          <a:p>
            <a:pPr lvl="0"/>
            <a:r>
              <a:rPr lang="en-US"/>
              <a:t>   </a:t>
            </a:r>
          </a:p>
        </p:txBody>
      </p:sp>
      <p:sp>
        <p:nvSpPr>
          <p:cNvPr id="9" name="Footer Placeholder 8">
            <a:extLst>
              <a:ext uri="{FF2B5EF4-FFF2-40B4-BE49-F238E27FC236}">
                <a16:creationId xmlns:a16="http://schemas.microsoft.com/office/drawing/2014/main" id="{255A72A1-1D2E-40A9-A724-47813792A544}"/>
              </a:ext>
            </a:extLst>
          </p:cNvPr>
          <p:cNvSpPr>
            <a:spLocks noGrp="1"/>
          </p:cNvSpPr>
          <p:nvPr>
            <p:ph type="ftr" sz="quarter" idx="15"/>
          </p:nvPr>
        </p:nvSpPr>
        <p:spPr>
          <a:xfrm>
            <a:off x="4325019" y="6510340"/>
            <a:ext cx="5492750" cy="263525"/>
          </a:xfrm>
          <a:prstGeom prst="rect">
            <a:avLst/>
          </a:prstGeom>
        </p:spPr>
        <p:txBody>
          <a:bodyPr/>
          <a:lstStyle>
            <a:lvl1pPr>
              <a:defRPr>
                <a:solidFill>
                  <a:schemeClr val="bg1"/>
                </a:solidFill>
              </a:defRPr>
            </a:lvl1pPr>
          </a:lstStyle>
          <a:p>
            <a:endParaRPr lang="en-US" dirty="0"/>
          </a:p>
        </p:txBody>
      </p:sp>
      <p:sp>
        <p:nvSpPr>
          <p:cNvPr id="5" name="Text Placeholder 4">
            <a:extLst>
              <a:ext uri="{FF2B5EF4-FFF2-40B4-BE49-F238E27FC236}">
                <a16:creationId xmlns:a16="http://schemas.microsoft.com/office/drawing/2014/main" id="{CC9DCDD2-D6A0-4CD5-A7C7-3BB84BC8A3FC}"/>
              </a:ext>
            </a:extLst>
          </p:cNvPr>
          <p:cNvSpPr>
            <a:spLocks noGrp="1"/>
          </p:cNvSpPr>
          <p:nvPr>
            <p:ph type="body" sz="quarter" idx="18" hasCustomPrompt="1"/>
          </p:nvPr>
        </p:nvSpPr>
        <p:spPr>
          <a:xfrm>
            <a:off x="326237" y="6550822"/>
            <a:ext cx="1852878" cy="171636"/>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a:t> </a:t>
            </a:r>
          </a:p>
        </p:txBody>
      </p:sp>
      <p:sp>
        <p:nvSpPr>
          <p:cNvPr id="49" name="Text Placeholder 48">
            <a:extLst>
              <a:ext uri="{FF2B5EF4-FFF2-40B4-BE49-F238E27FC236}">
                <a16:creationId xmlns:a16="http://schemas.microsoft.com/office/drawing/2014/main" id="{D0702161-248B-4E13-9A42-8AA4B03F8108}"/>
              </a:ext>
            </a:extLst>
          </p:cNvPr>
          <p:cNvSpPr>
            <a:spLocks noGrp="1"/>
          </p:cNvSpPr>
          <p:nvPr>
            <p:ph type="body" sz="quarter" idx="20" hasCustomPrompt="1"/>
          </p:nvPr>
        </p:nvSpPr>
        <p:spPr>
          <a:xfrm>
            <a:off x="9808306" y="6545838"/>
            <a:ext cx="1826482" cy="213737"/>
          </a:xfrm>
          <a:blipFill>
            <a:blip r:embed="rId4">
              <a:lum/>
              <a:extLst>
                <a:ext uri="{96DAC541-7B7A-43D3-8B79-37D633B846F1}">
                  <asvg:svgBlip xmlns:asvg="http://schemas.microsoft.com/office/drawing/2016/SVG/main" r:embed="rId5"/>
                </a:ext>
              </a:extLst>
            </a:blip>
            <a:stretch>
              <a:fillRect/>
            </a:stretch>
          </a:blipFill>
        </p:spPr>
        <p:txBody>
          <a:bodyPr/>
          <a:lstStyle>
            <a:lvl1pPr>
              <a:defRPr>
                <a:solidFill>
                  <a:schemeClr val="bg1"/>
                </a:solidFill>
              </a:defRPr>
            </a:lvl1pPr>
          </a:lstStyle>
          <a:p>
            <a:pPr lvl="0"/>
            <a:r>
              <a:rPr lang="en-US"/>
              <a:t> </a:t>
            </a:r>
          </a:p>
        </p:txBody>
      </p:sp>
      <p:sp>
        <p:nvSpPr>
          <p:cNvPr id="26" name="Media Placeholder 25">
            <a:extLst>
              <a:ext uri="{FF2B5EF4-FFF2-40B4-BE49-F238E27FC236}">
                <a16:creationId xmlns:a16="http://schemas.microsoft.com/office/drawing/2014/main" id="{8967516A-83B0-47DE-A360-F9F03BDA265E}"/>
              </a:ext>
            </a:extLst>
          </p:cNvPr>
          <p:cNvSpPr>
            <a:spLocks noGrp="1"/>
          </p:cNvSpPr>
          <p:nvPr>
            <p:ph type="media" sz="quarter" idx="19" hasCustomPrompt="1"/>
          </p:nvPr>
        </p:nvSpPr>
        <p:spPr>
          <a:xfrm>
            <a:off x="0" y="0"/>
            <a:ext cx="12192000" cy="6858000"/>
          </a:xfrm>
        </p:spPr>
        <p:txBody>
          <a:bodyPr anchor="ctr"/>
          <a:lstStyle>
            <a:lvl1pPr algn="ctr">
              <a:defRPr>
                <a:solidFill>
                  <a:schemeClr val="accent1"/>
                </a:solidFill>
              </a:defRPr>
            </a:lvl1pPr>
          </a:lstStyle>
          <a:p>
            <a:r>
              <a:rPr lang="en-US" dirty="0"/>
              <a:t>Click icon to insert video &gt; Then right click and ‘send to back’ </a:t>
            </a:r>
          </a:p>
        </p:txBody>
      </p:sp>
      <p:sp>
        <p:nvSpPr>
          <p:cNvPr id="11" name="Slide Number Placeholder 17">
            <a:extLst>
              <a:ext uri="{FF2B5EF4-FFF2-40B4-BE49-F238E27FC236}">
                <a16:creationId xmlns:a16="http://schemas.microsoft.com/office/drawing/2014/main" id="{F39A09F9-44C8-4F44-A7A4-19EF003BBD07}"/>
              </a:ext>
            </a:extLst>
          </p:cNvPr>
          <p:cNvSpPr>
            <a:spLocks noGrp="1"/>
          </p:cNvSpPr>
          <p:nvPr>
            <p:ph type="sldNum" sz="quarter" idx="60"/>
          </p:nvPr>
        </p:nvSpPr>
        <p:spPr>
          <a:xfrm>
            <a:off x="11522870" y="6515102"/>
            <a:ext cx="445293" cy="263525"/>
          </a:xfrm>
        </p:spPr>
        <p:txBody>
          <a:bodyPr/>
          <a:lstStyle>
            <a:lvl1pPr>
              <a:defRPr>
                <a:solidFill>
                  <a:schemeClr val="bg1"/>
                </a:solidFill>
              </a:defRPr>
            </a:lvl1pPr>
          </a:lstStyle>
          <a:p>
            <a:fld id="{5034EE70-12A8-400F-8E3D-398CDD8B315D}" type="slidenum">
              <a:rPr lang="en-US" smtClean="0"/>
              <a:pPr/>
              <a:t>‹#›</a:t>
            </a:fld>
            <a:endParaRPr lang="en-US" dirty="0"/>
          </a:p>
        </p:txBody>
      </p:sp>
    </p:spTree>
    <p:extLst>
      <p:ext uri="{BB962C8B-B14F-4D97-AF65-F5344CB8AC3E}">
        <p14:creationId xmlns:p14="http://schemas.microsoft.com/office/powerpoint/2010/main" val="1081836995"/>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Slide - 01A">
    <p:spTree>
      <p:nvGrpSpPr>
        <p:cNvPr id="1" name=""/>
        <p:cNvGrpSpPr/>
        <p:nvPr/>
      </p:nvGrpSpPr>
      <p:grpSpPr>
        <a:xfrm>
          <a:off x="0" y="0"/>
          <a:ext cx="0" cy="0"/>
          <a:chOff x="0" y="0"/>
          <a:chExt cx="0" cy="0"/>
        </a:xfrm>
      </p:grpSpPr>
      <p:sp>
        <p:nvSpPr>
          <p:cNvPr id="8" name="Content Placeholder 2"/>
          <p:cNvSpPr>
            <a:spLocks noGrp="1"/>
          </p:cNvSpPr>
          <p:nvPr>
            <p:ph idx="13"/>
          </p:nvPr>
        </p:nvSpPr>
        <p:spPr>
          <a:xfrm>
            <a:off x="342242" y="801394"/>
            <a:ext cx="11528917" cy="5227769"/>
          </a:xfrm>
        </p:spPr>
        <p:txBody>
          <a:bodyPr>
            <a:noAutofit/>
          </a:bodyPr>
          <a:lstStyle>
            <a:lvl1pPr marL="0" indent="0">
              <a:buFontTx/>
              <a:buNone/>
              <a:defRPr sz="1477"/>
            </a:lvl1pPr>
            <a:lvl2pPr marL="450186" indent="-225092">
              <a:buSzPct val="110000"/>
              <a:buFont typeface="Arial"/>
              <a:buChar char="•"/>
              <a:defRPr sz="1477"/>
            </a:lvl2pPr>
            <a:lvl3pPr marL="900372" indent="-225092">
              <a:buSzPct val="90000"/>
              <a:buFont typeface="Courier New"/>
              <a:buChar char="o"/>
              <a:defRPr sz="1477"/>
            </a:lvl3pPr>
            <a:lvl4pPr marL="1350558" indent="-225092">
              <a:buSzPct val="110000"/>
              <a:buFont typeface="Arial"/>
              <a:buChar char="•"/>
              <a:defRPr sz="1477"/>
            </a:lvl4pPr>
            <a:lvl5pPr marL="1800744" indent="-225092">
              <a:buSzPct val="90000"/>
              <a:buFont typeface="Courier New"/>
              <a:buChar char="o"/>
              <a:defRPr sz="14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p:cNvSpPr/>
          <p:nvPr userDrawn="1"/>
        </p:nvSpPr>
        <p:spPr>
          <a:xfrm>
            <a:off x="1" y="6754807"/>
            <a:ext cx="12192000" cy="84339"/>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6" name="Title 1"/>
          <p:cNvSpPr>
            <a:spLocks noGrp="1"/>
          </p:cNvSpPr>
          <p:nvPr>
            <p:ph type="title"/>
          </p:nvPr>
        </p:nvSpPr>
        <p:spPr>
          <a:xfrm>
            <a:off x="342242" y="194430"/>
            <a:ext cx="11528917" cy="594360"/>
          </a:xfrm>
        </p:spPr>
        <p:txBody>
          <a:bodyPr>
            <a:noAutofit/>
          </a:bodyPr>
          <a:lstStyle>
            <a:lvl1pPr>
              <a:defRPr sz="2585"/>
            </a:lvl1pPr>
          </a:lstStyle>
          <a:p>
            <a:r>
              <a:rPr lang="en-US"/>
              <a:t>Click to edit Master title style</a:t>
            </a:r>
          </a:p>
        </p:txBody>
      </p:sp>
    </p:spTree>
    <p:extLst>
      <p:ext uri="{BB962C8B-B14F-4D97-AF65-F5344CB8AC3E}">
        <p14:creationId xmlns:p14="http://schemas.microsoft.com/office/powerpoint/2010/main" val="422551503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Fullscreen Image">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6D2F0A9D-203F-40EE-A3C4-B7A3AC7504E3}"/>
              </a:ext>
            </a:extLst>
          </p:cNvPr>
          <p:cNvSpPr>
            <a:spLocks noGrp="1"/>
          </p:cNvSpPr>
          <p:nvPr>
            <p:ph type="body" sz="quarter" idx="21" hasCustomPrompt="1"/>
          </p:nvPr>
        </p:nvSpPr>
        <p:spPr>
          <a:xfrm>
            <a:off x="0" y="0"/>
            <a:ext cx="12192000" cy="6858000"/>
          </a:xfrm>
          <a:custGeom>
            <a:avLst/>
            <a:gdLst>
              <a:gd name="connsiteX0" fmla="*/ 325457 w 12192000"/>
              <a:gd name="connsiteY0" fmla="*/ 278027 h 6858000"/>
              <a:gd name="connsiteX1" fmla="*/ 325457 w 12192000"/>
              <a:gd name="connsiteY1" fmla="*/ 6432335 h 6858000"/>
              <a:gd name="connsiteX2" fmla="*/ 11866543 w 12192000"/>
              <a:gd name="connsiteY2" fmla="*/ 6432335 h 6858000"/>
              <a:gd name="connsiteX3" fmla="*/ 11866543 w 12192000"/>
              <a:gd name="connsiteY3" fmla="*/ 831212 h 6858000"/>
              <a:gd name="connsiteX4" fmla="*/ 11313358 w 12192000"/>
              <a:gd name="connsiteY4" fmla="*/ 278027 h 6858000"/>
              <a:gd name="connsiteX5" fmla="*/ 0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325457" y="278027"/>
                </a:moveTo>
                <a:lnTo>
                  <a:pt x="325457" y="6432335"/>
                </a:lnTo>
                <a:lnTo>
                  <a:pt x="11866543" y="6432335"/>
                </a:lnTo>
                <a:lnTo>
                  <a:pt x="11866543" y="831212"/>
                </a:lnTo>
                <a:lnTo>
                  <a:pt x="11313358" y="278027"/>
                </a:lnTo>
                <a:close/>
                <a:moveTo>
                  <a:pt x="0" y="0"/>
                </a:moveTo>
                <a:lnTo>
                  <a:pt x="12192000" y="0"/>
                </a:lnTo>
                <a:lnTo>
                  <a:pt x="12192000" y="6858000"/>
                </a:lnTo>
                <a:lnTo>
                  <a:pt x="0" y="6858000"/>
                </a:lnTo>
                <a:close/>
              </a:path>
            </a:pathLst>
          </a:custGeom>
          <a:solidFill>
            <a:schemeClr val="tx1"/>
          </a:solidFill>
        </p:spPr>
        <p:txBody>
          <a:bodyPr wrap="square">
            <a:noAutofit/>
          </a:bodyPr>
          <a:lstStyle>
            <a:lvl1pPr>
              <a:defRPr/>
            </a:lvl1pPr>
          </a:lstStyle>
          <a:p>
            <a:pPr lvl="0"/>
            <a:r>
              <a:rPr lang="en-US"/>
              <a:t>   </a:t>
            </a:r>
          </a:p>
        </p:txBody>
      </p:sp>
      <p:sp>
        <p:nvSpPr>
          <p:cNvPr id="9" name="Footer Placeholder 8">
            <a:extLst>
              <a:ext uri="{FF2B5EF4-FFF2-40B4-BE49-F238E27FC236}">
                <a16:creationId xmlns:a16="http://schemas.microsoft.com/office/drawing/2014/main" id="{255A72A1-1D2E-40A9-A724-47813792A544}"/>
              </a:ext>
            </a:extLst>
          </p:cNvPr>
          <p:cNvSpPr>
            <a:spLocks noGrp="1"/>
          </p:cNvSpPr>
          <p:nvPr>
            <p:ph type="ftr" sz="quarter" idx="15"/>
          </p:nvPr>
        </p:nvSpPr>
        <p:spPr>
          <a:xfrm>
            <a:off x="4325019" y="6510340"/>
            <a:ext cx="5492750" cy="263525"/>
          </a:xfrm>
          <a:prstGeom prst="rect">
            <a:avLst/>
          </a:prstGeom>
        </p:spPr>
        <p:txBody>
          <a:bodyPr/>
          <a:lstStyle>
            <a:lvl1pPr>
              <a:defRPr>
                <a:solidFill>
                  <a:schemeClr val="bg1"/>
                </a:solidFill>
              </a:defRPr>
            </a:lvl1pPr>
          </a:lstStyle>
          <a:p>
            <a:endParaRPr lang="en-US" dirty="0"/>
          </a:p>
        </p:txBody>
      </p:sp>
      <p:sp>
        <p:nvSpPr>
          <p:cNvPr id="5" name="Text Placeholder 4">
            <a:extLst>
              <a:ext uri="{FF2B5EF4-FFF2-40B4-BE49-F238E27FC236}">
                <a16:creationId xmlns:a16="http://schemas.microsoft.com/office/drawing/2014/main" id="{CC9DCDD2-D6A0-4CD5-A7C7-3BB84BC8A3FC}"/>
              </a:ext>
            </a:extLst>
          </p:cNvPr>
          <p:cNvSpPr>
            <a:spLocks noGrp="1"/>
          </p:cNvSpPr>
          <p:nvPr>
            <p:ph type="body" sz="quarter" idx="18" hasCustomPrompt="1"/>
          </p:nvPr>
        </p:nvSpPr>
        <p:spPr>
          <a:xfrm>
            <a:off x="326237" y="6550822"/>
            <a:ext cx="1852878" cy="171636"/>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a:t> </a:t>
            </a:r>
          </a:p>
        </p:txBody>
      </p:sp>
      <p:sp>
        <p:nvSpPr>
          <p:cNvPr id="49" name="Text Placeholder 48">
            <a:extLst>
              <a:ext uri="{FF2B5EF4-FFF2-40B4-BE49-F238E27FC236}">
                <a16:creationId xmlns:a16="http://schemas.microsoft.com/office/drawing/2014/main" id="{D0702161-248B-4E13-9A42-8AA4B03F8108}"/>
              </a:ext>
            </a:extLst>
          </p:cNvPr>
          <p:cNvSpPr>
            <a:spLocks noGrp="1"/>
          </p:cNvSpPr>
          <p:nvPr>
            <p:ph type="body" sz="quarter" idx="20" hasCustomPrompt="1"/>
          </p:nvPr>
        </p:nvSpPr>
        <p:spPr>
          <a:xfrm>
            <a:off x="9808306" y="6545838"/>
            <a:ext cx="1826482" cy="213737"/>
          </a:xfrm>
          <a:blipFill>
            <a:blip r:embed="rId4">
              <a:lum/>
              <a:extLst>
                <a:ext uri="{96DAC541-7B7A-43D3-8B79-37D633B846F1}">
                  <asvg:svgBlip xmlns:asvg="http://schemas.microsoft.com/office/drawing/2016/SVG/main" r:embed="rId5"/>
                </a:ext>
              </a:extLst>
            </a:blip>
            <a:stretch>
              <a:fillRect/>
            </a:stretch>
          </a:blipFill>
        </p:spPr>
        <p:txBody>
          <a:bodyPr/>
          <a:lstStyle>
            <a:lvl1pPr>
              <a:defRPr>
                <a:solidFill>
                  <a:schemeClr val="bg1"/>
                </a:solidFill>
              </a:defRPr>
            </a:lvl1pPr>
          </a:lstStyle>
          <a:p>
            <a:pPr lvl="0"/>
            <a:r>
              <a:rPr lang="en-US"/>
              <a:t> </a:t>
            </a:r>
          </a:p>
        </p:txBody>
      </p:sp>
      <p:sp>
        <p:nvSpPr>
          <p:cNvPr id="8" name="Picture Placeholder 2">
            <a:extLst>
              <a:ext uri="{FF2B5EF4-FFF2-40B4-BE49-F238E27FC236}">
                <a16:creationId xmlns:a16="http://schemas.microsoft.com/office/drawing/2014/main" id="{66ACB1F2-1CB8-494B-ADA1-D7CFCEF29586}"/>
              </a:ext>
            </a:extLst>
          </p:cNvPr>
          <p:cNvSpPr>
            <a:spLocks noGrp="1"/>
          </p:cNvSpPr>
          <p:nvPr>
            <p:ph type="pic" sz="quarter" idx="22" hasCustomPrompt="1"/>
          </p:nvPr>
        </p:nvSpPr>
        <p:spPr>
          <a:xfrm>
            <a:off x="0" y="0"/>
            <a:ext cx="12192000" cy="6858000"/>
          </a:xfrm>
        </p:spPr>
        <p:txBody>
          <a:bodyPr anchor="ctr"/>
          <a:lstStyle>
            <a:lvl1pPr algn="ctr">
              <a:defRPr/>
            </a:lvl1pPr>
          </a:lstStyle>
          <a:p>
            <a:r>
              <a:rPr lang="en-US" dirty="0"/>
              <a:t>Click icon to insert image &gt; Then right click and ‘send to back’</a:t>
            </a:r>
          </a:p>
        </p:txBody>
      </p:sp>
      <p:sp>
        <p:nvSpPr>
          <p:cNvPr id="11" name="Slide Number Placeholder 17">
            <a:extLst>
              <a:ext uri="{FF2B5EF4-FFF2-40B4-BE49-F238E27FC236}">
                <a16:creationId xmlns:a16="http://schemas.microsoft.com/office/drawing/2014/main" id="{E05FF885-8FC0-48A4-8C48-7CF8CBDCE251}"/>
              </a:ext>
            </a:extLst>
          </p:cNvPr>
          <p:cNvSpPr>
            <a:spLocks noGrp="1"/>
          </p:cNvSpPr>
          <p:nvPr>
            <p:ph type="sldNum" sz="quarter" idx="60"/>
          </p:nvPr>
        </p:nvSpPr>
        <p:spPr>
          <a:xfrm>
            <a:off x="11522870" y="6515102"/>
            <a:ext cx="445293" cy="263525"/>
          </a:xfrm>
        </p:spPr>
        <p:txBody>
          <a:bodyPr/>
          <a:lstStyle>
            <a:lvl1pPr>
              <a:defRPr>
                <a:solidFill>
                  <a:schemeClr val="bg1"/>
                </a:solidFill>
              </a:defRPr>
            </a:lvl1pPr>
          </a:lstStyle>
          <a:p>
            <a:fld id="{5034EE70-12A8-400F-8E3D-398CDD8B315D}" type="slidenum">
              <a:rPr lang="en-US" smtClean="0"/>
              <a:pPr/>
              <a:t>‹#›</a:t>
            </a:fld>
            <a:endParaRPr lang="en-US" dirty="0"/>
          </a:p>
        </p:txBody>
      </p:sp>
    </p:spTree>
    <p:extLst>
      <p:ext uri="{BB962C8B-B14F-4D97-AF65-F5344CB8AC3E}">
        <p14:creationId xmlns:p14="http://schemas.microsoft.com/office/powerpoint/2010/main" val="196623092"/>
      </p:ext>
    </p:extLst>
  </p:cSld>
  <p:clrMapOvr>
    <a:overrideClrMapping bg1="dk1" tx1="lt1" bg2="dk2" tx2="lt2" accent1="accent1" accent2="accent2" accent3="accent3" accent4="accent4" accent5="accent5" accent6="accent6" hlink="hlink" folHlink="folHlink"/>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Section Divider - Blue">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C612D748-E11D-4749-9697-BB9660C4274A}"/>
              </a:ext>
            </a:extLst>
          </p:cNvPr>
          <p:cNvSpPr/>
          <p:nvPr userDrawn="1"/>
        </p:nvSpPr>
        <p:spPr>
          <a:xfrm>
            <a:off x="0" y="0"/>
            <a:ext cx="12192000" cy="6858000"/>
          </a:xfrm>
          <a:prstGeom prst="rect">
            <a:avLst/>
          </a:prstGeom>
          <a:solidFill>
            <a:schemeClr val="accent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600"/>
              </a:spcAft>
            </a:pPr>
            <a:endParaRPr lang="en-US" sz="2000" dirty="0">
              <a:solidFill>
                <a:schemeClr val="tx1"/>
              </a:solidFill>
            </a:endParaRPr>
          </a:p>
        </p:txBody>
      </p:sp>
      <p:sp>
        <p:nvSpPr>
          <p:cNvPr id="6" name="Text Placeholder 5">
            <a:extLst>
              <a:ext uri="{FF2B5EF4-FFF2-40B4-BE49-F238E27FC236}">
                <a16:creationId xmlns:a16="http://schemas.microsoft.com/office/drawing/2014/main" id="{85023233-F6FC-4927-94AC-4F8681FC8475}"/>
              </a:ext>
            </a:extLst>
          </p:cNvPr>
          <p:cNvSpPr>
            <a:spLocks noGrp="1"/>
          </p:cNvSpPr>
          <p:nvPr>
            <p:ph type="body" sz="quarter" idx="21" hasCustomPrompt="1"/>
          </p:nvPr>
        </p:nvSpPr>
        <p:spPr>
          <a:xfrm>
            <a:off x="2714625" y="1828800"/>
            <a:ext cx="6762750" cy="3200400"/>
          </a:xfrm>
          <a:ln>
            <a:solidFill>
              <a:schemeClr val="tx1"/>
            </a:solidFill>
          </a:ln>
        </p:spPr>
        <p:txBody>
          <a:bodyPr/>
          <a:lstStyle>
            <a:lvl1pPr>
              <a:defRPr/>
            </a:lvl1pPr>
          </a:lstStyle>
          <a:p>
            <a:pPr lvl="0"/>
            <a:r>
              <a:rPr lang="en-US"/>
              <a:t> </a:t>
            </a:r>
          </a:p>
        </p:txBody>
      </p:sp>
      <p:sp>
        <p:nvSpPr>
          <p:cNvPr id="66" name="Text Placeholder 43">
            <a:extLst>
              <a:ext uri="{FF2B5EF4-FFF2-40B4-BE49-F238E27FC236}">
                <a16:creationId xmlns:a16="http://schemas.microsoft.com/office/drawing/2014/main" id="{B71C1A23-9EDF-4C92-98F1-0130A7178B36}"/>
              </a:ext>
            </a:extLst>
          </p:cNvPr>
          <p:cNvSpPr>
            <a:spLocks noGrp="1"/>
          </p:cNvSpPr>
          <p:nvPr>
            <p:ph type="body" sz="quarter" idx="27" hasCustomPrompt="1"/>
          </p:nvPr>
        </p:nvSpPr>
        <p:spPr>
          <a:xfrm>
            <a:off x="2714625" y="1828800"/>
            <a:ext cx="272115" cy="272115"/>
          </a:xfrm>
          <a:custGeom>
            <a:avLst/>
            <a:gdLst>
              <a:gd name="connsiteX0" fmla="*/ 0 w 272115"/>
              <a:gd name="connsiteY0" fmla="*/ 0 h 272115"/>
              <a:gd name="connsiteX1" fmla="*/ 272115 w 272115"/>
              <a:gd name="connsiteY1" fmla="*/ 0 h 272115"/>
              <a:gd name="connsiteX2" fmla="*/ 0 w 272115"/>
              <a:gd name="connsiteY2" fmla="*/ 272115 h 272115"/>
            </a:gdLst>
            <a:ahLst/>
            <a:cxnLst>
              <a:cxn ang="0">
                <a:pos x="connsiteX0" y="connsiteY0"/>
              </a:cxn>
              <a:cxn ang="0">
                <a:pos x="connsiteX1" y="connsiteY1"/>
              </a:cxn>
              <a:cxn ang="0">
                <a:pos x="connsiteX2" y="connsiteY2"/>
              </a:cxn>
            </a:cxnLst>
            <a:rect l="l" t="t" r="r" b="b"/>
            <a:pathLst>
              <a:path w="272115" h="272115">
                <a:moveTo>
                  <a:pt x="0" y="0"/>
                </a:moveTo>
                <a:lnTo>
                  <a:pt x="272115" y="0"/>
                </a:lnTo>
                <a:lnTo>
                  <a:pt x="0" y="272115"/>
                </a:lnTo>
                <a:close/>
              </a:path>
            </a:pathLst>
          </a:custGeom>
          <a:solidFill>
            <a:schemeClr val="tx1"/>
          </a:solidFill>
        </p:spPr>
        <p:txBody>
          <a:bodyPr wrap="square">
            <a:noAutofit/>
          </a:bodyPr>
          <a:lstStyle/>
          <a:p>
            <a:pPr lvl="0"/>
            <a:r>
              <a:rPr lang="en-US"/>
              <a:t> </a:t>
            </a:r>
          </a:p>
        </p:txBody>
      </p:sp>
      <p:sp>
        <p:nvSpPr>
          <p:cNvPr id="2" name="Title 1">
            <a:extLst>
              <a:ext uri="{FF2B5EF4-FFF2-40B4-BE49-F238E27FC236}">
                <a16:creationId xmlns:a16="http://schemas.microsoft.com/office/drawing/2014/main" id="{844F0621-2390-4957-AD47-60FDBAA34491}"/>
              </a:ext>
            </a:extLst>
          </p:cNvPr>
          <p:cNvSpPr>
            <a:spLocks noGrp="1"/>
          </p:cNvSpPr>
          <p:nvPr>
            <p:ph type="title" hasCustomPrompt="1"/>
          </p:nvPr>
        </p:nvSpPr>
        <p:spPr>
          <a:xfrm>
            <a:off x="3028950" y="2232661"/>
            <a:ext cx="6134100" cy="2392678"/>
          </a:xfrm>
        </p:spPr>
        <p:txBody>
          <a:bodyPr anchor="ctr"/>
          <a:lstStyle>
            <a:lvl1pPr algn="ctr">
              <a:defRPr sz="2800" b="1">
                <a:solidFill>
                  <a:schemeClr val="tx1"/>
                </a:solidFill>
              </a:defRPr>
            </a:lvl1pPr>
          </a:lstStyle>
          <a:p>
            <a:r>
              <a:rPr lang="en-US"/>
              <a:t>Click to insert section divider name</a:t>
            </a:r>
          </a:p>
        </p:txBody>
      </p:sp>
      <p:sp>
        <p:nvSpPr>
          <p:cNvPr id="26" name="Freeform: Shape 25">
            <a:extLst>
              <a:ext uri="{FF2B5EF4-FFF2-40B4-BE49-F238E27FC236}">
                <a16:creationId xmlns:a16="http://schemas.microsoft.com/office/drawing/2014/main" id="{608DD6E2-0883-4E90-9E4B-A34E497CC4B8}"/>
              </a:ext>
            </a:extLst>
          </p:cNvPr>
          <p:cNvSpPr/>
          <p:nvPr userDrawn="1"/>
        </p:nvSpPr>
        <p:spPr>
          <a:xfrm>
            <a:off x="325457" y="278027"/>
            <a:ext cx="11541086" cy="6154308"/>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dirty="0">
              <a:solidFill>
                <a:schemeClr val="tx1"/>
              </a:solidFill>
            </a:endParaRPr>
          </a:p>
        </p:txBody>
      </p:sp>
      <p:sp>
        <p:nvSpPr>
          <p:cNvPr id="29" name="Footer Placeholder 28">
            <a:extLst>
              <a:ext uri="{FF2B5EF4-FFF2-40B4-BE49-F238E27FC236}">
                <a16:creationId xmlns:a16="http://schemas.microsoft.com/office/drawing/2014/main" id="{98EE0E06-16D1-41D4-9DC0-2206B677BAA9}"/>
              </a:ext>
            </a:extLst>
          </p:cNvPr>
          <p:cNvSpPr>
            <a:spLocks noGrp="1"/>
          </p:cNvSpPr>
          <p:nvPr>
            <p:ph type="ftr" sz="quarter" idx="29"/>
          </p:nvPr>
        </p:nvSpPr>
        <p:spPr/>
        <p:txBody>
          <a:bodyPr/>
          <a:lstStyle/>
          <a:p>
            <a:endParaRPr lang="en-US" sz="600" noProof="0" dirty="0"/>
          </a:p>
        </p:txBody>
      </p:sp>
      <p:sp>
        <p:nvSpPr>
          <p:cNvPr id="30" name="Slide Number Placeholder 29">
            <a:extLst>
              <a:ext uri="{FF2B5EF4-FFF2-40B4-BE49-F238E27FC236}">
                <a16:creationId xmlns:a16="http://schemas.microsoft.com/office/drawing/2014/main" id="{94BCF4D7-BBAC-4763-A4B3-5C7314336D6F}"/>
              </a:ext>
            </a:extLst>
          </p:cNvPr>
          <p:cNvSpPr>
            <a:spLocks noGrp="1"/>
          </p:cNvSpPr>
          <p:nvPr>
            <p:ph type="sldNum" sz="quarter" idx="30"/>
          </p:nvPr>
        </p:nvSpPr>
        <p:spPr/>
        <p:txBody>
          <a:bodyPr/>
          <a:lstStyle/>
          <a:p>
            <a:fld id="{5034EE70-12A8-400F-8E3D-398CDD8B315D}" type="slidenum">
              <a:rPr lang="en-US" noProof="0" smtClean="0"/>
              <a:pPr/>
              <a:t>‹#›</a:t>
            </a:fld>
            <a:endParaRPr lang="en-US" noProof="0" dirty="0"/>
          </a:p>
        </p:txBody>
      </p:sp>
      <p:pic>
        <p:nvPicPr>
          <p:cNvPr id="35" name="Graphic 34">
            <a:extLst>
              <a:ext uri="{FF2B5EF4-FFF2-40B4-BE49-F238E27FC236}">
                <a16:creationId xmlns:a16="http://schemas.microsoft.com/office/drawing/2014/main" id="{45FF1E37-846F-45D9-9977-5A1221EEC91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808306" y="6544936"/>
            <a:ext cx="1826482" cy="213737"/>
          </a:xfrm>
          <a:prstGeom prst="rect">
            <a:avLst/>
          </a:prstGeom>
        </p:spPr>
      </p:pic>
      <p:sp>
        <p:nvSpPr>
          <p:cNvPr id="27" name="Text Placeholder 11">
            <a:extLst>
              <a:ext uri="{FF2B5EF4-FFF2-40B4-BE49-F238E27FC236}">
                <a16:creationId xmlns:a16="http://schemas.microsoft.com/office/drawing/2014/main" id="{6EF84F80-A299-43A8-91F6-B4C88EC3875F}"/>
              </a:ext>
            </a:extLst>
          </p:cNvPr>
          <p:cNvSpPr>
            <a:spLocks noGrp="1"/>
          </p:cNvSpPr>
          <p:nvPr>
            <p:ph type="body" sz="quarter" idx="15" hasCustomPrompt="1"/>
          </p:nvPr>
        </p:nvSpPr>
        <p:spPr>
          <a:xfrm>
            <a:off x="5325600" y="140708"/>
            <a:ext cx="1540800" cy="274637"/>
          </a:xfrm>
          <a:solidFill>
            <a:schemeClr val="accent1"/>
          </a:solidFill>
          <a:ln>
            <a:solidFill>
              <a:schemeClr val="tx2"/>
            </a:solidFill>
          </a:ln>
        </p:spPr>
        <p:txBody>
          <a:bodyPr anchor="ctr"/>
          <a:lstStyle>
            <a:lvl1pPr algn="ctr">
              <a:defRPr sz="1050" b="1" cap="all" baseline="0">
                <a:solidFill>
                  <a:schemeClr val="tx1"/>
                </a:solidFill>
              </a:defRPr>
            </a:lvl1pPr>
          </a:lstStyle>
          <a:p>
            <a:pPr lvl="0"/>
            <a:r>
              <a:rPr lang="en-US"/>
              <a:t>Section XX</a:t>
            </a:r>
          </a:p>
        </p:txBody>
      </p:sp>
      <p:grpSp>
        <p:nvGrpSpPr>
          <p:cNvPr id="3" name="Graphic 27">
            <a:extLst>
              <a:ext uri="{FF2B5EF4-FFF2-40B4-BE49-F238E27FC236}">
                <a16:creationId xmlns:a16="http://schemas.microsoft.com/office/drawing/2014/main" id="{F5DA21CF-BC99-41F9-9FA0-634020E62B44}"/>
              </a:ext>
            </a:extLst>
          </p:cNvPr>
          <p:cNvGrpSpPr/>
          <p:nvPr/>
        </p:nvGrpSpPr>
        <p:grpSpPr>
          <a:xfrm>
            <a:off x="325457" y="6551607"/>
            <a:ext cx="1852878" cy="171636"/>
            <a:chOff x="325457" y="6551607"/>
            <a:chExt cx="1852878" cy="171636"/>
          </a:xfrm>
          <a:solidFill>
            <a:schemeClr val="tx1"/>
          </a:solidFill>
        </p:grpSpPr>
        <p:sp>
          <p:nvSpPr>
            <p:cNvPr id="4" name="Graphic 27">
              <a:extLst>
                <a:ext uri="{FF2B5EF4-FFF2-40B4-BE49-F238E27FC236}">
                  <a16:creationId xmlns:a16="http://schemas.microsoft.com/office/drawing/2014/main" id="{36F6EC0C-D3BB-47B5-89AA-023D0D06CC7E}"/>
                </a:ext>
              </a:extLst>
            </p:cNvPr>
            <p:cNvSpPr/>
            <p:nvPr/>
          </p:nvSpPr>
          <p:spPr>
            <a:xfrm>
              <a:off x="1117219" y="6555893"/>
              <a:ext cx="114610" cy="163250"/>
            </a:xfrm>
            <a:custGeom>
              <a:avLst/>
              <a:gdLst>
                <a:gd name="connsiteX0" fmla="*/ 97913 w 114610"/>
                <a:gd name="connsiteY0" fmla="*/ 163250 h 163250"/>
                <a:gd name="connsiteX1" fmla="*/ 114611 w 114610"/>
                <a:gd name="connsiteY1" fmla="*/ 163250 h 163250"/>
                <a:gd name="connsiteX2" fmla="*/ 114611 w 114610"/>
                <a:gd name="connsiteY2" fmla="*/ 0 h 163250"/>
                <a:gd name="connsiteX3" fmla="*/ 97913 w 114610"/>
                <a:gd name="connsiteY3" fmla="*/ 0 h 163250"/>
                <a:gd name="connsiteX4" fmla="*/ 97913 w 114610"/>
                <a:gd name="connsiteY4" fmla="*/ 73351 h 163250"/>
                <a:gd name="connsiteX5" fmla="*/ 16698 w 114610"/>
                <a:gd name="connsiteY5" fmla="*/ 73351 h 163250"/>
                <a:gd name="connsiteX6" fmla="*/ 16698 w 114610"/>
                <a:gd name="connsiteY6" fmla="*/ 0 h 163250"/>
                <a:gd name="connsiteX7" fmla="*/ 0 w 114610"/>
                <a:gd name="connsiteY7" fmla="*/ 0 h 163250"/>
                <a:gd name="connsiteX8" fmla="*/ 0 w 114610"/>
                <a:gd name="connsiteY8" fmla="*/ 163250 h 163250"/>
                <a:gd name="connsiteX9" fmla="*/ 16698 w 114610"/>
                <a:gd name="connsiteY9" fmla="*/ 163250 h 163250"/>
                <a:gd name="connsiteX10" fmla="*/ 16698 w 114610"/>
                <a:gd name="connsiteY10" fmla="*/ 89937 h 163250"/>
                <a:gd name="connsiteX11" fmla="*/ 97913 w 114610"/>
                <a:gd name="connsiteY11" fmla="*/ 89937 h 163250"/>
                <a:gd name="connsiteX12" fmla="*/ 97913 w 114610"/>
                <a:gd name="connsiteY12" fmla="*/ 16325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610" h="163250">
                  <a:moveTo>
                    <a:pt x="97913" y="163250"/>
                  </a:moveTo>
                  <a:lnTo>
                    <a:pt x="114611" y="163250"/>
                  </a:lnTo>
                  <a:lnTo>
                    <a:pt x="114611" y="0"/>
                  </a:lnTo>
                  <a:lnTo>
                    <a:pt x="97913" y="0"/>
                  </a:lnTo>
                  <a:lnTo>
                    <a:pt x="97913" y="73351"/>
                  </a:lnTo>
                  <a:lnTo>
                    <a:pt x="16698" y="73351"/>
                  </a:lnTo>
                  <a:lnTo>
                    <a:pt x="16698" y="0"/>
                  </a:lnTo>
                  <a:lnTo>
                    <a:pt x="0" y="0"/>
                  </a:lnTo>
                  <a:lnTo>
                    <a:pt x="0" y="163250"/>
                  </a:lnTo>
                  <a:lnTo>
                    <a:pt x="16698" y="163250"/>
                  </a:lnTo>
                  <a:lnTo>
                    <a:pt x="16698" y="89937"/>
                  </a:lnTo>
                  <a:lnTo>
                    <a:pt x="97913" y="89937"/>
                  </a:lnTo>
                  <a:lnTo>
                    <a:pt x="97913" y="163250"/>
                  </a:lnTo>
                  <a:close/>
                </a:path>
              </a:pathLst>
            </a:custGeom>
            <a:solidFill>
              <a:schemeClr val="tx1"/>
            </a:solidFill>
            <a:ln w="3718" cap="flat">
              <a:noFill/>
              <a:prstDash val="solid"/>
              <a:miter/>
            </a:ln>
          </p:spPr>
          <p:txBody>
            <a:bodyPr rtlCol="0" anchor="ctr"/>
            <a:lstStyle/>
            <a:p>
              <a:endParaRPr lang="en-US" dirty="0"/>
            </a:p>
          </p:txBody>
        </p:sp>
        <p:sp>
          <p:nvSpPr>
            <p:cNvPr id="5" name="Graphic 27">
              <a:extLst>
                <a:ext uri="{FF2B5EF4-FFF2-40B4-BE49-F238E27FC236}">
                  <a16:creationId xmlns:a16="http://schemas.microsoft.com/office/drawing/2014/main" id="{8F73D1FA-278D-4083-A0F8-0DE31344EE99}"/>
                </a:ext>
              </a:extLst>
            </p:cNvPr>
            <p:cNvSpPr/>
            <p:nvPr/>
          </p:nvSpPr>
          <p:spPr>
            <a:xfrm>
              <a:off x="1260380" y="6555893"/>
              <a:ext cx="16809" cy="163250"/>
            </a:xfrm>
            <a:custGeom>
              <a:avLst/>
              <a:gdLst>
                <a:gd name="connsiteX0" fmla="*/ 0 w 16809"/>
                <a:gd name="connsiteY0" fmla="*/ 0 h 163250"/>
                <a:gd name="connsiteX1" fmla="*/ 16810 w 16809"/>
                <a:gd name="connsiteY1" fmla="*/ 0 h 163250"/>
                <a:gd name="connsiteX2" fmla="*/ 16810 w 16809"/>
                <a:gd name="connsiteY2" fmla="*/ 163250 h 163250"/>
                <a:gd name="connsiteX3" fmla="*/ 0 w 16809"/>
                <a:gd name="connsiteY3" fmla="*/ 163250 h 163250"/>
              </a:gdLst>
              <a:ahLst/>
              <a:cxnLst>
                <a:cxn ang="0">
                  <a:pos x="connsiteX0" y="connsiteY0"/>
                </a:cxn>
                <a:cxn ang="0">
                  <a:pos x="connsiteX1" y="connsiteY1"/>
                </a:cxn>
                <a:cxn ang="0">
                  <a:pos x="connsiteX2" y="connsiteY2"/>
                </a:cxn>
                <a:cxn ang="0">
                  <a:pos x="connsiteX3" y="connsiteY3"/>
                </a:cxn>
              </a:cxnLst>
              <a:rect l="l" t="t" r="r" b="b"/>
              <a:pathLst>
                <a:path w="16809" h="163250">
                  <a:moveTo>
                    <a:pt x="0" y="0"/>
                  </a:moveTo>
                  <a:lnTo>
                    <a:pt x="16810" y="0"/>
                  </a:lnTo>
                  <a:lnTo>
                    <a:pt x="16810" y="163250"/>
                  </a:lnTo>
                  <a:lnTo>
                    <a:pt x="0" y="163250"/>
                  </a:lnTo>
                  <a:close/>
                </a:path>
              </a:pathLst>
            </a:custGeom>
            <a:solidFill>
              <a:schemeClr val="tx1"/>
            </a:solidFill>
            <a:ln w="3718" cap="flat">
              <a:noFill/>
              <a:prstDash val="solid"/>
              <a:miter/>
            </a:ln>
          </p:spPr>
          <p:txBody>
            <a:bodyPr rtlCol="0" anchor="ctr"/>
            <a:lstStyle/>
            <a:p>
              <a:endParaRPr lang="en-US" dirty="0"/>
            </a:p>
          </p:txBody>
        </p:sp>
        <p:sp>
          <p:nvSpPr>
            <p:cNvPr id="7" name="Graphic 27">
              <a:extLst>
                <a:ext uri="{FF2B5EF4-FFF2-40B4-BE49-F238E27FC236}">
                  <a16:creationId xmlns:a16="http://schemas.microsoft.com/office/drawing/2014/main" id="{9D5737EF-B423-4524-B0A0-8586A2634FE1}"/>
                </a:ext>
              </a:extLst>
            </p:cNvPr>
            <p:cNvSpPr/>
            <p:nvPr/>
          </p:nvSpPr>
          <p:spPr>
            <a:xfrm>
              <a:off x="1298803" y="6554774"/>
              <a:ext cx="165642" cy="165862"/>
            </a:xfrm>
            <a:custGeom>
              <a:avLst/>
              <a:gdLst>
                <a:gd name="connsiteX0" fmla="*/ 24343 w 165642"/>
                <a:gd name="connsiteY0" fmla="*/ 141596 h 165862"/>
                <a:gd name="connsiteX1" fmla="*/ 114652 w 165642"/>
                <a:gd name="connsiteY1" fmla="*/ 159859 h 165862"/>
                <a:gd name="connsiteX2" fmla="*/ 141600 w 165642"/>
                <a:gd name="connsiteY2" fmla="*/ 141558 h 165862"/>
                <a:gd name="connsiteX3" fmla="*/ 160869 w 165642"/>
                <a:gd name="connsiteY3" fmla="*/ 110996 h 165862"/>
                <a:gd name="connsiteX4" fmla="*/ 165640 w 165642"/>
                <a:gd name="connsiteY4" fmla="*/ 81514 h 165862"/>
                <a:gd name="connsiteX5" fmla="*/ 91283 w 165642"/>
                <a:gd name="connsiteY5" fmla="*/ 81514 h 165862"/>
                <a:gd name="connsiteX6" fmla="*/ 91283 w 165642"/>
                <a:gd name="connsiteY6" fmla="*/ 96720 h 165862"/>
                <a:gd name="connsiteX7" fmla="*/ 149352 w 165642"/>
                <a:gd name="connsiteY7" fmla="*/ 96720 h 165862"/>
                <a:gd name="connsiteX8" fmla="*/ 142606 w 165642"/>
                <a:gd name="connsiteY8" fmla="*/ 110996 h 165862"/>
                <a:gd name="connsiteX9" fmla="*/ 133623 w 165642"/>
                <a:gd name="connsiteY9" fmla="*/ 124935 h 165862"/>
                <a:gd name="connsiteX10" fmla="*/ 121547 w 165642"/>
                <a:gd name="connsiteY10" fmla="*/ 136415 h 165862"/>
                <a:gd name="connsiteX11" fmla="*/ 103471 w 165642"/>
                <a:gd name="connsiteY11" fmla="*/ 145621 h 165862"/>
                <a:gd name="connsiteX12" fmla="*/ 57962 w 165642"/>
                <a:gd name="connsiteY12" fmla="*/ 143944 h 165862"/>
                <a:gd name="connsiteX13" fmla="*/ 36717 w 165642"/>
                <a:gd name="connsiteY13" fmla="*/ 129445 h 165862"/>
                <a:gd name="connsiteX14" fmla="*/ 22330 w 165642"/>
                <a:gd name="connsiteY14" fmla="*/ 108163 h 165862"/>
                <a:gd name="connsiteX15" fmla="*/ 22330 w 165642"/>
                <a:gd name="connsiteY15" fmla="*/ 57734 h 165862"/>
                <a:gd name="connsiteX16" fmla="*/ 36717 w 165642"/>
                <a:gd name="connsiteY16" fmla="*/ 36452 h 165862"/>
                <a:gd name="connsiteX17" fmla="*/ 58036 w 165642"/>
                <a:gd name="connsiteY17" fmla="*/ 21916 h 165862"/>
                <a:gd name="connsiteX18" fmla="*/ 83232 w 165642"/>
                <a:gd name="connsiteY18" fmla="*/ 17034 h 165862"/>
                <a:gd name="connsiteX19" fmla="*/ 108391 w 165642"/>
                <a:gd name="connsiteY19" fmla="*/ 21916 h 165862"/>
                <a:gd name="connsiteX20" fmla="*/ 122106 w 165642"/>
                <a:gd name="connsiteY20" fmla="*/ 29818 h 165862"/>
                <a:gd name="connsiteX21" fmla="*/ 134145 w 165642"/>
                <a:gd name="connsiteY21" fmla="*/ 17704 h 165862"/>
                <a:gd name="connsiteX22" fmla="*/ 129374 w 165642"/>
                <a:gd name="connsiteY22" fmla="*/ 14275 h 165862"/>
                <a:gd name="connsiteX23" fmla="*/ 114988 w 165642"/>
                <a:gd name="connsiteY23" fmla="*/ 6448 h 165862"/>
                <a:gd name="connsiteX24" fmla="*/ 99520 w 165642"/>
                <a:gd name="connsiteY24" fmla="*/ 1640 h 165862"/>
                <a:gd name="connsiteX25" fmla="*/ 82934 w 165642"/>
                <a:gd name="connsiteY25" fmla="*/ 0 h 165862"/>
                <a:gd name="connsiteX26" fmla="*/ 76001 w 165642"/>
                <a:gd name="connsiteY26" fmla="*/ 0 h 165862"/>
                <a:gd name="connsiteX27" fmla="*/ 51104 w 165642"/>
                <a:gd name="connsiteY27" fmla="*/ 5889 h 165862"/>
                <a:gd name="connsiteX28" fmla="*/ 24306 w 165642"/>
                <a:gd name="connsiteY28" fmla="*/ 24264 h 165862"/>
                <a:gd name="connsiteX29" fmla="*/ 6042 w 165642"/>
                <a:gd name="connsiteY29" fmla="*/ 51137 h 165862"/>
                <a:gd name="connsiteX30" fmla="*/ 4 w 165642"/>
                <a:gd name="connsiteY30" fmla="*/ 83042 h 165862"/>
                <a:gd name="connsiteX31" fmla="*/ 6042 w 165642"/>
                <a:gd name="connsiteY31" fmla="*/ 114909 h 165862"/>
                <a:gd name="connsiteX32" fmla="*/ 24268 w 165642"/>
                <a:gd name="connsiteY32" fmla="*/ 141707 h 16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65642" h="165862">
                  <a:moveTo>
                    <a:pt x="24343" y="141596"/>
                  </a:moveTo>
                  <a:cubicBezTo>
                    <a:pt x="48141" y="165094"/>
                    <a:pt x="83594" y="172264"/>
                    <a:pt x="114652" y="159859"/>
                  </a:cubicBezTo>
                  <a:cubicBezTo>
                    <a:pt x="124719" y="155530"/>
                    <a:pt x="133866" y="149319"/>
                    <a:pt x="141600" y="141558"/>
                  </a:cubicBezTo>
                  <a:cubicBezTo>
                    <a:pt x="150347" y="133035"/>
                    <a:pt x="156948" y="122562"/>
                    <a:pt x="160869" y="110996"/>
                  </a:cubicBezTo>
                  <a:cubicBezTo>
                    <a:pt x="164108" y="101507"/>
                    <a:pt x="165722" y="91539"/>
                    <a:pt x="165640" y="81514"/>
                  </a:cubicBezTo>
                  <a:lnTo>
                    <a:pt x="91283" y="81514"/>
                  </a:lnTo>
                  <a:lnTo>
                    <a:pt x="91283" y="96720"/>
                  </a:lnTo>
                  <a:lnTo>
                    <a:pt x="149352" y="96720"/>
                  </a:lnTo>
                  <a:lnTo>
                    <a:pt x="142606" y="110996"/>
                  </a:lnTo>
                  <a:cubicBezTo>
                    <a:pt x="140217" y="116006"/>
                    <a:pt x="137198" y="120690"/>
                    <a:pt x="133623" y="124935"/>
                  </a:cubicBezTo>
                  <a:cubicBezTo>
                    <a:pt x="130083" y="129240"/>
                    <a:pt x="126027" y="133095"/>
                    <a:pt x="121547" y="136415"/>
                  </a:cubicBezTo>
                  <a:cubicBezTo>
                    <a:pt x="116076" y="140470"/>
                    <a:pt x="109967" y="143582"/>
                    <a:pt x="103471" y="145621"/>
                  </a:cubicBezTo>
                  <a:cubicBezTo>
                    <a:pt x="88569" y="150385"/>
                    <a:pt x="72472" y="149792"/>
                    <a:pt x="57962" y="143944"/>
                  </a:cubicBezTo>
                  <a:cubicBezTo>
                    <a:pt x="49975" y="140595"/>
                    <a:pt x="42748" y="135663"/>
                    <a:pt x="36717" y="129445"/>
                  </a:cubicBezTo>
                  <a:cubicBezTo>
                    <a:pt x="30597" y="123344"/>
                    <a:pt x="25711" y="116117"/>
                    <a:pt x="22330" y="108163"/>
                  </a:cubicBezTo>
                  <a:cubicBezTo>
                    <a:pt x="15819" y="91984"/>
                    <a:pt x="15819" y="73913"/>
                    <a:pt x="22330" y="57734"/>
                  </a:cubicBezTo>
                  <a:cubicBezTo>
                    <a:pt x="25729" y="49791"/>
                    <a:pt x="30612" y="42568"/>
                    <a:pt x="36717" y="36452"/>
                  </a:cubicBezTo>
                  <a:cubicBezTo>
                    <a:pt x="42792" y="30244"/>
                    <a:pt x="50038" y="25303"/>
                    <a:pt x="58036" y="21916"/>
                  </a:cubicBezTo>
                  <a:cubicBezTo>
                    <a:pt x="66013" y="18581"/>
                    <a:pt x="74589" y="16919"/>
                    <a:pt x="83232" y="17034"/>
                  </a:cubicBezTo>
                  <a:cubicBezTo>
                    <a:pt x="91861" y="16956"/>
                    <a:pt x="100418" y="18617"/>
                    <a:pt x="108391" y="21916"/>
                  </a:cubicBezTo>
                  <a:cubicBezTo>
                    <a:pt x="113251" y="24012"/>
                    <a:pt x="117854" y="26664"/>
                    <a:pt x="122106" y="29818"/>
                  </a:cubicBezTo>
                  <a:lnTo>
                    <a:pt x="134145" y="17704"/>
                  </a:lnTo>
                  <a:cubicBezTo>
                    <a:pt x="132356" y="16363"/>
                    <a:pt x="130791" y="15244"/>
                    <a:pt x="129374" y="14275"/>
                  </a:cubicBezTo>
                  <a:cubicBezTo>
                    <a:pt x="124820" y="11246"/>
                    <a:pt x="120004" y="8627"/>
                    <a:pt x="114988" y="6448"/>
                  </a:cubicBezTo>
                  <a:cubicBezTo>
                    <a:pt x="110001" y="4347"/>
                    <a:pt x="104820" y="2737"/>
                    <a:pt x="99520" y="1640"/>
                  </a:cubicBezTo>
                  <a:cubicBezTo>
                    <a:pt x="94060" y="534"/>
                    <a:pt x="88502" y="-15"/>
                    <a:pt x="82934" y="0"/>
                  </a:cubicBezTo>
                  <a:lnTo>
                    <a:pt x="76001" y="0"/>
                  </a:lnTo>
                  <a:cubicBezTo>
                    <a:pt x="67440" y="610"/>
                    <a:pt x="59032" y="2598"/>
                    <a:pt x="51104" y="5889"/>
                  </a:cubicBezTo>
                  <a:cubicBezTo>
                    <a:pt x="41022" y="10138"/>
                    <a:pt x="31902" y="16389"/>
                    <a:pt x="24306" y="24264"/>
                  </a:cubicBezTo>
                  <a:cubicBezTo>
                    <a:pt x="16490" y="31918"/>
                    <a:pt x="10284" y="41054"/>
                    <a:pt x="6042" y="51137"/>
                  </a:cubicBezTo>
                  <a:cubicBezTo>
                    <a:pt x="1965" y="61275"/>
                    <a:pt x="-89" y="72114"/>
                    <a:pt x="4" y="83042"/>
                  </a:cubicBezTo>
                  <a:cubicBezTo>
                    <a:pt x="-107" y="93959"/>
                    <a:pt x="1946" y="104789"/>
                    <a:pt x="6042" y="114909"/>
                  </a:cubicBezTo>
                  <a:cubicBezTo>
                    <a:pt x="10206" y="125003"/>
                    <a:pt x="16411" y="134126"/>
                    <a:pt x="24268" y="141707"/>
                  </a:cubicBezTo>
                </a:path>
              </a:pathLst>
            </a:custGeom>
            <a:solidFill>
              <a:schemeClr val="tx1"/>
            </a:solidFill>
            <a:ln w="3718" cap="flat">
              <a:noFill/>
              <a:prstDash val="solid"/>
              <a:miter/>
            </a:ln>
          </p:spPr>
          <p:txBody>
            <a:bodyPr rtlCol="0" anchor="ctr"/>
            <a:lstStyle/>
            <a:p>
              <a:endParaRPr lang="en-US" dirty="0"/>
            </a:p>
          </p:txBody>
        </p:sp>
        <p:sp>
          <p:nvSpPr>
            <p:cNvPr id="8" name="Graphic 27">
              <a:extLst>
                <a:ext uri="{FF2B5EF4-FFF2-40B4-BE49-F238E27FC236}">
                  <a16:creationId xmlns:a16="http://schemas.microsoft.com/office/drawing/2014/main" id="{0674890B-B96F-4603-9C32-DC1E156D15F5}"/>
                </a:ext>
              </a:extLst>
            </p:cNvPr>
            <p:cNvSpPr/>
            <p:nvPr/>
          </p:nvSpPr>
          <p:spPr>
            <a:xfrm>
              <a:off x="1486209" y="6555893"/>
              <a:ext cx="114573" cy="163250"/>
            </a:xfrm>
            <a:custGeom>
              <a:avLst/>
              <a:gdLst>
                <a:gd name="connsiteX0" fmla="*/ 97876 w 114573"/>
                <a:gd name="connsiteY0" fmla="*/ 163250 h 163250"/>
                <a:gd name="connsiteX1" fmla="*/ 114573 w 114573"/>
                <a:gd name="connsiteY1" fmla="*/ 163250 h 163250"/>
                <a:gd name="connsiteX2" fmla="*/ 114573 w 114573"/>
                <a:gd name="connsiteY2" fmla="*/ 0 h 163250"/>
                <a:gd name="connsiteX3" fmla="*/ 97876 w 114573"/>
                <a:gd name="connsiteY3" fmla="*/ 0 h 163250"/>
                <a:gd name="connsiteX4" fmla="*/ 97876 w 114573"/>
                <a:gd name="connsiteY4" fmla="*/ 73351 h 163250"/>
                <a:gd name="connsiteX5" fmla="*/ 16660 w 114573"/>
                <a:gd name="connsiteY5" fmla="*/ 73351 h 163250"/>
                <a:gd name="connsiteX6" fmla="*/ 16660 w 114573"/>
                <a:gd name="connsiteY6" fmla="*/ 0 h 163250"/>
                <a:gd name="connsiteX7" fmla="*/ 0 w 114573"/>
                <a:gd name="connsiteY7" fmla="*/ 0 h 163250"/>
                <a:gd name="connsiteX8" fmla="*/ 0 w 114573"/>
                <a:gd name="connsiteY8" fmla="*/ 163250 h 163250"/>
                <a:gd name="connsiteX9" fmla="*/ 16660 w 114573"/>
                <a:gd name="connsiteY9" fmla="*/ 163250 h 163250"/>
                <a:gd name="connsiteX10" fmla="*/ 16660 w 114573"/>
                <a:gd name="connsiteY10" fmla="*/ 89937 h 163250"/>
                <a:gd name="connsiteX11" fmla="*/ 97876 w 114573"/>
                <a:gd name="connsiteY11" fmla="*/ 89937 h 163250"/>
                <a:gd name="connsiteX12" fmla="*/ 97876 w 114573"/>
                <a:gd name="connsiteY12" fmla="*/ 16325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573" h="163250">
                  <a:moveTo>
                    <a:pt x="97876" y="163250"/>
                  </a:moveTo>
                  <a:lnTo>
                    <a:pt x="114573" y="163250"/>
                  </a:lnTo>
                  <a:lnTo>
                    <a:pt x="114573" y="0"/>
                  </a:lnTo>
                  <a:lnTo>
                    <a:pt x="97876" y="0"/>
                  </a:lnTo>
                  <a:lnTo>
                    <a:pt x="97876" y="73351"/>
                  </a:lnTo>
                  <a:lnTo>
                    <a:pt x="16660" y="73351"/>
                  </a:lnTo>
                  <a:lnTo>
                    <a:pt x="16660" y="0"/>
                  </a:lnTo>
                  <a:lnTo>
                    <a:pt x="0" y="0"/>
                  </a:lnTo>
                  <a:lnTo>
                    <a:pt x="0" y="163250"/>
                  </a:lnTo>
                  <a:lnTo>
                    <a:pt x="16660" y="163250"/>
                  </a:lnTo>
                  <a:lnTo>
                    <a:pt x="16660" y="89937"/>
                  </a:lnTo>
                  <a:lnTo>
                    <a:pt x="97876" y="89937"/>
                  </a:lnTo>
                  <a:lnTo>
                    <a:pt x="97876" y="163250"/>
                  </a:lnTo>
                  <a:close/>
                </a:path>
              </a:pathLst>
            </a:custGeom>
            <a:solidFill>
              <a:schemeClr val="tx1"/>
            </a:solidFill>
            <a:ln w="3718" cap="flat">
              <a:noFill/>
              <a:prstDash val="solid"/>
              <a:miter/>
            </a:ln>
          </p:spPr>
          <p:txBody>
            <a:bodyPr rtlCol="0" anchor="ctr"/>
            <a:lstStyle/>
            <a:p>
              <a:endParaRPr lang="en-US" dirty="0"/>
            </a:p>
          </p:txBody>
        </p:sp>
        <p:sp>
          <p:nvSpPr>
            <p:cNvPr id="9" name="Graphic 27">
              <a:extLst>
                <a:ext uri="{FF2B5EF4-FFF2-40B4-BE49-F238E27FC236}">
                  <a16:creationId xmlns:a16="http://schemas.microsoft.com/office/drawing/2014/main" id="{27CA5B82-8A23-43CF-B947-BDA5201723EE}"/>
                </a:ext>
              </a:extLst>
            </p:cNvPr>
            <p:cNvSpPr/>
            <p:nvPr/>
          </p:nvSpPr>
          <p:spPr>
            <a:xfrm>
              <a:off x="1629370" y="6555893"/>
              <a:ext cx="90346" cy="163250"/>
            </a:xfrm>
            <a:custGeom>
              <a:avLst/>
              <a:gdLst>
                <a:gd name="connsiteX0" fmla="*/ 16810 w 90346"/>
                <a:gd name="connsiteY0" fmla="*/ 0 h 163250"/>
                <a:gd name="connsiteX1" fmla="*/ 0 w 90346"/>
                <a:gd name="connsiteY1" fmla="*/ 0 h 163250"/>
                <a:gd name="connsiteX2" fmla="*/ 0 w 90346"/>
                <a:gd name="connsiteY2" fmla="*/ 163250 h 163250"/>
                <a:gd name="connsiteX3" fmla="*/ 90347 w 90346"/>
                <a:gd name="connsiteY3" fmla="*/ 163250 h 163250"/>
                <a:gd name="connsiteX4" fmla="*/ 90347 w 90346"/>
                <a:gd name="connsiteY4" fmla="*/ 146813 h 163250"/>
                <a:gd name="connsiteX5" fmla="*/ 16810 w 90346"/>
                <a:gd name="connsiteY5" fmla="*/ 146813 h 163250"/>
                <a:gd name="connsiteX6" fmla="*/ 16810 w 90346"/>
                <a:gd name="connsiteY6" fmla="*/ 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346" h="163250">
                  <a:moveTo>
                    <a:pt x="16810" y="0"/>
                  </a:moveTo>
                  <a:lnTo>
                    <a:pt x="0" y="0"/>
                  </a:lnTo>
                  <a:lnTo>
                    <a:pt x="0" y="163250"/>
                  </a:lnTo>
                  <a:lnTo>
                    <a:pt x="90347" y="163250"/>
                  </a:lnTo>
                  <a:lnTo>
                    <a:pt x="90347" y="146813"/>
                  </a:lnTo>
                  <a:lnTo>
                    <a:pt x="16810" y="146813"/>
                  </a:lnTo>
                  <a:lnTo>
                    <a:pt x="16810" y="0"/>
                  </a:lnTo>
                  <a:close/>
                </a:path>
              </a:pathLst>
            </a:custGeom>
            <a:solidFill>
              <a:schemeClr val="tx1"/>
            </a:solidFill>
            <a:ln w="3718" cap="flat">
              <a:noFill/>
              <a:prstDash val="solid"/>
              <a:miter/>
            </a:ln>
          </p:spPr>
          <p:txBody>
            <a:bodyPr rtlCol="0" anchor="ctr"/>
            <a:lstStyle/>
            <a:p>
              <a:endParaRPr lang="en-US" dirty="0"/>
            </a:p>
          </p:txBody>
        </p:sp>
        <p:sp>
          <p:nvSpPr>
            <p:cNvPr id="10" name="Graphic 27">
              <a:extLst>
                <a:ext uri="{FF2B5EF4-FFF2-40B4-BE49-F238E27FC236}">
                  <a16:creationId xmlns:a16="http://schemas.microsoft.com/office/drawing/2014/main" id="{7C6FFB6D-A02C-4E3A-B130-FE156C06FB30}"/>
                </a:ext>
              </a:extLst>
            </p:cNvPr>
            <p:cNvSpPr/>
            <p:nvPr/>
          </p:nvSpPr>
          <p:spPr>
            <a:xfrm>
              <a:off x="1742415" y="6559061"/>
              <a:ext cx="136563" cy="160268"/>
            </a:xfrm>
            <a:custGeom>
              <a:avLst/>
              <a:gdLst>
                <a:gd name="connsiteX0" fmla="*/ 36191 w 136563"/>
                <a:gd name="connsiteY0" fmla="*/ 119866 h 160268"/>
                <a:gd name="connsiteX1" fmla="*/ 37943 w 136563"/>
                <a:gd name="connsiteY1" fmla="*/ 115803 h 160268"/>
                <a:gd name="connsiteX2" fmla="*/ 51696 w 136563"/>
                <a:gd name="connsiteY2" fmla="*/ 81700 h 160268"/>
                <a:gd name="connsiteX3" fmla="*/ 65673 w 136563"/>
                <a:gd name="connsiteY3" fmla="*/ 47223 h 160268"/>
                <a:gd name="connsiteX4" fmla="*/ 68356 w 136563"/>
                <a:gd name="connsiteY4" fmla="*/ 41036 h 160268"/>
                <a:gd name="connsiteX5" fmla="*/ 71040 w 136563"/>
                <a:gd name="connsiteY5" fmla="*/ 47261 h 160268"/>
                <a:gd name="connsiteX6" fmla="*/ 84756 w 136563"/>
                <a:gd name="connsiteY6" fmla="*/ 81700 h 160268"/>
                <a:gd name="connsiteX7" fmla="*/ 98546 w 136563"/>
                <a:gd name="connsiteY7" fmla="*/ 115803 h 160268"/>
                <a:gd name="connsiteX8" fmla="*/ 100298 w 136563"/>
                <a:gd name="connsiteY8" fmla="*/ 119866 h 160268"/>
                <a:gd name="connsiteX9" fmla="*/ 118636 w 136563"/>
                <a:gd name="connsiteY9" fmla="*/ 160268 h 160268"/>
                <a:gd name="connsiteX10" fmla="*/ 136563 w 136563"/>
                <a:gd name="connsiteY10" fmla="*/ 160268 h 160268"/>
                <a:gd name="connsiteX11" fmla="*/ 68319 w 136563"/>
                <a:gd name="connsiteY11" fmla="*/ 0 h 160268"/>
                <a:gd name="connsiteX12" fmla="*/ 0 w 136563"/>
                <a:gd name="connsiteY12" fmla="*/ 160268 h 160268"/>
                <a:gd name="connsiteX13" fmla="*/ 18002 w 136563"/>
                <a:gd name="connsiteY13" fmla="*/ 160268 h 160268"/>
                <a:gd name="connsiteX14" fmla="*/ 30488 w 136563"/>
                <a:gd name="connsiteY14" fmla="*/ 132426 h 160268"/>
                <a:gd name="connsiteX15" fmla="*/ 106113 w 136563"/>
                <a:gd name="connsiteY15" fmla="*/ 132426 h 160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6563" h="160268">
                  <a:moveTo>
                    <a:pt x="36191" y="119866"/>
                  </a:moveTo>
                  <a:lnTo>
                    <a:pt x="37943" y="115803"/>
                  </a:lnTo>
                  <a:cubicBezTo>
                    <a:pt x="42452" y="105255"/>
                    <a:pt x="47074" y="93776"/>
                    <a:pt x="51696" y="81700"/>
                  </a:cubicBezTo>
                  <a:cubicBezTo>
                    <a:pt x="56318" y="69624"/>
                    <a:pt x="61088" y="57846"/>
                    <a:pt x="65673" y="47223"/>
                  </a:cubicBezTo>
                  <a:lnTo>
                    <a:pt x="68356" y="41036"/>
                  </a:lnTo>
                  <a:lnTo>
                    <a:pt x="71040" y="47261"/>
                  </a:lnTo>
                  <a:cubicBezTo>
                    <a:pt x="75550" y="57883"/>
                    <a:pt x="80171" y="69624"/>
                    <a:pt x="84756" y="81700"/>
                  </a:cubicBezTo>
                  <a:cubicBezTo>
                    <a:pt x="89340" y="93776"/>
                    <a:pt x="93925" y="105255"/>
                    <a:pt x="98546" y="115803"/>
                  </a:cubicBezTo>
                  <a:lnTo>
                    <a:pt x="100298" y="119866"/>
                  </a:lnTo>
                  <a:close/>
                  <a:moveTo>
                    <a:pt x="118636" y="160268"/>
                  </a:moveTo>
                  <a:lnTo>
                    <a:pt x="136563" y="160268"/>
                  </a:lnTo>
                  <a:lnTo>
                    <a:pt x="68319" y="0"/>
                  </a:lnTo>
                  <a:lnTo>
                    <a:pt x="0" y="160268"/>
                  </a:lnTo>
                  <a:lnTo>
                    <a:pt x="18002" y="160268"/>
                  </a:lnTo>
                  <a:lnTo>
                    <a:pt x="30488" y="132426"/>
                  </a:lnTo>
                  <a:lnTo>
                    <a:pt x="106113" y="132426"/>
                  </a:lnTo>
                  <a:close/>
                </a:path>
              </a:pathLst>
            </a:custGeom>
            <a:solidFill>
              <a:schemeClr val="tx1"/>
            </a:solidFill>
            <a:ln w="3718" cap="flat">
              <a:noFill/>
              <a:prstDash val="solid"/>
              <a:miter/>
            </a:ln>
          </p:spPr>
          <p:txBody>
            <a:bodyPr rtlCol="0" anchor="ctr"/>
            <a:lstStyle/>
            <a:p>
              <a:endParaRPr lang="en-US" dirty="0"/>
            </a:p>
          </p:txBody>
        </p:sp>
        <p:sp>
          <p:nvSpPr>
            <p:cNvPr id="11" name="Graphic 27">
              <a:extLst>
                <a:ext uri="{FF2B5EF4-FFF2-40B4-BE49-F238E27FC236}">
                  <a16:creationId xmlns:a16="http://schemas.microsoft.com/office/drawing/2014/main" id="{81779724-F6EC-43C1-B448-DE1DD4F60AEF}"/>
                </a:ext>
              </a:extLst>
            </p:cNvPr>
            <p:cNvSpPr/>
            <p:nvPr/>
          </p:nvSpPr>
          <p:spPr>
            <a:xfrm>
              <a:off x="1902124" y="6555557"/>
              <a:ext cx="127208" cy="164070"/>
            </a:xfrm>
            <a:custGeom>
              <a:avLst/>
              <a:gdLst>
                <a:gd name="connsiteX0" fmla="*/ 110436 w 127208"/>
                <a:gd name="connsiteY0" fmla="*/ 119120 h 164070"/>
                <a:gd name="connsiteX1" fmla="*/ 0 w 127208"/>
                <a:gd name="connsiteY1" fmla="*/ 3019 h 164070"/>
                <a:gd name="connsiteX2" fmla="*/ 0 w 127208"/>
                <a:gd name="connsiteY2" fmla="*/ 164070 h 164070"/>
                <a:gd name="connsiteX3" fmla="*/ 16810 w 127208"/>
                <a:gd name="connsiteY3" fmla="*/ 164070 h 164070"/>
                <a:gd name="connsiteX4" fmla="*/ 16810 w 127208"/>
                <a:gd name="connsiteY4" fmla="*/ 44540 h 164070"/>
                <a:gd name="connsiteX5" fmla="*/ 127208 w 127208"/>
                <a:gd name="connsiteY5" fmla="*/ 162244 h 164070"/>
                <a:gd name="connsiteX6" fmla="*/ 127208 w 127208"/>
                <a:gd name="connsiteY6" fmla="*/ 0 h 164070"/>
                <a:gd name="connsiteX7" fmla="*/ 110436 w 127208"/>
                <a:gd name="connsiteY7" fmla="*/ 0 h 164070"/>
                <a:gd name="connsiteX8" fmla="*/ 110436 w 127208"/>
                <a:gd name="connsiteY8" fmla="*/ 119120 h 16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208" h="164070">
                  <a:moveTo>
                    <a:pt x="110436" y="119120"/>
                  </a:moveTo>
                  <a:lnTo>
                    <a:pt x="0" y="3019"/>
                  </a:lnTo>
                  <a:lnTo>
                    <a:pt x="0" y="164070"/>
                  </a:lnTo>
                  <a:lnTo>
                    <a:pt x="16810" y="164070"/>
                  </a:lnTo>
                  <a:lnTo>
                    <a:pt x="16810" y="44540"/>
                  </a:lnTo>
                  <a:lnTo>
                    <a:pt x="127208" y="162244"/>
                  </a:lnTo>
                  <a:lnTo>
                    <a:pt x="127208" y="0"/>
                  </a:lnTo>
                  <a:lnTo>
                    <a:pt x="110436" y="0"/>
                  </a:lnTo>
                  <a:lnTo>
                    <a:pt x="110436" y="119120"/>
                  </a:lnTo>
                  <a:close/>
                </a:path>
              </a:pathLst>
            </a:custGeom>
            <a:solidFill>
              <a:schemeClr val="tx1"/>
            </a:solidFill>
            <a:ln w="3718" cap="flat">
              <a:noFill/>
              <a:prstDash val="solid"/>
              <a:miter/>
            </a:ln>
          </p:spPr>
          <p:txBody>
            <a:bodyPr rtlCol="0" anchor="ctr"/>
            <a:lstStyle/>
            <a:p>
              <a:endParaRPr lang="en-US" dirty="0"/>
            </a:p>
          </p:txBody>
        </p:sp>
        <p:sp>
          <p:nvSpPr>
            <p:cNvPr id="12" name="Graphic 27">
              <a:extLst>
                <a:ext uri="{FF2B5EF4-FFF2-40B4-BE49-F238E27FC236}">
                  <a16:creationId xmlns:a16="http://schemas.microsoft.com/office/drawing/2014/main" id="{619763E7-3225-446E-A392-DDA7F32D114E}"/>
                </a:ext>
              </a:extLst>
            </p:cNvPr>
            <p:cNvSpPr/>
            <p:nvPr/>
          </p:nvSpPr>
          <p:spPr>
            <a:xfrm>
              <a:off x="2057920" y="6556005"/>
              <a:ext cx="120414" cy="163325"/>
            </a:xfrm>
            <a:custGeom>
              <a:avLst/>
              <a:gdLst>
                <a:gd name="connsiteX0" fmla="*/ 64704 w 120414"/>
                <a:gd name="connsiteY0" fmla="*/ 142080 h 163325"/>
                <a:gd name="connsiteX1" fmla="*/ 38912 w 120414"/>
                <a:gd name="connsiteY1" fmla="*/ 146478 h 163325"/>
                <a:gd name="connsiteX2" fmla="*/ 16549 w 120414"/>
                <a:gd name="connsiteY2" fmla="*/ 146478 h 163325"/>
                <a:gd name="connsiteX3" fmla="*/ 16549 w 120414"/>
                <a:gd name="connsiteY3" fmla="*/ 16474 h 163325"/>
                <a:gd name="connsiteX4" fmla="*/ 38539 w 120414"/>
                <a:gd name="connsiteY4" fmla="*/ 16474 h 163325"/>
                <a:gd name="connsiteX5" fmla="*/ 64629 w 120414"/>
                <a:gd name="connsiteY5" fmla="*/ 20872 h 163325"/>
                <a:gd name="connsiteX6" fmla="*/ 85650 w 120414"/>
                <a:gd name="connsiteY6" fmla="*/ 34476 h 163325"/>
                <a:gd name="connsiteX7" fmla="*/ 99180 w 120414"/>
                <a:gd name="connsiteY7" fmla="*/ 55535 h 163325"/>
                <a:gd name="connsiteX8" fmla="*/ 103578 w 120414"/>
                <a:gd name="connsiteY8" fmla="*/ 81625 h 163325"/>
                <a:gd name="connsiteX9" fmla="*/ 99180 w 120414"/>
                <a:gd name="connsiteY9" fmla="*/ 107715 h 163325"/>
                <a:gd name="connsiteX10" fmla="*/ 85799 w 120414"/>
                <a:gd name="connsiteY10" fmla="*/ 128811 h 163325"/>
                <a:gd name="connsiteX11" fmla="*/ 64815 w 120414"/>
                <a:gd name="connsiteY11" fmla="*/ 142266 h 163325"/>
                <a:gd name="connsiteX12" fmla="*/ 114983 w 120414"/>
                <a:gd name="connsiteY12" fmla="*/ 113492 h 163325"/>
                <a:gd name="connsiteX13" fmla="*/ 114983 w 120414"/>
                <a:gd name="connsiteY13" fmla="*/ 50130 h 163325"/>
                <a:gd name="connsiteX14" fmla="*/ 98845 w 120414"/>
                <a:gd name="connsiteY14" fmla="*/ 24040 h 163325"/>
                <a:gd name="connsiteX15" fmla="*/ 71487 w 120414"/>
                <a:gd name="connsiteY15" fmla="*/ 6187 h 163325"/>
                <a:gd name="connsiteX16" fmla="*/ 43161 w 120414"/>
                <a:gd name="connsiteY16" fmla="*/ 0 h 163325"/>
                <a:gd name="connsiteX17" fmla="*/ 0 w 120414"/>
                <a:gd name="connsiteY17" fmla="*/ 0 h 163325"/>
                <a:gd name="connsiteX18" fmla="*/ 0 w 120414"/>
                <a:gd name="connsiteY18" fmla="*/ 163325 h 163325"/>
                <a:gd name="connsiteX19" fmla="*/ 38688 w 120414"/>
                <a:gd name="connsiteY19" fmla="*/ 163325 h 163325"/>
                <a:gd name="connsiteX20" fmla="*/ 71487 w 120414"/>
                <a:gd name="connsiteY20" fmla="*/ 156989 h 163325"/>
                <a:gd name="connsiteX21" fmla="*/ 98509 w 120414"/>
                <a:gd name="connsiteY21" fmla="*/ 139322 h 163325"/>
                <a:gd name="connsiteX22" fmla="*/ 114760 w 120414"/>
                <a:gd name="connsiteY22" fmla="*/ 113232 h 16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0414" h="163325">
                  <a:moveTo>
                    <a:pt x="64704" y="142080"/>
                  </a:moveTo>
                  <a:cubicBezTo>
                    <a:pt x="56437" y="145074"/>
                    <a:pt x="47704" y="146564"/>
                    <a:pt x="38912" y="146478"/>
                  </a:cubicBezTo>
                  <a:lnTo>
                    <a:pt x="16549" y="146478"/>
                  </a:lnTo>
                  <a:lnTo>
                    <a:pt x="16549" y="16474"/>
                  </a:lnTo>
                  <a:lnTo>
                    <a:pt x="38539" y="16474"/>
                  </a:lnTo>
                  <a:cubicBezTo>
                    <a:pt x="47428" y="16361"/>
                    <a:pt x="56269" y="17850"/>
                    <a:pt x="64629" y="20872"/>
                  </a:cubicBezTo>
                  <a:cubicBezTo>
                    <a:pt x="72486" y="23938"/>
                    <a:pt x="79635" y="28566"/>
                    <a:pt x="85650" y="34476"/>
                  </a:cubicBezTo>
                  <a:cubicBezTo>
                    <a:pt x="91610" y="40450"/>
                    <a:pt x="96224" y="47630"/>
                    <a:pt x="99180" y="55535"/>
                  </a:cubicBezTo>
                  <a:cubicBezTo>
                    <a:pt x="102195" y="63898"/>
                    <a:pt x="103686" y="72735"/>
                    <a:pt x="103578" y="81625"/>
                  </a:cubicBezTo>
                  <a:cubicBezTo>
                    <a:pt x="103690" y="90516"/>
                    <a:pt x="102203" y="99353"/>
                    <a:pt x="99180" y="107715"/>
                  </a:cubicBezTo>
                  <a:cubicBezTo>
                    <a:pt x="96258" y="115613"/>
                    <a:pt x="91700" y="122803"/>
                    <a:pt x="85799" y="128811"/>
                  </a:cubicBezTo>
                  <a:cubicBezTo>
                    <a:pt x="79855" y="134752"/>
                    <a:pt x="72695" y="139342"/>
                    <a:pt x="64815" y="142266"/>
                  </a:cubicBezTo>
                  <a:moveTo>
                    <a:pt x="114983" y="113492"/>
                  </a:moveTo>
                  <a:cubicBezTo>
                    <a:pt x="122225" y="92993"/>
                    <a:pt x="122225" y="70630"/>
                    <a:pt x="114983" y="50130"/>
                  </a:cubicBezTo>
                  <a:cubicBezTo>
                    <a:pt x="111647" y="40324"/>
                    <a:pt x="106131" y="31404"/>
                    <a:pt x="98845" y="24040"/>
                  </a:cubicBezTo>
                  <a:cubicBezTo>
                    <a:pt x="91036" y="16288"/>
                    <a:pt x="81726" y="10213"/>
                    <a:pt x="71487" y="6187"/>
                  </a:cubicBezTo>
                  <a:cubicBezTo>
                    <a:pt x="62456" y="2562"/>
                    <a:pt x="52881" y="471"/>
                    <a:pt x="43161" y="0"/>
                  </a:cubicBezTo>
                  <a:lnTo>
                    <a:pt x="0" y="0"/>
                  </a:lnTo>
                  <a:lnTo>
                    <a:pt x="0" y="163325"/>
                  </a:lnTo>
                  <a:lnTo>
                    <a:pt x="38688" y="163325"/>
                  </a:lnTo>
                  <a:cubicBezTo>
                    <a:pt x="49929" y="163357"/>
                    <a:pt x="61066" y="161205"/>
                    <a:pt x="71487" y="156989"/>
                  </a:cubicBezTo>
                  <a:cubicBezTo>
                    <a:pt x="81618" y="153032"/>
                    <a:pt x="90820" y="147016"/>
                    <a:pt x="98509" y="139322"/>
                  </a:cubicBezTo>
                  <a:cubicBezTo>
                    <a:pt x="105826" y="131963"/>
                    <a:pt x="111383" y="123044"/>
                    <a:pt x="114760" y="113232"/>
                  </a:cubicBezTo>
                </a:path>
              </a:pathLst>
            </a:custGeom>
            <a:solidFill>
              <a:schemeClr val="tx1"/>
            </a:solidFill>
            <a:ln w="3718" cap="flat">
              <a:noFill/>
              <a:prstDash val="solid"/>
              <a:miter/>
            </a:ln>
          </p:spPr>
          <p:txBody>
            <a:bodyPr rtlCol="0" anchor="ctr"/>
            <a:lstStyle/>
            <a:p>
              <a:endParaRPr lang="en-US" dirty="0"/>
            </a:p>
          </p:txBody>
        </p:sp>
        <p:sp>
          <p:nvSpPr>
            <p:cNvPr id="13" name="Graphic 27">
              <a:extLst>
                <a:ext uri="{FF2B5EF4-FFF2-40B4-BE49-F238E27FC236}">
                  <a16:creationId xmlns:a16="http://schemas.microsoft.com/office/drawing/2014/main" id="{F2726089-9ABB-4EBA-A630-DAF089156E52}"/>
                </a:ext>
              </a:extLst>
            </p:cNvPr>
            <p:cNvSpPr/>
            <p:nvPr/>
          </p:nvSpPr>
          <p:spPr>
            <a:xfrm>
              <a:off x="472373" y="6553824"/>
              <a:ext cx="167181" cy="167152"/>
            </a:xfrm>
            <a:custGeom>
              <a:avLst/>
              <a:gdLst>
                <a:gd name="connsiteX0" fmla="*/ 48014 w 167181"/>
                <a:gd name="connsiteY0" fmla="*/ 48062 h 167152"/>
                <a:gd name="connsiteX1" fmla="*/ 118646 w 167181"/>
                <a:gd name="connsiteY1" fmla="*/ 47877 h 167152"/>
                <a:gd name="connsiteX2" fmla="*/ 118830 w 167181"/>
                <a:gd name="connsiteY2" fmla="*/ 48062 h 167152"/>
                <a:gd name="connsiteX3" fmla="*/ 133739 w 167181"/>
                <a:gd name="connsiteY3" fmla="*/ 83544 h 167152"/>
                <a:gd name="connsiteX4" fmla="*/ 118830 w 167181"/>
                <a:gd name="connsiteY4" fmla="*/ 119027 h 167152"/>
                <a:gd name="connsiteX5" fmla="*/ 48014 w 167181"/>
                <a:gd name="connsiteY5" fmla="*/ 119027 h 167152"/>
                <a:gd name="connsiteX6" fmla="*/ 33292 w 167181"/>
                <a:gd name="connsiteY6" fmla="*/ 83507 h 167152"/>
                <a:gd name="connsiteX7" fmla="*/ 48014 w 167181"/>
                <a:gd name="connsiteY7" fmla="*/ 48024 h 167152"/>
                <a:gd name="connsiteX8" fmla="*/ 83460 w 167181"/>
                <a:gd name="connsiteY8" fmla="*/ 167108 h 167152"/>
                <a:gd name="connsiteX9" fmla="*/ 142573 w 167181"/>
                <a:gd name="connsiteY9" fmla="*/ 142806 h 167152"/>
                <a:gd name="connsiteX10" fmla="*/ 167172 w 167181"/>
                <a:gd name="connsiteY10" fmla="*/ 83693 h 167152"/>
                <a:gd name="connsiteX11" fmla="*/ 142573 w 167181"/>
                <a:gd name="connsiteY11" fmla="*/ 24543 h 167152"/>
                <a:gd name="connsiteX12" fmla="*/ 24924 w 167181"/>
                <a:gd name="connsiteY12" fmla="*/ 24189 h 167152"/>
                <a:gd name="connsiteX13" fmla="*/ 24533 w 167181"/>
                <a:gd name="connsiteY13" fmla="*/ 24580 h 167152"/>
                <a:gd name="connsiteX14" fmla="*/ 8 w 167181"/>
                <a:gd name="connsiteY14" fmla="*/ 83731 h 167152"/>
                <a:gd name="connsiteX15" fmla="*/ 24533 w 167181"/>
                <a:gd name="connsiteY15" fmla="*/ 142844 h 167152"/>
                <a:gd name="connsiteX16" fmla="*/ 83609 w 167181"/>
                <a:gd name="connsiteY16" fmla="*/ 167145 h 16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7181" h="167152">
                  <a:moveTo>
                    <a:pt x="48014" y="48062"/>
                  </a:moveTo>
                  <a:cubicBezTo>
                    <a:pt x="67467" y="28506"/>
                    <a:pt x="99090" y="28424"/>
                    <a:pt x="118646" y="47877"/>
                  </a:cubicBezTo>
                  <a:cubicBezTo>
                    <a:pt x="118707" y="47938"/>
                    <a:pt x="118769" y="48000"/>
                    <a:pt x="118830" y="48062"/>
                  </a:cubicBezTo>
                  <a:cubicBezTo>
                    <a:pt x="128486" y="57324"/>
                    <a:pt x="133882" y="70166"/>
                    <a:pt x="133739" y="83544"/>
                  </a:cubicBezTo>
                  <a:cubicBezTo>
                    <a:pt x="133931" y="96933"/>
                    <a:pt x="128527" y="109794"/>
                    <a:pt x="118830" y="119027"/>
                  </a:cubicBezTo>
                  <a:cubicBezTo>
                    <a:pt x="99245" y="138511"/>
                    <a:pt x="67599" y="138511"/>
                    <a:pt x="48014" y="119027"/>
                  </a:cubicBezTo>
                  <a:cubicBezTo>
                    <a:pt x="38418" y="109724"/>
                    <a:pt x="33090" y="96871"/>
                    <a:pt x="33292" y="83507"/>
                  </a:cubicBezTo>
                  <a:cubicBezTo>
                    <a:pt x="33145" y="70165"/>
                    <a:pt x="38464" y="57343"/>
                    <a:pt x="48014" y="48024"/>
                  </a:cubicBezTo>
                  <a:moveTo>
                    <a:pt x="83460" y="167108"/>
                  </a:moveTo>
                  <a:cubicBezTo>
                    <a:pt x="105663" y="167458"/>
                    <a:pt x="127035" y="158672"/>
                    <a:pt x="142573" y="142806"/>
                  </a:cubicBezTo>
                  <a:cubicBezTo>
                    <a:pt x="158615" y="127366"/>
                    <a:pt x="167524" y="105957"/>
                    <a:pt x="167172" y="83693"/>
                  </a:cubicBezTo>
                  <a:cubicBezTo>
                    <a:pt x="167485" y="61427"/>
                    <a:pt x="158583" y="40021"/>
                    <a:pt x="142573" y="24543"/>
                  </a:cubicBezTo>
                  <a:cubicBezTo>
                    <a:pt x="110183" y="-8042"/>
                    <a:pt x="57510" y="-8201"/>
                    <a:pt x="24924" y="24189"/>
                  </a:cubicBezTo>
                  <a:cubicBezTo>
                    <a:pt x="24793" y="24319"/>
                    <a:pt x="24663" y="24450"/>
                    <a:pt x="24533" y="24580"/>
                  </a:cubicBezTo>
                  <a:cubicBezTo>
                    <a:pt x="8591" y="40099"/>
                    <a:pt x="-276" y="61485"/>
                    <a:pt x="8" y="83731"/>
                  </a:cubicBezTo>
                  <a:cubicBezTo>
                    <a:pt x="-310" y="105972"/>
                    <a:pt x="8564" y="127360"/>
                    <a:pt x="24533" y="142844"/>
                  </a:cubicBezTo>
                  <a:cubicBezTo>
                    <a:pt x="40084" y="158666"/>
                    <a:pt x="61426" y="167445"/>
                    <a:pt x="83609" y="167145"/>
                  </a:cubicBezTo>
                </a:path>
              </a:pathLst>
            </a:custGeom>
            <a:solidFill>
              <a:schemeClr val="tx1"/>
            </a:solidFill>
            <a:ln w="3718" cap="flat">
              <a:noFill/>
              <a:prstDash val="solid"/>
              <a:miter/>
            </a:ln>
          </p:spPr>
          <p:txBody>
            <a:bodyPr rtlCol="0" anchor="ctr"/>
            <a:lstStyle/>
            <a:p>
              <a:endParaRPr lang="en-US" dirty="0"/>
            </a:p>
          </p:txBody>
        </p:sp>
        <p:sp>
          <p:nvSpPr>
            <p:cNvPr id="14" name="Graphic 27">
              <a:extLst>
                <a:ext uri="{FF2B5EF4-FFF2-40B4-BE49-F238E27FC236}">
                  <a16:creationId xmlns:a16="http://schemas.microsoft.com/office/drawing/2014/main" id="{8BD5F974-138A-4E7D-A1F0-FD8A1E4A6D8A}"/>
                </a:ext>
              </a:extLst>
            </p:cNvPr>
            <p:cNvSpPr/>
            <p:nvPr/>
          </p:nvSpPr>
          <p:spPr>
            <a:xfrm>
              <a:off x="653671" y="6555061"/>
              <a:ext cx="121133" cy="164789"/>
            </a:xfrm>
            <a:custGeom>
              <a:avLst/>
              <a:gdLst>
                <a:gd name="connsiteX0" fmla="*/ 33321 w 121133"/>
                <a:gd name="connsiteY0" fmla="*/ 32848 h 164789"/>
                <a:gd name="connsiteX1" fmla="*/ 51957 w 121133"/>
                <a:gd name="connsiteY1" fmla="*/ 32848 h 164789"/>
                <a:gd name="connsiteX2" fmla="*/ 72382 w 121133"/>
                <a:gd name="connsiteY2" fmla="*/ 39371 h 164789"/>
                <a:gd name="connsiteX3" fmla="*/ 78941 w 121133"/>
                <a:gd name="connsiteY3" fmla="*/ 55211 h 164789"/>
                <a:gd name="connsiteX4" fmla="*/ 56914 w 121133"/>
                <a:gd name="connsiteY4" fmla="*/ 78543 h 164789"/>
                <a:gd name="connsiteX5" fmla="*/ 45732 w 121133"/>
                <a:gd name="connsiteY5" fmla="*/ 78543 h 164789"/>
                <a:gd name="connsiteX6" fmla="*/ 45732 w 121133"/>
                <a:gd name="connsiteY6" fmla="*/ 78543 h 164789"/>
                <a:gd name="connsiteX7" fmla="*/ 33321 w 121133"/>
                <a:gd name="connsiteY7" fmla="*/ 78543 h 164789"/>
                <a:gd name="connsiteX8" fmla="*/ 33321 w 121133"/>
                <a:gd name="connsiteY8" fmla="*/ 164790 h 164789"/>
                <a:gd name="connsiteX9" fmla="*/ 33321 w 121133"/>
                <a:gd name="connsiteY9" fmla="*/ 91924 h 164789"/>
                <a:gd name="connsiteX10" fmla="*/ 80656 w 121133"/>
                <a:gd name="connsiteY10" fmla="*/ 164790 h 164789"/>
                <a:gd name="connsiteX11" fmla="*/ 121133 w 121133"/>
                <a:gd name="connsiteY11" fmla="*/ 164790 h 164789"/>
                <a:gd name="connsiteX12" fmla="*/ 82818 w 121133"/>
                <a:gd name="connsiteY12" fmla="*/ 105155 h 164789"/>
                <a:gd name="connsiteX13" fmla="*/ 102423 w 121133"/>
                <a:gd name="connsiteY13" fmla="*/ 89725 h 164789"/>
                <a:gd name="connsiteX14" fmla="*/ 112859 w 121133"/>
                <a:gd name="connsiteY14" fmla="*/ 58342 h 164789"/>
                <a:gd name="connsiteX15" fmla="*/ 112859 w 121133"/>
                <a:gd name="connsiteY15" fmla="*/ 54205 h 164789"/>
                <a:gd name="connsiteX16" fmla="*/ 96906 w 121133"/>
                <a:gd name="connsiteY16" fmla="*/ 16933 h 164789"/>
                <a:gd name="connsiteX17" fmla="*/ 53746 w 121133"/>
                <a:gd name="connsiteY17" fmla="*/ 12 h 164789"/>
                <a:gd name="connsiteX18" fmla="*/ 0 w 121133"/>
                <a:gd name="connsiteY18" fmla="*/ 12 h 164789"/>
                <a:gd name="connsiteX19" fmla="*/ 0 w 121133"/>
                <a:gd name="connsiteY19" fmla="*/ 164790 h 16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133" h="164789">
                  <a:moveTo>
                    <a:pt x="33321" y="32848"/>
                  </a:moveTo>
                  <a:lnTo>
                    <a:pt x="51957" y="32848"/>
                  </a:lnTo>
                  <a:cubicBezTo>
                    <a:pt x="59325" y="32508"/>
                    <a:pt x="66575" y="34822"/>
                    <a:pt x="72382" y="39371"/>
                  </a:cubicBezTo>
                  <a:cubicBezTo>
                    <a:pt x="76586" y="43570"/>
                    <a:pt x="78945" y="49269"/>
                    <a:pt x="78941" y="55211"/>
                  </a:cubicBezTo>
                  <a:cubicBezTo>
                    <a:pt x="79296" y="67735"/>
                    <a:pt x="69437" y="78178"/>
                    <a:pt x="56914" y="78543"/>
                  </a:cubicBezTo>
                  <a:lnTo>
                    <a:pt x="45732" y="78543"/>
                  </a:lnTo>
                  <a:lnTo>
                    <a:pt x="45732" y="78543"/>
                  </a:lnTo>
                  <a:lnTo>
                    <a:pt x="33321" y="78543"/>
                  </a:lnTo>
                  <a:close/>
                  <a:moveTo>
                    <a:pt x="33321" y="164790"/>
                  </a:moveTo>
                  <a:lnTo>
                    <a:pt x="33321" y="91924"/>
                  </a:lnTo>
                  <a:lnTo>
                    <a:pt x="80656" y="164790"/>
                  </a:lnTo>
                  <a:lnTo>
                    <a:pt x="121133" y="164790"/>
                  </a:lnTo>
                  <a:lnTo>
                    <a:pt x="82818" y="105155"/>
                  </a:lnTo>
                  <a:cubicBezTo>
                    <a:pt x="90932" y="102416"/>
                    <a:pt x="97853" y="96968"/>
                    <a:pt x="102423" y="89725"/>
                  </a:cubicBezTo>
                  <a:cubicBezTo>
                    <a:pt x="109132" y="80630"/>
                    <a:pt x="112784" y="69643"/>
                    <a:pt x="112859" y="58342"/>
                  </a:cubicBezTo>
                  <a:lnTo>
                    <a:pt x="112859" y="54205"/>
                  </a:lnTo>
                  <a:cubicBezTo>
                    <a:pt x="112859" y="35979"/>
                    <a:pt x="106933" y="26810"/>
                    <a:pt x="96906" y="16933"/>
                  </a:cubicBezTo>
                  <a:cubicBezTo>
                    <a:pt x="85337" y="5785"/>
                    <a:pt x="69810" y="-303"/>
                    <a:pt x="53746" y="12"/>
                  </a:cubicBezTo>
                  <a:lnTo>
                    <a:pt x="0" y="12"/>
                  </a:lnTo>
                  <a:lnTo>
                    <a:pt x="0" y="164790"/>
                  </a:lnTo>
                  <a:close/>
                </a:path>
              </a:pathLst>
            </a:custGeom>
            <a:solidFill>
              <a:schemeClr val="tx1"/>
            </a:solidFill>
            <a:ln w="3718" cap="flat">
              <a:noFill/>
              <a:prstDash val="solid"/>
              <a:miter/>
            </a:ln>
          </p:spPr>
          <p:txBody>
            <a:bodyPr rtlCol="0" anchor="ctr"/>
            <a:lstStyle/>
            <a:p>
              <a:endParaRPr lang="en-US" dirty="0"/>
            </a:p>
          </p:txBody>
        </p:sp>
        <p:sp>
          <p:nvSpPr>
            <p:cNvPr id="15" name="Graphic 27">
              <a:extLst>
                <a:ext uri="{FF2B5EF4-FFF2-40B4-BE49-F238E27FC236}">
                  <a16:creationId xmlns:a16="http://schemas.microsoft.com/office/drawing/2014/main" id="{F8E72D0F-5B24-4CDC-8402-3F6995D02C1A}"/>
                </a:ext>
              </a:extLst>
            </p:cNvPr>
            <p:cNvSpPr/>
            <p:nvPr/>
          </p:nvSpPr>
          <p:spPr>
            <a:xfrm>
              <a:off x="782780" y="6555073"/>
              <a:ext cx="114275" cy="164778"/>
            </a:xfrm>
            <a:custGeom>
              <a:avLst/>
              <a:gdLst>
                <a:gd name="connsiteX0" fmla="*/ 40552 w 114275"/>
                <a:gd name="connsiteY0" fmla="*/ 164778 h 164778"/>
                <a:gd name="connsiteX1" fmla="*/ 73798 w 114275"/>
                <a:gd name="connsiteY1" fmla="*/ 164778 h 164778"/>
                <a:gd name="connsiteX2" fmla="*/ 73798 w 114275"/>
                <a:gd name="connsiteY2" fmla="*/ 32836 h 164778"/>
                <a:gd name="connsiteX3" fmla="*/ 114275 w 114275"/>
                <a:gd name="connsiteY3" fmla="*/ 32836 h 164778"/>
                <a:gd name="connsiteX4" fmla="*/ 114275 w 114275"/>
                <a:gd name="connsiteY4" fmla="*/ 0 h 164778"/>
                <a:gd name="connsiteX5" fmla="*/ 0 w 114275"/>
                <a:gd name="connsiteY5" fmla="*/ 0 h 164778"/>
                <a:gd name="connsiteX6" fmla="*/ 0 w 114275"/>
                <a:gd name="connsiteY6" fmla="*/ 32836 h 164778"/>
                <a:gd name="connsiteX7" fmla="*/ 40552 w 114275"/>
                <a:gd name="connsiteY7" fmla="*/ 32836 h 164778"/>
                <a:gd name="connsiteX8" fmla="*/ 40552 w 114275"/>
                <a:gd name="connsiteY8" fmla="*/ 164778 h 16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275" h="164778">
                  <a:moveTo>
                    <a:pt x="40552" y="164778"/>
                  </a:moveTo>
                  <a:lnTo>
                    <a:pt x="73798" y="164778"/>
                  </a:lnTo>
                  <a:lnTo>
                    <a:pt x="73798" y="32836"/>
                  </a:lnTo>
                  <a:lnTo>
                    <a:pt x="114275" y="32836"/>
                  </a:lnTo>
                  <a:lnTo>
                    <a:pt x="114275" y="0"/>
                  </a:lnTo>
                  <a:lnTo>
                    <a:pt x="0" y="0"/>
                  </a:lnTo>
                  <a:lnTo>
                    <a:pt x="0" y="32836"/>
                  </a:lnTo>
                  <a:lnTo>
                    <a:pt x="40552" y="32836"/>
                  </a:lnTo>
                  <a:lnTo>
                    <a:pt x="40552" y="164778"/>
                  </a:lnTo>
                  <a:close/>
                </a:path>
              </a:pathLst>
            </a:custGeom>
            <a:solidFill>
              <a:schemeClr val="tx1"/>
            </a:solidFill>
            <a:ln w="3718" cap="flat">
              <a:noFill/>
              <a:prstDash val="solid"/>
              <a:miter/>
            </a:ln>
          </p:spPr>
          <p:txBody>
            <a:bodyPr rtlCol="0" anchor="ctr"/>
            <a:lstStyle/>
            <a:p>
              <a:endParaRPr lang="en-US" dirty="0"/>
            </a:p>
          </p:txBody>
        </p:sp>
        <p:sp>
          <p:nvSpPr>
            <p:cNvPr id="16" name="Graphic 27">
              <a:extLst>
                <a:ext uri="{FF2B5EF4-FFF2-40B4-BE49-F238E27FC236}">
                  <a16:creationId xmlns:a16="http://schemas.microsoft.com/office/drawing/2014/main" id="{195D1C1B-2411-4AFF-8EBE-602357728526}"/>
                </a:ext>
              </a:extLst>
            </p:cNvPr>
            <p:cNvSpPr/>
            <p:nvPr/>
          </p:nvSpPr>
          <p:spPr>
            <a:xfrm>
              <a:off x="911368" y="6555073"/>
              <a:ext cx="121095" cy="164778"/>
            </a:xfrm>
            <a:custGeom>
              <a:avLst/>
              <a:gdLst>
                <a:gd name="connsiteX0" fmla="*/ 33023 w 121095"/>
                <a:gd name="connsiteY0" fmla="*/ 98770 h 164778"/>
                <a:gd name="connsiteX1" fmla="*/ 88110 w 121095"/>
                <a:gd name="connsiteY1" fmla="*/ 98770 h 164778"/>
                <a:gd name="connsiteX2" fmla="*/ 88110 w 121095"/>
                <a:gd name="connsiteY2" fmla="*/ 164778 h 164778"/>
                <a:gd name="connsiteX3" fmla="*/ 121096 w 121095"/>
                <a:gd name="connsiteY3" fmla="*/ 164778 h 164778"/>
                <a:gd name="connsiteX4" fmla="*/ 121096 w 121095"/>
                <a:gd name="connsiteY4" fmla="*/ 0 h 164778"/>
                <a:gd name="connsiteX5" fmla="*/ 88110 w 121095"/>
                <a:gd name="connsiteY5" fmla="*/ 0 h 164778"/>
                <a:gd name="connsiteX6" fmla="*/ 88110 w 121095"/>
                <a:gd name="connsiteY6" fmla="*/ 65934 h 164778"/>
                <a:gd name="connsiteX7" fmla="*/ 33023 w 121095"/>
                <a:gd name="connsiteY7" fmla="*/ 65934 h 164778"/>
                <a:gd name="connsiteX8" fmla="*/ 33023 w 121095"/>
                <a:gd name="connsiteY8" fmla="*/ 0 h 164778"/>
                <a:gd name="connsiteX9" fmla="*/ 0 w 121095"/>
                <a:gd name="connsiteY9" fmla="*/ 0 h 164778"/>
                <a:gd name="connsiteX10" fmla="*/ 0 w 121095"/>
                <a:gd name="connsiteY10" fmla="*/ 164778 h 164778"/>
                <a:gd name="connsiteX11" fmla="*/ 33023 w 121095"/>
                <a:gd name="connsiteY11" fmla="*/ 164778 h 164778"/>
                <a:gd name="connsiteX12" fmla="*/ 33023 w 121095"/>
                <a:gd name="connsiteY12" fmla="*/ 98770 h 16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095" h="164778">
                  <a:moveTo>
                    <a:pt x="33023" y="98770"/>
                  </a:moveTo>
                  <a:lnTo>
                    <a:pt x="88110" y="98770"/>
                  </a:lnTo>
                  <a:lnTo>
                    <a:pt x="88110" y="164778"/>
                  </a:lnTo>
                  <a:lnTo>
                    <a:pt x="121096" y="164778"/>
                  </a:lnTo>
                  <a:lnTo>
                    <a:pt x="121096" y="0"/>
                  </a:lnTo>
                  <a:lnTo>
                    <a:pt x="88110" y="0"/>
                  </a:lnTo>
                  <a:lnTo>
                    <a:pt x="88110" y="65934"/>
                  </a:lnTo>
                  <a:lnTo>
                    <a:pt x="33023" y="65934"/>
                  </a:lnTo>
                  <a:lnTo>
                    <a:pt x="33023" y="0"/>
                  </a:lnTo>
                  <a:lnTo>
                    <a:pt x="0" y="0"/>
                  </a:lnTo>
                  <a:lnTo>
                    <a:pt x="0" y="164778"/>
                  </a:lnTo>
                  <a:lnTo>
                    <a:pt x="33023" y="164778"/>
                  </a:lnTo>
                  <a:lnTo>
                    <a:pt x="33023" y="98770"/>
                  </a:lnTo>
                  <a:close/>
                </a:path>
              </a:pathLst>
            </a:custGeom>
            <a:solidFill>
              <a:schemeClr val="tx1"/>
            </a:solidFill>
            <a:ln w="3718" cap="flat">
              <a:noFill/>
              <a:prstDash val="solid"/>
              <a:miter/>
            </a:ln>
          </p:spPr>
          <p:txBody>
            <a:bodyPr rtlCol="0" anchor="ctr"/>
            <a:lstStyle/>
            <a:p>
              <a:endParaRPr lang="en-US" dirty="0"/>
            </a:p>
          </p:txBody>
        </p:sp>
        <p:sp>
          <p:nvSpPr>
            <p:cNvPr id="17" name="Graphic 27">
              <a:extLst>
                <a:ext uri="{FF2B5EF4-FFF2-40B4-BE49-F238E27FC236}">
                  <a16:creationId xmlns:a16="http://schemas.microsoft.com/office/drawing/2014/main" id="{240FDDC6-27BA-4AE4-91B4-196CFE48F04F}"/>
                </a:ext>
              </a:extLst>
            </p:cNvPr>
            <p:cNvSpPr/>
            <p:nvPr/>
          </p:nvSpPr>
          <p:spPr>
            <a:xfrm>
              <a:off x="325457" y="6554663"/>
              <a:ext cx="132463" cy="168580"/>
            </a:xfrm>
            <a:custGeom>
              <a:avLst/>
              <a:gdLst>
                <a:gd name="connsiteX0" fmla="*/ 0 w 132463"/>
                <a:gd name="connsiteY0" fmla="*/ 165412 h 168580"/>
                <a:gd name="connsiteX1" fmla="*/ 33097 w 132463"/>
                <a:gd name="connsiteY1" fmla="*/ 165412 h 168580"/>
                <a:gd name="connsiteX2" fmla="*/ 33097 w 132463"/>
                <a:gd name="connsiteY2" fmla="*/ 73910 h 168580"/>
                <a:gd name="connsiteX3" fmla="*/ 132464 w 132463"/>
                <a:gd name="connsiteY3" fmla="*/ 168580 h 168580"/>
                <a:gd name="connsiteX4" fmla="*/ 132464 w 132463"/>
                <a:gd name="connsiteY4" fmla="*/ 0 h 168580"/>
                <a:gd name="connsiteX5" fmla="*/ 99255 w 132463"/>
                <a:gd name="connsiteY5" fmla="*/ 0 h 168580"/>
                <a:gd name="connsiteX6" fmla="*/ 99255 w 132463"/>
                <a:gd name="connsiteY6" fmla="*/ 91502 h 168580"/>
                <a:gd name="connsiteX7" fmla="*/ 48490 w 132463"/>
                <a:gd name="connsiteY7" fmla="*/ 43161 h 168580"/>
                <a:gd name="connsiteX8" fmla="*/ 0 w 132463"/>
                <a:gd name="connsiteY8" fmla="*/ 91651 h 168580"/>
                <a:gd name="connsiteX9" fmla="*/ 0 w 132463"/>
                <a:gd name="connsiteY9" fmla="*/ 165412 h 16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463" h="168580">
                  <a:moveTo>
                    <a:pt x="0" y="165412"/>
                  </a:moveTo>
                  <a:lnTo>
                    <a:pt x="33097" y="165412"/>
                  </a:lnTo>
                  <a:lnTo>
                    <a:pt x="33097" y="73910"/>
                  </a:lnTo>
                  <a:lnTo>
                    <a:pt x="132464" y="168580"/>
                  </a:lnTo>
                  <a:lnTo>
                    <a:pt x="132464" y="0"/>
                  </a:lnTo>
                  <a:lnTo>
                    <a:pt x="99255" y="0"/>
                  </a:lnTo>
                  <a:lnTo>
                    <a:pt x="99255" y="91502"/>
                  </a:lnTo>
                  <a:lnTo>
                    <a:pt x="48490" y="43161"/>
                  </a:lnTo>
                  <a:lnTo>
                    <a:pt x="0" y="91651"/>
                  </a:lnTo>
                  <a:lnTo>
                    <a:pt x="0" y="165412"/>
                  </a:lnTo>
                  <a:close/>
                </a:path>
              </a:pathLst>
            </a:custGeom>
            <a:solidFill>
              <a:schemeClr val="tx1"/>
            </a:solidFill>
            <a:ln w="3718" cap="flat">
              <a:noFill/>
              <a:prstDash val="solid"/>
              <a:miter/>
            </a:ln>
          </p:spPr>
          <p:txBody>
            <a:bodyPr rtlCol="0" anchor="ctr"/>
            <a:lstStyle/>
            <a:p>
              <a:endParaRPr lang="en-US" dirty="0"/>
            </a:p>
          </p:txBody>
        </p:sp>
        <p:sp>
          <p:nvSpPr>
            <p:cNvPr id="18" name="Graphic 27">
              <a:extLst>
                <a:ext uri="{FF2B5EF4-FFF2-40B4-BE49-F238E27FC236}">
                  <a16:creationId xmlns:a16="http://schemas.microsoft.com/office/drawing/2014/main" id="{8D621DF1-FD8B-4DDE-8872-6033CBCD7C2C}"/>
                </a:ext>
              </a:extLst>
            </p:cNvPr>
            <p:cNvSpPr/>
            <p:nvPr/>
          </p:nvSpPr>
          <p:spPr>
            <a:xfrm>
              <a:off x="325457" y="6551607"/>
              <a:ext cx="48490" cy="94707"/>
            </a:xfrm>
            <a:custGeom>
              <a:avLst/>
              <a:gdLst>
                <a:gd name="connsiteX0" fmla="*/ 0 w 48490"/>
                <a:gd name="connsiteY0" fmla="*/ 94707 h 94707"/>
                <a:gd name="connsiteX1" fmla="*/ 48490 w 48490"/>
                <a:gd name="connsiteY1" fmla="*/ 46180 h 94707"/>
                <a:gd name="connsiteX2" fmla="*/ 0 w 48490"/>
                <a:gd name="connsiteY2" fmla="*/ 0 h 94707"/>
                <a:gd name="connsiteX3" fmla="*/ 0 w 48490"/>
                <a:gd name="connsiteY3" fmla="*/ 94707 h 94707"/>
              </a:gdLst>
              <a:ahLst/>
              <a:cxnLst>
                <a:cxn ang="0">
                  <a:pos x="connsiteX0" y="connsiteY0"/>
                </a:cxn>
                <a:cxn ang="0">
                  <a:pos x="connsiteX1" y="connsiteY1"/>
                </a:cxn>
                <a:cxn ang="0">
                  <a:pos x="connsiteX2" y="connsiteY2"/>
                </a:cxn>
                <a:cxn ang="0">
                  <a:pos x="connsiteX3" y="connsiteY3"/>
                </a:cxn>
              </a:cxnLst>
              <a:rect l="l" t="t" r="r" b="b"/>
              <a:pathLst>
                <a:path w="48490" h="94707">
                  <a:moveTo>
                    <a:pt x="0" y="94707"/>
                  </a:moveTo>
                  <a:lnTo>
                    <a:pt x="48490" y="46180"/>
                  </a:lnTo>
                  <a:lnTo>
                    <a:pt x="0" y="0"/>
                  </a:lnTo>
                  <a:lnTo>
                    <a:pt x="0" y="94707"/>
                  </a:lnTo>
                  <a:close/>
                </a:path>
              </a:pathLst>
            </a:custGeom>
            <a:solidFill>
              <a:schemeClr val="accent3"/>
            </a:solidFill>
            <a:ln w="3718"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969503763"/>
      </p:ext>
    </p:extLst>
  </p:cSld>
  <p:clrMapOvr>
    <a:overrideClrMapping bg1="dk1" tx1="lt1" bg2="dk2" tx2="lt2" accent1="accent1" accent2="accent2" accent3="accent3" accent4="accent4" accent5="accent5" accent6="accent6" hlink="hlink" folHlink="folHlink"/>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1_Titl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25F3498-F81E-497D-9F70-63BF9757D89A}"/>
              </a:ext>
            </a:extLst>
          </p:cNvPr>
          <p:cNvSpPr/>
          <p:nvPr userDrawn="1"/>
        </p:nvSpPr>
        <p:spPr>
          <a:xfrm>
            <a:off x="223837" y="223838"/>
            <a:ext cx="11744325" cy="6410325"/>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600"/>
              </a:spcAft>
            </a:pPr>
            <a:endParaRPr lang="en-US" sz="2000" dirty="0">
              <a:solidFill>
                <a:schemeClr val="tx1"/>
              </a:solidFill>
            </a:endParaRPr>
          </a:p>
        </p:txBody>
      </p:sp>
      <p:sp>
        <p:nvSpPr>
          <p:cNvPr id="2" name="Title 1">
            <a:extLst>
              <a:ext uri="{FF2B5EF4-FFF2-40B4-BE49-F238E27FC236}">
                <a16:creationId xmlns:a16="http://schemas.microsoft.com/office/drawing/2014/main" id="{BC0E1418-D76B-4E7B-BC2C-A4D67CDE8555}"/>
              </a:ext>
            </a:extLst>
          </p:cNvPr>
          <p:cNvSpPr>
            <a:spLocks noGrp="1"/>
          </p:cNvSpPr>
          <p:nvPr>
            <p:ph type="title" hasCustomPrompt="1"/>
          </p:nvPr>
        </p:nvSpPr>
        <p:spPr>
          <a:xfrm>
            <a:off x="3731053" y="3294903"/>
            <a:ext cx="4729893" cy="1150430"/>
          </a:xfrm>
        </p:spPr>
        <p:txBody>
          <a:bodyPr anchor="ctr"/>
          <a:lstStyle>
            <a:lvl1pPr algn="ctr">
              <a:defRPr>
                <a:solidFill>
                  <a:schemeClr val="bg1"/>
                </a:solidFill>
              </a:defRPr>
            </a:lvl1pPr>
          </a:lstStyle>
          <a:p>
            <a:r>
              <a:rPr lang="en-US"/>
              <a:t>Click to insert title</a:t>
            </a:r>
          </a:p>
        </p:txBody>
      </p:sp>
      <p:sp>
        <p:nvSpPr>
          <p:cNvPr id="3" name="Date Placeholder 2">
            <a:extLst>
              <a:ext uri="{FF2B5EF4-FFF2-40B4-BE49-F238E27FC236}">
                <a16:creationId xmlns:a16="http://schemas.microsoft.com/office/drawing/2014/main" id="{57840F16-EAC4-497C-870F-51C950AEC6C4}"/>
              </a:ext>
            </a:extLst>
          </p:cNvPr>
          <p:cNvSpPr>
            <a:spLocks noGrp="1"/>
          </p:cNvSpPr>
          <p:nvPr>
            <p:ph type="dt" sz="half" idx="10"/>
          </p:nvPr>
        </p:nvSpPr>
        <p:spPr>
          <a:xfrm>
            <a:off x="4724400" y="5223669"/>
            <a:ext cx="2743200" cy="263525"/>
          </a:xfrm>
        </p:spPr>
        <p:txBody>
          <a:bodyPr/>
          <a:lstStyle>
            <a:lvl1pPr algn="ctr">
              <a:defRPr sz="1400">
                <a:solidFill>
                  <a:schemeClr val="bg1"/>
                </a:solidFill>
              </a:defRPr>
            </a:lvl1pPr>
          </a:lstStyle>
          <a:p>
            <a:endParaRPr lang="en-US" noProof="0" dirty="0"/>
          </a:p>
        </p:txBody>
      </p:sp>
      <p:cxnSp>
        <p:nvCxnSpPr>
          <p:cNvPr id="22" name="Straight Connector 21">
            <a:extLst>
              <a:ext uri="{FF2B5EF4-FFF2-40B4-BE49-F238E27FC236}">
                <a16:creationId xmlns:a16="http://schemas.microsoft.com/office/drawing/2014/main" id="{F9F96C7E-A230-4E41-A33A-464FDE2C3BF4}"/>
              </a:ext>
            </a:extLst>
          </p:cNvPr>
          <p:cNvCxnSpPr>
            <a:cxnSpLocks/>
          </p:cNvCxnSpPr>
          <p:nvPr userDrawn="1"/>
        </p:nvCxnSpPr>
        <p:spPr>
          <a:xfrm>
            <a:off x="5011737" y="3120602"/>
            <a:ext cx="216852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F6DF050-5AB5-4E70-8586-22A0EF2AFAC3}"/>
              </a:ext>
            </a:extLst>
          </p:cNvPr>
          <p:cNvCxnSpPr>
            <a:cxnSpLocks/>
          </p:cNvCxnSpPr>
          <p:nvPr userDrawn="1"/>
        </p:nvCxnSpPr>
        <p:spPr>
          <a:xfrm>
            <a:off x="5011737" y="5089525"/>
            <a:ext cx="216852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Text Placeholder 40">
            <a:extLst>
              <a:ext uri="{FF2B5EF4-FFF2-40B4-BE49-F238E27FC236}">
                <a16:creationId xmlns:a16="http://schemas.microsoft.com/office/drawing/2014/main" id="{D1B83F29-DE41-495B-B621-B30DF118F2AE}"/>
              </a:ext>
            </a:extLst>
          </p:cNvPr>
          <p:cNvSpPr>
            <a:spLocks noGrp="1"/>
          </p:cNvSpPr>
          <p:nvPr>
            <p:ph type="body" sz="quarter" idx="19" hasCustomPrompt="1"/>
          </p:nvPr>
        </p:nvSpPr>
        <p:spPr>
          <a:xfrm>
            <a:off x="3731053" y="4523589"/>
            <a:ext cx="4729893" cy="391636"/>
          </a:xfrm>
        </p:spPr>
        <p:txBody>
          <a:bodyPr/>
          <a:lstStyle>
            <a:lvl1pPr algn="ctr">
              <a:defRPr>
                <a:solidFill>
                  <a:schemeClr val="accent2"/>
                </a:solidFill>
              </a:defRPr>
            </a:lvl1pPr>
          </a:lstStyle>
          <a:p>
            <a:pPr lvl="0"/>
            <a:r>
              <a:rPr lang="en-US"/>
              <a:t>Click to insert subtitle</a:t>
            </a:r>
          </a:p>
        </p:txBody>
      </p:sp>
      <p:sp>
        <p:nvSpPr>
          <p:cNvPr id="5" name="Picture Placeholder 4">
            <a:extLst>
              <a:ext uri="{FF2B5EF4-FFF2-40B4-BE49-F238E27FC236}">
                <a16:creationId xmlns:a16="http://schemas.microsoft.com/office/drawing/2014/main" id="{EA24D5AD-917A-4F9F-A658-410CC9745FE1}"/>
              </a:ext>
            </a:extLst>
          </p:cNvPr>
          <p:cNvSpPr>
            <a:spLocks noGrp="1"/>
          </p:cNvSpPr>
          <p:nvPr>
            <p:ph type="pic" sz="quarter" idx="20" hasCustomPrompt="1"/>
          </p:nvPr>
        </p:nvSpPr>
        <p:spPr>
          <a:xfrm>
            <a:off x="5011738" y="5629275"/>
            <a:ext cx="2168526" cy="615950"/>
          </a:xfrm>
          <a:solidFill>
            <a:schemeClr val="bg1"/>
          </a:solidFill>
        </p:spPr>
        <p:txBody>
          <a:bodyPr anchor="ctr"/>
          <a:lstStyle>
            <a:lvl1pPr algn="ctr">
              <a:defRPr sz="1400">
                <a:solidFill>
                  <a:schemeClr val="tx2"/>
                </a:solidFill>
              </a:defRPr>
            </a:lvl1pPr>
          </a:lstStyle>
          <a:p>
            <a:r>
              <a:rPr lang="en-US" dirty="0"/>
              <a:t>Click icon to insert client logo</a:t>
            </a:r>
          </a:p>
        </p:txBody>
      </p:sp>
      <p:grpSp>
        <p:nvGrpSpPr>
          <p:cNvPr id="7" name="Graphic 5">
            <a:extLst>
              <a:ext uri="{FF2B5EF4-FFF2-40B4-BE49-F238E27FC236}">
                <a16:creationId xmlns:a16="http://schemas.microsoft.com/office/drawing/2014/main" id="{629ED475-FCE5-45F8-A870-40341DD39356}"/>
              </a:ext>
            </a:extLst>
          </p:cNvPr>
          <p:cNvGrpSpPr/>
          <p:nvPr/>
        </p:nvGrpSpPr>
        <p:grpSpPr>
          <a:xfrm>
            <a:off x="2476355" y="1851050"/>
            <a:ext cx="7239291" cy="670035"/>
            <a:chOff x="3729037" y="734683"/>
            <a:chExt cx="4733925" cy="438150"/>
          </a:xfrm>
        </p:grpSpPr>
        <p:sp>
          <p:nvSpPr>
            <p:cNvPr id="8" name="Freeform: Shape 7">
              <a:extLst>
                <a:ext uri="{FF2B5EF4-FFF2-40B4-BE49-F238E27FC236}">
                  <a16:creationId xmlns:a16="http://schemas.microsoft.com/office/drawing/2014/main" id="{5E677647-EC58-4B45-B9B4-55DFAB8501EC}"/>
                </a:ext>
              </a:extLst>
            </p:cNvPr>
            <p:cNvSpPr/>
            <p:nvPr/>
          </p:nvSpPr>
          <p:spPr>
            <a:xfrm>
              <a:off x="5752146" y="746113"/>
              <a:ext cx="293370" cy="417194"/>
            </a:xfrm>
            <a:custGeom>
              <a:avLst/>
              <a:gdLst>
                <a:gd name="connsiteX0" fmla="*/ 250508 w 293370"/>
                <a:gd name="connsiteY0" fmla="*/ 417195 h 417194"/>
                <a:gd name="connsiteX1" fmla="*/ 293370 w 293370"/>
                <a:gd name="connsiteY1" fmla="*/ 417195 h 417194"/>
                <a:gd name="connsiteX2" fmla="*/ 293370 w 293370"/>
                <a:gd name="connsiteY2" fmla="*/ 0 h 417194"/>
                <a:gd name="connsiteX3" fmla="*/ 250508 w 293370"/>
                <a:gd name="connsiteY3" fmla="*/ 0 h 417194"/>
                <a:gd name="connsiteX4" fmla="*/ 250508 w 293370"/>
                <a:gd name="connsiteY4" fmla="*/ 186690 h 417194"/>
                <a:gd name="connsiteX5" fmla="*/ 42863 w 293370"/>
                <a:gd name="connsiteY5" fmla="*/ 186690 h 417194"/>
                <a:gd name="connsiteX6" fmla="*/ 42863 w 293370"/>
                <a:gd name="connsiteY6" fmla="*/ 0 h 417194"/>
                <a:gd name="connsiteX7" fmla="*/ 0 w 293370"/>
                <a:gd name="connsiteY7" fmla="*/ 0 h 417194"/>
                <a:gd name="connsiteX8" fmla="*/ 0 w 293370"/>
                <a:gd name="connsiteY8" fmla="*/ 417195 h 417194"/>
                <a:gd name="connsiteX9" fmla="*/ 42863 w 293370"/>
                <a:gd name="connsiteY9" fmla="*/ 417195 h 417194"/>
                <a:gd name="connsiteX10" fmla="*/ 42863 w 293370"/>
                <a:gd name="connsiteY10" fmla="*/ 229553 h 417194"/>
                <a:gd name="connsiteX11" fmla="*/ 250508 w 293370"/>
                <a:gd name="connsiteY11" fmla="*/ 229553 h 417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3370" h="417194">
                  <a:moveTo>
                    <a:pt x="250508" y="417195"/>
                  </a:moveTo>
                  <a:lnTo>
                    <a:pt x="293370" y="417195"/>
                  </a:lnTo>
                  <a:lnTo>
                    <a:pt x="293370" y="0"/>
                  </a:lnTo>
                  <a:lnTo>
                    <a:pt x="250508" y="0"/>
                  </a:lnTo>
                  <a:lnTo>
                    <a:pt x="250508" y="186690"/>
                  </a:lnTo>
                  <a:lnTo>
                    <a:pt x="42863" y="186690"/>
                  </a:lnTo>
                  <a:lnTo>
                    <a:pt x="42863" y="0"/>
                  </a:lnTo>
                  <a:lnTo>
                    <a:pt x="0" y="0"/>
                  </a:lnTo>
                  <a:lnTo>
                    <a:pt x="0" y="417195"/>
                  </a:lnTo>
                  <a:lnTo>
                    <a:pt x="42863" y="417195"/>
                  </a:lnTo>
                  <a:lnTo>
                    <a:pt x="42863" y="229553"/>
                  </a:lnTo>
                  <a:lnTo>
                    <a:pt x="250508" y="229553"/>
                  </a:lnTo>
                  <a:close/>
                </a:path>
              </a:pathLst>
            </a:custGeom>
            <a:solidFill>
              <a:schemeClr val="bg2"/>
            </a:solidFill>
            <a:ln w="9525"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DE2D7200-4BA1-4F9C-A640-EA1DCE1543C0}"/>
                </a:ext>
              </a:extLst>
            </p:cNvPr>
            <p:cNvSpPr/>
            <p:nvPr/>
          </p:nvSpPr>
          <p:spPr>
            <a:xfrm>
              <a:off x="6117907" y="746113"/>
              <a:ext cx="42862" cy="417195"/>
            </a:xfrm>
            <a:custGeom>
              <a:avLst/>
              <a:gdLst>
                <a:gd name="connsiteX0" fmla="*/ 0 w 42862"/>
                <a:gd name="connsiteY0" fmla="*/ 0 h 417195"/>
                <a:gd name="connsiteX1" fmla="*/ 42863 w 42862"/>
                <a:gd name="connsiteY1" fmla="*/ 0 h 417195"/>
                <a:gd name="connsiteX2" fmla="*/ 42863 w 42862"/>
                <a:gd name="connsiteY2" fmla="*/ 417195 h 417195"/>
                <a:gd name="connsiteX3" fmla="*/ 0 w 42862"/>
                <a:gd name="connsiteY3" fmla="*/ 417195 h 417195"/>
              </a:gdLst>
              <a:ahLst/>
              <a:cxnLst>
                <a:cxn ang="0">
                  <a:pos x="connsiteX0" y="connsiteY0"/>
                </a:cxn>
                <a:cxn ang="0">
                  <a:pos x="connsiteX1" y="connsiteY1"/>
                </a:cxn>
                <a:cxn ang="0">
                  <a:pos x="connsiteX2" y="connsiteY2"/>
                </a:cxn>
                <a:cxn ang="0">
                  <a:pos x="connsiteX3" y="connsiteY3"/>
                </a:cxn>
              </a:cxnLst>
              <a:rect l="l" t="t" r="r" b="b"/>
              <a:pathLst>
                <a:path w="42862" h="417195">
                  <a:moveTo>
                    <a:pt x="0" y="0"/>
                  </a:moveTo>
                  <a:lnTo>
                    <a:pt x="42863" y="0"/>
                  </a:lnTo>
                  <a:lnTo>
                    <a:pt x="42863" y="417195"/>
                  </a:lnTo>
                  <a:lnTo>
                    <a:pt x="0" y="417195"/>
                  </a:lnTo>
                  <a:close/>
                </a:path>
              </a:pathLst>
            </a:custGeom>
            <a:solidFill>
              <a:schemeClr val="bg2"/>
            </a:solidFill>
            <a:ln w="9525" cap="flat">
              <a:no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53846CCA-EBB0-4239-804D-ECF60363BBF8}"/>
                </a:ext>
              </a:extLst>
            </p:cNvPr>
            <p:cNvSpPr/>
            <p:nvPr/>
          </p:nvSpPr>
          <p:spPr>
            <a:xfrm>
              <a:off x="6216967" y="742303"/>
              <a:ext cx="422909" cy="423862"/>
            </a:xfrm>
            <a:custGeom>
              <a:avLst/>
              <a:gdLst>
                <a:gd name="connsiteX0" fmla="*/ 61913 w 422909"/>
                <a:gd name="connsiteY0" fmla="*/ 361950 h 423862"/>
                <a:gd name="connsiteX1" fmla="*/ 130492 w 422909"/>
                <a:gd name="connsiteY1" fmla="*/ 408623 h 423862"/>
                <a:gd name="connsiteX2" fmla="*/ 211455 w 422909"/>
                <a:gd name="connsiteY2" fmla="*/ 423863 h 423862"/>
                <a:gd name="connsiteX3" fmla="*/ 292417 w 422909"/>
                <a:gd name="connsiteY3" fmla="*/ 408623 h 423862"/>
                <a:gd name="connsiteX4" fmla="*/ 360997 w 422909"/>
                <a:gd name="connsiteY4" fmla="*/ 361950 h 423862"/>
                <a:gd name="connsiteX5" fmla="*/ 410527 w 422909"/>
                <a:gd name="connsiteY5" fmla="*/ 283845 h 423862"/>
                <a:gd name="connsiteX6" fmla="*/ 422910 w 422909"/>
                <a:gd name="connsiteY6" fmla="*/ 208598 h 423862"/>
                <a:gd name="connsiteX7" fmla="*/ 232410 w 422909"/>
                <a:gd name="connsiteY7" fmla="*/ 208598 h 423862"/>
                <a:gd name="connsiteX8" fmla="*/ 232410 w 422909"/>
                <a:gd name="connsiteY8" fmla="*/ 247650 h 423862"/>
                <a:gd name="connsiteX9" fmla="*/ 381000 w 422909"/>
                <a:gd name="connsiteY9" fmla="*/ 247650 h 423862"/>
                <a:gd name="connsiteX10" fmla="*/ 363855 w 422909"/>
                <a:gd name="connsiteY10" fmla="*/ 283845 h 423862"/>
                <a:gd name="connsiteX11" fmla="*/ 340995 w 422909"/>
                <a:gd name="connsiteY11" fmla="*/ 319088 h 423862"/>
                <a:gd name="connsiteX12" fmla="*/ 310515 w 422909"/>
                <a:gd name="connsiteY12" fmla="*/ 348615 h 423862"/>
                <a:gd name="connsiteX13" fmla="*/ 264795 w 422909"/>
                <a:gd name="connsiteY13" fmla="*/ 372428 h 423862"/>
                <a:gd name="connsiteX14" fmla="*/ 148590 w 422909"/>
                <a:gd name="connsiteY14" fmla="*/ 367665 h 423862"/>
                <a:gd name="connsiteX15" fmla="*/ 94297 w 422909"/>
                <a:gd name="connsiteY15" fmla="*/ 330518 h 423862"/>
                <a:gd name="connsiteX16" fmla="*/ 57150 w 422909"/>
                <a:gd name="connsiteY16" fmla="*/ 276225 h 423862"/>
                <a:gd name="connsiteX17" fmla="*/ 44767 w 422909"/>
                <a:gd name="connsiteY17" fmla="*/ 211455 h 423862"/>
                <a:gd name="connsiteX18" fmla="*/ 57150 w 422909"/>
                <a:gd name="connsiteY18" fmla="*/ 146685 h 423862"/>
                <a:gd name="connsiteX19" fmla="*/ 94297 w 422909"/>
                <a:gd name="connsiteY19" fmla="*/ 92393 h 423862"/>
                <a:gd name="connsiteX20" fmla="*/ 148590 w 422909"/>
                <a:gd name="connsiteY20" fmla="*/ 55245 h 423862"/>
                <a:gd name="connsiteX21" fmla="*/ 213360 w 422909"/>
                <a:gd name="connsiteY21" fmla="*/ 42863 h 423862"/>
                <a:gd name="connsiteX22" fmla="*/ 277177 w 422909"/>
                <a:gd name="connsiteY22" fmla="*/ 55245 h 423862"/>
                <a:gd name="connsiteX23" fmla="*/ 312420 w 422909"/>
                <a:gd name="connsiteY23" fmla="*/ 75248 h 423862"/>
                <a:gd name="connsiteX24" fmla="*/ 342900 w 422909"/>
                <a:gd name="connsiteY24" fmla="*/ 44768 h 423862"/>
                <a:gd name="connsiteX25" fmla="*/ 330517 w 422909"/>
                <a:gd name="connsiteY25" fmla="*/ 36195 h 423862"/>
                <a:gd name="connsiteX26" fmla="*/ 294322 w 422909"/>
                <a:gd name="connsiteY26" fmla="*/ 16193 h 423862"/>
                <a:gd name="connsiteX27" fmla="*/ 254317 w 422909"/>
                <a:gd name="connsiteY27" fmla="*/ 3810 h 423862"/>
                <a:gd name="connsiteX28" fmla="*/ 212407 w 422909"/>
                <a:gd name="connsiteY28" fmla="*/ 0 h 423862"/>
                <a:gd name="connsiteX29" fmla="*/ 194310 w 422909"/>
                <a:gd name="connsiteY29" fmla="*/ 0 h 423862"/>
                <a:gd name="connsiteX30" fmla="*/ 130492 w 422909"/>
                <a:gd name="connsiteY30" fmla="*/ 15240 h 423862"/>
                <a:gd name="connsiteX31" fmla="*/ 61913 w 422909"/>
                <a:gd name="connsiteY31" fmla="*/ 61913 h 423862"/>
                <a:gd name="connsiteX32" fmla="*/ 15240 w 422909"/>
                <a:gd name="connsiteY32" fmla="*/ 130493 h 423862"/>
                <a:gd name="connsiteX33" fmla="*/ 0 w 422909"/>
                <a:gd name="connsiteY33" fmla="*/ 212408 h 423862"/>
                <a:gd name="connsiteX34" fmla="*/ 15240 w 422909"/>
                <a:gd name="connsiteY34" fmla="*/ 293370 h 423862"/>
                <a:gd name="connsiteX35" fmla="*/ 61913 w 422909"/>
                <a:gd name="connsiteY35" fmla="*/ 361950 h 423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22909" h="423862">
                  <a:moveTo>
                    <a:pt x="61913" y="361950"/>
                  </a:moveTo>
                  <a:cubicBezTo>
                    <a:pt x="82867" y="382905"/>
                    <a:pt x="105727" y="398145"/>
                    <a:pt x="130492" y="408623"/>
                  </a:cubicBezTo>
                  <a:cubicBezTo>
                    <a:pt x="154305" y="419100"/>
                    <a:pt x="181927" y="423863"/>
                    <a:pt x="211455" y="423863"/>
                  </a:cubicBezTo>
                  <a:cubicBezTo>
                    <a:pt x="240982" y="423863"/>
                    <a:pt x="268605" y="419100"/>
                    <a:pt x="292417" y="408623"/>
                  </a:cubicBezTo>
                  <a:cubicBezTo>
                    <a:pt x="317182" y="398145"/>
                    <a:pt x="340042" y="382905"/>
                    <a:pt x="360997" y="361950"/>
                  </a:cubicBezTo>
                  <a:cubicBezTo>
                    <a:pt x="383857" y="340043"/>
                    <a:pt x="400050" y="313373"/>
                    <a:pt x="410527" y="283845"/>
                  </a:cubicBezTo>
                  <a:cubicBezTo>
                    <a:pt x="418147" y="260985"/>
                    <a:pt x="422910" y="235268"/>
                    <a:pt x="422910" y="208598"/>
                  </a:cubicBezTo>
                  <a:lnTo>
                    <a:pt x="232410" y="208598"/>
                  </a:lnTo>
                  <a:lnTo>
                    <a:pt x="232410" y="247650"/>
                  </a:lnTo>
                  <a:lnTo>
                    <a:pt x="381000" y="247650"/>
                  </a:lnTo>
                  <a:lnTo>
                    <a:pt x="363855" y="283845"/>
                  </a:lnTo>
                  <a:cubicBezTo>
                    <a:pt x="358140" y="296228"/>
                    <a:pt x="350520" y="308610"/>
                    <a:pt x="340995" y="319088"/>
                  </a:cubicBezTo>
                  <a:cubicBezTo>
                    <a:pt x="332422" y="329565"/>
                    <a:pt x="321945" y="340043"/>
                    <a:pt x="310515" y="348615"/>
                  </a:cubicBezTo>
                  <a:cubicBezTo>
                    <a:pt x="295275" y="359093"/>
                    <a:pt x="280035" y="367665"/>
                    <a:pt x="264795" y="372428"/>
                  </a:cubicBezTo>
                  <a:cubicBezTo>
                    <a:pt x="226695" y="384810"/>
                    <a:pt x="184785" y="382905"/>
                    <a:pt x="148590" y="367665"/>
                  </a:cubicBezTo>
                  <a:cubicBezTo>
                    <a:pt x="128588" y="359093"/>
                    <a:pt x="110490" y="346710"/>
                    <a:pt x="94297" y="330518"/>
                  </a:cubicBezTo>
                  <a:cubicBezTo>
                    <a:pt x="78105" y="314325"/>
                    <a:pt x="65722" y="295275"/>
                    <a:pt x="57150" y="276225"/>
                  </a:cubicBezTo>
                  <a:cubicBezTo>
                    <a:pt x="48577" y="256223"/>
                    <a:pt x="44767" y="234315"/>
                    <a:pt x="44767" y="211455"/>
                  </a:cubicBezTo>
                  <a:cubicBezTo>
                    <a:pt x="44767" y="189548"/>
                    <a:pt x="48577" y="167640"/>
                    <a:pt x="57150" y="146685"/>
                  </a:cubicBezTo>
                  <a:cubicBezTo>
                    <a:pt x="65722" y="127635"/>
                    <a:pt x="77152" y="108585"/>
                    <a:pt x="94297" y="92393"/>
                  </a:cubicBezTo>
                  <a:cubicBezTo>
                    <a:pt x="110490" y="76200"/>
                    <a:pt x="129540" y="63818"/>
                    <a:pt x="148590" y="55245"/>
                  </a:cubicBezTo>
                  <a:cubicBezTo>
                    <a:pt x="167640" y="46673"/>
                    <a:pt x="189547" y="42863"/>
                    <a:pt x="213360" y="42863"/>
                  </a:cubicBezTo>
                  <a:cubicBezTo>
                    <a:pt x="236220" y="42863"/>
                    <a:pt x="258127" y="46673"/>
                    <a:pt x="277177" y="55245"/>
                  </a:cubicBezTo>
                  <a:cubicBezTo>
                    <a:pt x="289560" y="60960"/>
                    <a:pt x="300990" y="67628"/>
                    <a:pt x="312420" y="75248"/>
                  </a:cubicBezTo>
                  <a:lnTo>
                    <a:pt x="342900" y="44768"/>
                  </a:lnTo>
                  <a:cubicBezTo>
                    <a:pt x="338138" y="40958"/>
                    <a:pt x="334327" y="38100"/>
                    <a:pt x="330517" y="36195"/>
                  </a:cubicBezTo>
                  <a:cubicBezTo>
                    <a:pt x="319088" y="28575"/>
                    <a:pt x="306705" y="21907"/>
                    <a:pt x="294322" y="16193"/>
                  </a:cubicBezTo>
                  <a:cubicBezTo>
                    <a:pt x="281940" y="11430"/>
                    <a:pt x="268605" y="6668"/>
                    <a:pt x="254317" y="3810"/>
                  </a:cubicBezTo>
                  <a:cubicBezTo>
                    <a:pt x="240982" y="952"/>
                    <a:pt x="226695" y="0"/>
                    <a:pt x="212407" y="0"/>
                  </a:cubicBezTo>
                  <a:lnTo>
                    <a:pt x="194310" y="0"/>
                  </a:lnTo>
                  <a:cubicBezTo>
                    <a:pt x="171450" y="1905"/>
                    <a:pt x="149542" y="6668"/>
                    <a:pt x="130492" y="15240"/>
                  </a:cubicBezTo>
                  <a:cubicBezTo>
                    <a:pt x="105727" y="25718"/>
                    <a:pt x="81915" y="41910"/>
                    <a:pt x="61913" y="61913"/>
                  </a:cubicBezTo>
                  <a:cubicBezTo>
                    <a:pt x="40957" y="83820"/>
                    <a:pt x="24765" y="106680"/>
                    <a:pt x="15240" y="130493"/>
                  </a:cubicBezTo>
                  <a:cubicBezTo>
                    <a:pt x="4763" y="155258"/>
                    <a:pt x="0" y="182880"/>
                    <a:pt x="0" y="212408"/>
                  </a:cubicBezTo>
                  <a:cubicBezTo>
                    <a:pt x="0" y="241935"/>
                    <a:pt x="4763" y="269558"/>
                    <a:pt x="15240" y="293370"/>
                  </a:cubicBezTo>
                  <a:cubicBezTo>
                    <a:pt x="24765" y="318135"/>
                    <a:pt x="40957" y="340995"/>
                    <a:pt x="61913" y="361950"/>
                  </a:cubicBezTo>
                </a:path>
              </a:pathLst>
            </a:custGeom>
            <a:solidFill>
              <a:schemeClr val="bg2"/>
            </a:solidFill>
            <a:ln w="9525"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36B46771-3410-4D88-8479-5A34C360EEDB}"/>
                </a:ext>
              </a:extLst>
            </p:cNvPr>
            <p:cNvSpPr/>
            <p:nvPr/>
          </p:nvSpPr>
          <p:spPr>
            <a:xfrm>
              <a:off x="6695121" y="746113"/>
              <a:ext cx="293370" cy="417194"/>
            </a:xfrm>
            <a:custGeom>
              <a:avLst/>
              <a:gdLst>
                <a:gd name="connsiteX0" fmla="*/ 250508 w 293370"/>
                <a:gd name="connsiteY0" fmla="*/ 417195 h 417194"/>
                <a:gd name="connsiteX1" fmla="*/ 293370 w 293370"/>
                <a:gd name="connsiteY1" fmla="*/ 417195 h 417194"/>
                <a:gd name="connsiteX2" fmla="*/ 293370 w 293370"/>
                <a:gd name="connsiteY2" fmla="*/ 0 h 417194"/>
                <a:gd name="connsiteX3" fmla="*/ 250508 w 293370"/>
                <a:gd name="connsiteY3" fmla="*/ 0 h 417194"/>
                <a:gd name="connsiteX4" fmla="*/ 250508 w 293370"/>
                <a:gd name="connsiteY4" fmla="*/ 186690 h 417194"/>
                <a:gd name="connsiteX5" fmla="*/ 42863 w 293370"/>
                <a:gd name="connsiteY5" fmla="*/ 186690 h 417194"/>
                <a:gd name="connsiteX6" fmla="*/ 42863 w 293370"/>
                <a:gd name="connsiteY6" fmla="*/ 0 h 417194"/>
                <a:gd name="connsiteX7" fmla="*/ 0 w 293370"/>
                <a:gd name="connsiteY7" fmla="*/ 0 h 417194"/>
                <a:gd name="connsiteX8" fmla="*/ 0 w 293370"/>
                <a:gd name="connsiteY8" fmla="*/ 417195 h 417194"/>
                <a:gd name="connsiteX9" fmla="*/ 42863 w 293370"/>
                <a:gd name="connsiteY9" fmla="*/ 417195 h 417194"/>
                <a:gd name="connsiteX10" fmla="*/ 42863 w 293370"/>
                <a:gd name="connsiteY10" fmla="*/ 229553 h 417194"/>
                <a:gd name="connsiteX11" fmla="*/ 250508 w 293370"/>
                <a:gd name="connsiteY11" fmla="*/ 229553 h 417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3370" h="417194">
                  <a:moveTo>
                    <a:pt x="250508" y="417195"/>
                  </a:moveTo>
                  <a:lnTo>
                    <a:pt x="293370" y="417195"/>
                  </a:lnTo>
                  <a:lnTo>
                    <a:pt x="293370" y="0"/>
                  </a:lnTo>
                  <a:lnTo>
                    <a:pt x="250508" y="0"/>
                  </a:lnTo>
                  <a:lnTo>
                    <a:pt x="250508" y="186690"/>
                  </a:lnTo>
                  <a:lnTo>
                    <a:pt x="42863" y="186690"/>
                  </a:lnTo>
                  <a:lnTo>
                    <a:pt x="42863" y="0"/>
                  </a:lnTo>
                  <a:lnTo>
                    <a:pt x="0" y="0"/>
                  </a:lnTo>
                  <a:lnTo>
                    <a:pt x="0" y="417195"/>
                  </a:lnTo>
                  <a:lnTo>
                    <a:pt x="42863" y="417195"/>
                  </a:lnTo>
                  <a:lnTo>
                    <a:pt x="42863" y="229553"/>
                  </a:lnTo>
                  <a:lnTo>
                    <a:pt x="250508" y="229553"/>
                  </a:lnTo>
                  <a:close/>
                </a:path>
              </a:pathLst>
            </a:custGeom>
            <a:solidFill>
              <a:schemeClr val="bg2"/>
            </a:solidFill>
            <a:ln w="9525"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A352B342-CE89-453D-9AF7-942E180A69FF}"/>
                </a:ext>
              </a:extLst>
            </p:cNvPr>
            <p:cNvSpPr/>
            <p:nvPr/>
          </p:nvSpPr>
          <p:spPr>
            <a:xfrm>
              <a:off x="7060881" y="746113"/>
              <a:ext cx="231457" cy="417194"/>
            </a:xfrm>
            <a:custGeom>
              <a:avLst/>
              <a:gdLst>
                <a:gd name="connsiteX0" fmla="*/ 42863 w 231457"/>
                <a:gd name="connsiteY0" fmla="*/ 0 h 417194"/>
                <a:gd name="connsiteX1" fmla="*/ 0 w 231457"/>
                <a:gd name="connsiteY1" fmla="*/ 0 h 417194"/>
                <a:gd name="connsiteX2" fmla="*/ 0 w 231457"/>
                <a:gd name="connsiteY2" fmla="*/ 417195 h 417194"/>
                <a:gd name="connsiteX3" fmla="*/ 231458 w 231457"/>
                <a:gd name="connsiteY3" fmla="*/ 417195 h 417194"/>
                <a:gd name="connsiteX4" fmla="*/ 231458 w 231457"/>
                <a:gd name="connsiteY4" fmla="*/ 374333 h 417194"/>
                <a:gd name="connsiteX5" fmla="*/ 42863 w 231457"/>
                <a:gd name="connsiteY5" fmla="*/ 374333 h 417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1457" h="417194">
                  <a:moveTo>
                    <a:pt x="42863" y="0"/>
                  </a:moveTo>
                  <a:lnTo>
                    <a:pt x="0" y="0"/>
                  </a:lnTo>
                  <a:lnTo>
                    <a:pt x="0" y="417195"/>
                  </a:lnTo>
                  <a:lnTo>
                    <a:pt x="231458" y="417195"/>
                  </a:lnTo>
                  <a:lnTo>
                    <a:pt x="231458" y="374333"/>
                  </a:lnTo>
                  <a:lnTo>
                    <a:pt x="42863" y="374333"/>
                  </a:lnTo>
                  <a:close/>
                </a:path>
              </a:pathLst>
            </a:custGeom>
            <a:solidFill>
              <a:schemeClr val="bg2"/>
            </a:solidFill>
            <a:ln w="9525" cap="flat">
              <a:noFill/>
              <a:prstDash val="solid"/>
              <a:miter/>
            </a:ln>
          </p:spPr>
          <p:txBody>
            <a:bodyPr rtlCol="0" anchor="ctr"/>
            <a:lstStyle/>
            <a:p>
              <a:endParaRPr lang="en-US" dirty="0"/>
            </a:p>
          </p:txBody>
        </p:sp>
        <p:sp>
          <p:nvSpPr>
            <p:cNvPr id="27" name="Freeform: Shape 26">
              <a:extLst>
                <a:ext uri="{FF2B5EF4-FFF2-40B4-BE49-F238E27FC236}">
                  <a16:creationId xmlns:a16="http://schemas.microsoft.com/office/drawing/2014/main" id="{2390431C-8CAD-4C37-9ED7-968D44BD9302}"/>
                </a:ext>
              </a:extLst>
            </p:cNvPr>
            <p:cNvSpPr/>
            <p:nvPr/>
          </p:nvSpPr>
          <p:spPr>
            <a:xfrm>
              <a:off x="7350442" y="753733"/>
              <a:ext cx="348614" cy="409575"/>
            </a:xfrm>
            <a:custGeom>
              <a:avLst/>
              <a:gdLst>
                <a:gd name="connsiteX0" fmla="*/ 92392 w 348614"/>
                <a:gd name="connsiteY0" fmla="*/ 306705 h 409575"/>
                <a:gd name="connsiteX1" fmla="*/ 97155 w 348614"/>
                <a:gd name="connsiteY1" fmla="*/ 296228 h 409575"/>
                <a:gd name="connsiteX2" fmla="*/ 132397 w 348614"/>
                <a:gd name="connsiteY2" fmla="*/ 208598 h 409575"/>
                <a:gd name="connsiteX3" fmla="*/ 168592 w 348614"/>
                <a:gd name="connsiteY3" fmla="*/ 120968 h 409575"/>
                <a:gd name="connsiteX4" fmla="*/ 175260 w 348614"/>
                <a:gd name="connsiteY4" fmla="*/ 104775 h 409575"/>
                <a:gd name="connsiteX5" fmla="*/ 181927 w 348614"/>
                <a:gd name="connsiteY5" fmla="*/ 120968 h 409575"/>
                <a:gd name="connsiteX6" fmla="*/ 217170 w 348614"/>
                <a:gd name="connsiteY6" fmla="*/ 208598 h 409575"/>
                <a:gd name="connsiteX7" fmla="*/ 252413 w 348614"/>
                <a:gd name="connsiteY7" fmla="*/ 295275 h 409575"/>
                <a:gd name="connsiteX8" fmla="*/ 257175 w 348614"/>
                <a:gd name="connsiteY8" fmla="*/ 305753 h 409575"/>
                <a:gd name="connsiteX9" fmla="*/ 92392 w 348614"/>
                <a:gd name="connsiteY9" fmla="*/ 305753 h 409575"/>
                <a:gd name="connsiteX10" fmla="*/ 302895 w 348614"/>
                <a:gd name="connsiteY10" fmla="*/ 409575 h 409575"/>
                <a:gd name="connsiteX11" fmla="*/ 348615 w 348614"/>
                <a:gd name="connsiteY11" fmla="*/ 409575 h 409575"/>
                <a:gd name="connsiteX12" fmla="*/ 174307 w 348614"/>
                <a:gd name="connsiteY12" fmla="*/ 0 h 409575"/>
                <a:gd name="connsiteX13" fmla="*/ 0 w 348614"/>
                <a:gd name="connsiteY13" fmla="*/ 409575 h 409575"/>
                <a:gd name="connsiteX14" fmla="*/ 45720 w 348614"/>
                <a:gd name="connsiteY14" fmla="*/ 409575 h 409575"/>
                <a:gd name="connsiteX15" fmla="*/ 78105 w 348614"/>
                <a:gd name="connsiteY15" fmla="*/ 338138 h 409575"/>
                <a:gd name="connsiteX16" fmla="*/ 271463 w 348614"/>
                <a:gd name="connsiteY16" fmla="*/ 338138 h 409575"/>
                <a:gd name="connsiteX17" fmla="*/ 302895 w 348614"/>
                <a:gd name="connsiteY17" fmla="*/ 409575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48614" h="409575">
                  <a:moveTo>
                    <a:pt x="92392" y="306705"/>
                  </a:moveTo>
                  <a:lnTo>
                    <a:pt x="97155" y="296228"/>
                  </a:lnTo>
                  <a:cubicBezTo>
                    <a:pt x="108585" y="269558"/>
                    <a:pt x="120967" y="240030"/>
                    <a:pt x="132397" y="208598"/>
                  </a:cubicBezTo>
                  <a:cubicBezTo>
                    <a:pt x="144780" y="177165"/>
                    <a:pt x="156210" y="147638"/>
                    <a:pt x="168592" y="120968"/>
                  </a:cubicBezTo>
                  <a:lnTo>
                    <a:pt x="175260" y="104775"/>
                  </a:lnTo>
                  <a:lnTo>
                    <a:pt x="181927" y="120968"/>
                  </a:lnTo>
                  <a:cubicBezTo>
                    <a:pt x="193357" y="148590"/>
                    <a:pt x="205740" y="178118"/>
                    <a:pt x="217170" y="208598"/>
                  </a:cubicBezTo>
                  <a:cubicBezTo>
                    <a:pt x="228600" y="239078"/>
                    <a:pt x="240982" y="268605"/>
                    <a:pt x="252413" y="295275"/>
                  </a:cubicBezTo>
                  <a:lnTo>
                    <a:pt x="257175" y="305753"/>
                  </a:lnTo>
                  <a:lnTo>
                    <a:pt x="92392" y="305753"/>
                  </a:lnTo>
                  <a:close/>
                  <a:moveTo>
                    <a:pt x="302895" y="409575"/>
                  </a:moveTo>
                  <a:lnTo>
                    <a:pt x="348615" y="409575"/>
                  </a:lnTo>
                  <a:lnTo>
                    <a:pt x="174307" y="0"/>
                  </a:lnTo>
                  <a:lnTo>
                    <a:pt x="0" y="409575"/>
                  </a:lnTo>
                  <a:lnTo>
                    <a:pt x="45720" y="409575"/>
                  </a:lnTo>
                  <a:lnTo>
                    <a:pt x="78105" y="338138"/>
                  </a:lnTo>
                  <a:lnTo>
                    <a:pt x="271463" y="338138"/>
                  </a:lnTo>
                  <a:lnTo>
                    <a:pt x="302895" y="409575"/>
                  </a:lnTo>
                  <a:close/>
                </a:path>
              </a:pathLst>
            </a:custGeom>
            <a:solidFill>
              <a:schemeClr val="bg2"/>
            </a:solidFill>
            <a:ln w="9525" cap="flat">
              <a:noFill/>
              <a:prstDash val="solid"/>
              <a:miter/>
            </a:ln>
          </p:spPr>
          <p:txBody>
            <a:bodyPr rtlCol="0" anchor="ctr"/>
            <a:lstStyle/>
            <a:p>
              <a:endParaRPr lang="en-US" dirty="0"/>
            </a:p>
          </p:txBody>
        </p:sp>
        <p:sp>
          <p:nvSpPr>
            <p:cNvPr id="28" name="Freeform: Shape 27">
              <a:extLst>
                <a:ext uri="{FF2B5EF4-FFF2-40B4-BE49-F238E27FC236}">
                  <a16:creationId xmlns:a16="http://schemas.microsoft.com/office/drawing/2014/main" id="{988063D1-F860-46BF-9B03-94DF58EECD40}"/>
                </a:ext>
              </a:extLst>
            </p:cNvPr>
            <p:cNvSpPr/>
            <p:nvPr/>
          </p:nvSpPr>
          <p:spPr>
            <a:xfrm>
              <a:off x="7758112" y="745160"/>
              <a:ext cx="325755" cy="419099"/>
            </a:xfrm>
            <a:custGeom>
              <a:avLst/>
              <a:gdLst>
                <a:gd name="connsiteX0" fmla="*/ 281940 w 325755"/>
                <a:gd name="connsiteY0" fmla="*/ 303848 h 419099"/>
                <a:gd name="connsiteX1" fmla="*/ 0 w 325755"/>
                <a:gd name="connsiteY1" fmla="*/ 7620 h 419099"/>
                <a:gd name="connsiteX2" fmla="*/ 0 w 325755"/>
                <a:gd name="connsiteY2" fmla="*/ 419100 h 419099"/>
                <a:gd name="connsiteX3" fmla="*/ 42863 w 325755"/>
                <a:gd name="connsiteY3" fmla="*/ 419100 h 419099"/>
                <a:gd name="connsiteX4" fmla="*/ 42863 w 325755"/>
                <a:gd name="connsiteY4" fmla="*/ 113348 h 419099"/>
                <a:gd name="connsiteX5" fmla="*/ 325755 w 325755"/>
                <a:gd name="connsiteY5" fmla="*/ 414338 h 419099"/>
                <a:gd name="connsiteX6" fmla="*/ 325755 w 325755"/>
                <a:gd name="connsiteY6" fmla="*/ 0 h 419099"/>
                <a:gd name="connsiteX7" fmla="*/ 281940 w 325755"/>
                <a:gd name="connsiteY7" fmla="*/ 0 h 419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5755" h="419099">
                  <a:moveTo>
                    <a:pt x="281940" y="303848"/>
                  </a:moveTo>
                  <a:lnTo>
                    <a:pt x="0" y="7620"/>
                  </a:lnTo>
                  <a:lnTo>
                    <a:pt x="0" y="419100"/>
                  </a:lnTo>
                  <a:lnTo>
                    <a:pt x="42863" y="419100"/>
                  </a:lnTo>
                  <a:lnTo>
                    <a:pt x="42863" y="113348"/>
                  </a:lnTo>
                  <a:lnTo>
                    <a:pt x="325755" y="414338"/>
                  </a:lnTo>
                  <a:lnTo>
                    <a:pt x="325755" y="0"/>
                  </a:lnTo>
                  <a:lnTo>
                    <a:pt x="281940" y="0"/>
                  </a:lnTo>
                  <a:close/>
                </a:path>
              </a:pathLst>
            </a:custGeom>
            <a:solidFill>
              <a:schemeClr val="bg2"/>
            </a:solidFill>
            <a:ln w="9525" cap="flat">
              <a:noFill/>
              <a:prstDash val="solid"/>
              <a:miter/>
            </a:ln>
          </p:spPr>
          <p:txBody>
            <a:bodyPr rtlCol="0" anchor="ctr"/>
            <a:lstStyle/>
            <a:p>
              <a:endParaRPr lang="en-US" dirty="0"/>
            </a:p>
          </p:txBody>
        </p:sp>
        <p:grpSp>
          <p:nvGrpSpPr>
            <p:cNvPr id="29" name="Graphic 5">
              <a:extLst>
                <a:ext uri="{FF2B5EF4-FFF2-40B4-BE49-F238E27FC236}">
                  <a16:creationId xmlns:a16="http://schemas.microsoft.com/office/drawing/2014/main" id="{629ED475-FCE5-45F8-A870-40341DD39356}"/>
                </a:ext>
              </a:extLst>
            </p:cNvPr>
            <p:cNvGrpSpPr/>
            <p:nvPr/>
          </p:nvGrpSpPr>
          <p:grpSpPr>
            <a:xfrm>
              <a:off x="4103369" y="740398"/>
              <a:ext cx="4360545" cy="426720"/>
              <a:chOff x="4103369" y="740398"/>
              <a:chExt cx="4360545" cy="426720"/>
            </a:xfrm>
            <a:solidFill>
              <a:srgbClr val="012D54"/>
            </a:solidFill>
          </p:grpSpPr>
          <p:sp>
            <p:nvSpPr>
              <p:cNvPr id="30" name="Freeform: Shape 29">
                <a:extLst>
                  <a:ext uri="{FF2B5EF4-FFF2-40B4-BE49-F238E27FC236}">
                    <a16:creationId xmlns:a16="http://schemas.microsoft.com/office/drawing/2014/main" id="{1DA30983-AEB6-4F8B-B208-7B3BA28A77C1}"/>
                  </a:ext>
                </a:extLst>
              </p:cNvPr>
              <p:cNvSpPr/>
              <p:nvPr/>
            </p:nvSpPr>
            <p:spPr>
              <a:xfrm>
                <a:off x="8156256" y="745160"/>
                <a:ext cx="307657" cy="418147"/>
              </a:xfrm>
              <a:custGeom>
                <a:avLst/>
                <a:gdLst>
                  <a:gd name="connsiteX0" fmla="*/ 165735 w 307657"/>
                  <a:gd name="connsiteY0" fmla="*/ 363855 h 418147"/>
                  <a:gd name="connsiteX1" fmla="*/ 100013 w 307657"/>
                  <a:gd name="connsiteY1" fmla="*/ 375285 h 418147"/>
                  <a:gd name="connsiteX2" fmla="*/ 42863 w 307657"/>
                  <a:gd name="connsiteY2" fmla="*/ 375285 h 418147"/>
                  <a:gd name="connsiteX3" fmla="*/ 42863 w 307657"/>
                  <a:gd name="connsiteY3" fmla="*/ 42863 h 418147"/>
                  <a:gd name="connsiteX4" fmla="*/ 99060 w 307657"/>
                  <a:gd name="connsiteY4" fmla="*/ 42863 h 418147"/>
                  <a:gd name="connsiteX5" fmla="*/ 165735 w 307657"/>
                  <a:gd name="connsiteY5" fmla="*/ 54293 h 418147"/>
                  <a:gd name="connsiteX6" fmla="*/ 219075 w 307657"/>
                  <a:gd name="connsiteY6" fmla="*/ 89535 h 418147"/>
                  <a:gd name="connsiteX7" fmla="*/ 253365 w 307657"/>
                  <a:gd name="connsiteY7" fmla="*/ 143828 h 418147"/>
                  <a:gd name="connsiteX8" fmla="*/ 264795 w 307657"/>
                  <a:gd name="connsiteY8" fmla="*/ 210503 h 418147"/>
                  <a:gd name="connsiteX9" fmla="*/ 253365 w 307657"/>
                  <a:gd name="connsiteY9" fmla="*/ 277178 h 418147"/>
                  <a:gd name="connsiteX10" fmla="*/ 219075 w 307657"/>
                  <a:gd name="connsiteY10" fmla="*/ 331470 h 418147"/>
                  <a:gd name="connsiteX11" fmla="*/ 165735 w 307657"/>
                  <a:gd name="connsiteY11" fmla="*/ 363855 h 418147"/>
                  <a:gd name="connsiteX12" fmla="*/ 293370 w 307657"/>
                  <a:gd name="connsiteY12" fmla="*/ 290513 h 418147"/>
                  <a:gd name="connsiteX13" fmla="*/ 307658 w 307657"/>
                  <a:gd name="connsiteY13" fmla="*/ 209550 h 418147"/>
                  <a:gd name="connsiteX14" fmla="*/ 293370 w 307657"/>
                  <a:gd name="connsiteY14" fmla="*/ 128588 h 418147"/>
                  <a:gd name="connsiteX15" fmla="*/ 252413 w 307657"/>
                  <a:gd name="connsiteY15" fmla="*/ 61913 h 418147"/>
                  <a:gd name="connsiteX16" fmla="*/ 182880 w 307657"/>
                  <a:gd name="connsiteY16" fmla="*/ 16192 h 418147"/>
                  <a:gd name="connsiteX17" fmla="*/ 110490 w 307657"/>
                  <a:gd name="connsiteY17" fmla="*/ 0 h 418147"/>
                  <a:gd name="connsiteX18" fmla="*/ 0 w 307657"/>
                  <a:gd name="connsiteY18" fmla="*/ 0 h 418147"/>
                  <a:gd name="connsiteX19" fmla="*/ 0 w 307657"/>
                  <a:gd name="connsiteY19" fmla="*/ 418148 h 418147"/>
                  <a:gd name="connsiteX20" fmla="*/ 99060 w 307657"/>
                  <a:gd name="connsiteY20" fmla="*/ 418148 h 418147"/>
                  <a:gd name="connsiteX21" fmla="*/ 182880 w 307657"/>
                  <a:gd name="connsiteY21" fmla="*/ 402908 h 418147"/>
                  <a:gd name="connsiteX22" fmla="*/ 251460 w 307657"/>
                  <a:gd name="connsiteY22" fmla="*/ 358140 h 418147"/>
                  <a:gd name="connsiteX23" fmla="*/ 293370 w 307657"/>
                  <a:gd name="connsiteY23" fmla="*/ 290513 h 418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7" h="418147">
                    <a:moveTo>
                      <a:pt x="165735" y="363855"/>
                    </a:moveTo>
                    <a:cubicBezTo>
                      <a:pt x="145733" y="371475"/>
                      <a:pt x="123825" y="375285"/>
                      <a:pt x="100013" y="375285"/>
                    </a:cubicBezTo>
                    <a:lnTo>
                      <a:pt x="42863" y="375285"/>
                    </a:lnTo>
                    <a:lnTo>
                      <a:pt x="42863" y="42863"/>
                    </a:lnTo>
                    <a:lnTo>
                      <a:pt x="99060" y="42863"/>
                    </a:lnTo>
                    <a:cubicBezTo>
                      <a:pt x="122873" y="42863"/>
                      <a:pt x="145733" y="46673"/>
                      <a:pt x="165735" y="54293"/>
                    </a:cubicBezTo>
                    <a:cubicBezTo>
                      <a:pt x="186690" y="62865"/>
                      <a:pt x="204788" y="74295"/>
                      <a:pt x="219075" y="89535"/>
                    </a:cubicBezTo>
                    <a:cubicBezTo>
                      <a:pt x="234315" y="104775"/>
                      <a:pt x="245745" y="122873"/>
                      <a:pt x="253365" y="143828"/>
                    </a:cubicBezTo>
                    <a:cubicBezTo>
                      <a:pt x="260985" y="163830"/>
                      <a:pt x="264795" y="185738"/>
                      <a:pt x="264795" y="210503"/>
                    </a:cubicBezTo>
                    <a:cubicBezTo>
                      <a:pt x="264795" y="235268"/>
                      <a:pt x="260985" y="257175"/>
                      <a:pt x="253365" y="277178"/>
                    </a:cubicBezTo>
                    <a:cubicBezTo>
                      <a:pt x="245745" y="297180"/>
                      <a:pt x="234315" y="315278"/>
                      <a:pt x="219075" y="331470"/>
                    </a:cubicBezTo>
                    <a:cubicBezTo>
                      <a:pt x="203835" y="344805"/>
                      <a:pt x="185738" y="356235"/>
                      <a:pt x="165735" y="363855"/>
                    </a:cubicBezTo>
                    <a:moveTo>
                      <a:pt x="293370" y="290513"/>
                    </a:moveTo>
                    <a:cubicBezTo>
                      <a:pt x="302895" y="264795"/>
                      <a:pt x="307658" y="237173"/>
                      <a:pt x="307658" y="209550"/>
                    </a:cubicBezTo>
                    <a:cubicBezTo>
                      <a:pt x="307658" y="181928"/>
                      <a:pt x="302895" y="155258"/>
                      <a:pt x="293370" y="128588"/>
                    </a:cubicBezTo>
                    <a:cubicBezTo>
                      <a:pt x="283845" y="102870"/>
                      <a:pt x="270510" y="80010"/>
                      <a:pt x="252413" y="61913"/>
                    </a:cubicBezTo>
                    <a:cubicBezTo>
                      <a:pt x="232410" y="41910"/>
                      <a:pt x="208598" y="26670"/>
                      <a:pt x="182880" y="16192"/>
                    </a:cubicBezTo>
                    <a:cubicBezTo>
                      <a:pt x="160973" y="7620"/>
                      <a:pt x="136208" y="1905"/>
                      <a:pt x="110490" y="0"/>
                    </a:cubicBezTo>
                    <a:lnTo>
                      <a:pt x="0" y="0"/>
                    </a:lnTo>
                    <a:lnTo>
                      <a:pt x="0" y="418148"/>
                    </a:lnTo>
                    <a:lnTo>
                      <a:pt x="99060" y="418148"/>
                    </a:lnTo>
                    <a:cubicBezTo>
                      <a:pt x="129540" y="418148"/>
                      <a:pt x="157163" y="412433"/>
                      <a:pt x="182880" y="402908"/>
                    </a:cubicBezTo>
                    <a:cubicBezTo>
                      <a:pt x="208598" y="392430"/>
                      <a:pt x="232410" y="377190"/>
                      <a:pt x="251460" y="358140"/>
                    </a:cubicBezTo>
                    <a:cubicBezTo>
                      <a:pt x="270510" y="338138"/>
                      <a:pt x="284798" y="316230"/>
                      <a:pt x="293370" y="290513"/>
                    </a:cubicBezTo>
                  </a:path>
                </a:pathLst>
              </a:custGeom>
              <a:solidFill>
                <a:schemeClr val="bg2"/>
              </a:solidFill>
              <a:ln w="9525"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20E12836-B555-4DB2-BD8D-D02619F13D5F}"/>
                  </a:ext>
                </a:extLst>
              </p:cNvPr>
              <p:cNvSpPr/>
              <p:nvPr/>
            </p:nvSpPr>
            <p:spPr>
              <a:xfrm>
                <a:off x="4103369" y="740398"/>
                <a:ext cx="428625" cy="426720"/>
              </a:xfrm>
              <a:custGeom>
                <a:avLst/>
                <a:gdLst>
                  <a:gd name="connsiteX0" fmla="*/ 123825 w 428625"/>
                  <a:gd name="connsiteY0" fmla="*/ 122873 h 426720"/>
                  <a:gd name="connsiteX1" fmla="*/ 214313 w 428625"/>
                  <a:gd name="connsiteY1" fmla="*/ 85725 h 426720"/>
                  <a:gd name="connsiteX2" fmla="*/ 304800 w 428625"/>
                  <a:gd name="connsiteY2" fmla="*/ 122873 h 426720"/>
                  <a:gd name="connsiteX3" fmla="*/ 342900 w 428625"/>
                  <a:gd name="connsiteY3" fmla="*/ 213360 h 426720"/>
                  <a:gd name="connsiteX4" fmla="*/ 304800 w 428625"/>
                  <a:gd name="connsiteY4" fmla="*/ 303848 h 426720"/>
                  <a:gd name="connsiteX5" fmla="*/ 214313 w 428625"/>
                  <a:gd name="connsiteY5" fmla="*/ 340995 h 426720"/>
                  <a:gd name="connsiteX6" fmla="*/ 123825 w 428625"/>
                  <a:gd name="connsiteY6" fmla="*/ 303848 h 426720"/>
                  <a:gd name="connsiteX7" fmla="*/ 86678 w 428625"/>
                  <a:gd name="connsiteY7" fmla="*/ 213360 h 426720"/>
                  <a:gd name="connsiteX8" fmla="*/ 123825 w 428625"/>
                  <a:gd name="connsiteY8" fmla="*/ 122873 h 426720"/>
                  <a:gd name="connsiteX9" fmla="*/ 214313 w 428625"/>
                  <a:gd name="connsiteY9" fmla="*/ 426720 h 426720"/>
                  <a:gd name="connsiteX10" fmla="*/ 365760 w 428625"/>
                  <a:gd name="connsiteY10" fmla="*/ 364808 h 426720"/>
                  <a:gd name="connsiteX11" fmla="*/ 428625 w 428625"/>
                  <a:gd name="connsiteY11" fmla="*/ 213360 h 426720"/>
                  <a:gd name="connsiteX12" fmla="*/ 365760 w 428625"/>
                  <a:gd name="connsiteY12" fmla="*/ 61913 h 426720"/>
                  <a:gd name="connsiteX13" fmla="*/ 214313 w 428625"/>
                  <a:gd name="connsiteY13" fmla="*/ 0 h 426720"/>
                  <a:gd name="connsiteX14" fmla="*/ 62865 w 428625"/>
                  <a:gd name="connsiteY14" fmla="*/ 62865 h 426720"/>
                  <a:gd name="connsiteX15" fmla="*/ 0 w 428625"/>
                  <a:gd name="connsiteY15" fmla="*/ 214313 h 426720"/>
                  <a:gd name="connsiteX16" fmla="*/ 62865 w 428625"/>
                  <a:gd name="connsiteY16" fmla="*/ 365760 h 426720"/>
                  <a:gd name="connsiteX17" fmla="*/ 214313 w 428625"/>
                  <a:gd name="connsiteY17" fmla="*/ 426720 h 426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8625" h="426720">
                    <a:moveTo>
                      <a:pt x="123825" y="122873"/>
                    </a:moveTo>
                    <a:cubicBezTo>
                      <a:pt x="148590" y="98108"/>
                      <a:pt x="179070" y="85725"/>
                      <a:pt x="214313" y="85725"/>
                    </a:cubicBezTo>
                    <a:cubicBezTo>
                      <a:pt x="249555" y="85725"/>
                      <a:pt x="280035" y="98108"/>
                      <a:pt x="304800" y="122873"/>
                    </a:cubicBezTo>
                    <a:cubicBezTo>
                      <a:pt x="330518" y="148590"/>
                      <a:pt x="342900" y="178118"/>
                      <a:pt x="342900" y="213360"/>
                    </a:cubicBezTo>
                    <a:cubicBezTo>
                      <a:pt x="342900" y="248603"/>
                      <a:pt x="330518" y="279083"/>
                      <a:pt x="304800" y="303848"/>
                    </a:cubicBezTo>
                    <a:cubicBezTo>
                      <a:pt x="279083" y="328613"/>
                      <a:pt x="249555" y="340995"/>
                      <a:pt x="214313" y="340995"/>
                    </a:cubicBezTo>
                    <a:cubicBezTo>
                      <a:pt x="179070" y="340995"/>
                      <a:pt x="148590" y="328613"/>
                      <a:pt x="123825" y="303848"/>
                    </a:cubicBezTo>
                    <a:cubicBezTo>
                      <a:pt x="99060" y="279083"/>
                      <a:pt x="86678" y="248603"/>
                      <a:pt x="86678" y="213360"/>
                    </a:cubicBezTo>
                    <a:cubicBezTo>
                      <a:pt x="85725" y="178118"/>
                      <a:pt x="99060" y="148590"/>
                      <a:pt x="123825" y="122873"/>
                    </a:cubicBezTo>
                    <a:moveTo>
                      <a:pt x="214313" y="426720"/>
                    </a:moveTo>
                    <a:cubicBezTo>
                      <a:pt x="273368" y="426720"/>
                      <a:pt x="323850" y="405765"/>
                      <a:pt x="365760" y="364808"/>
                    </a:cubicBezTo>
                    <a:cubicBezTo>
                      <a:pt x="407670" y="322898"/>
                      <a:pt x="428625" y="272415"/>
                      <a:pt x="428625" y="213360"/>
                    </a:cubicBezTo>
                    <a:cubicBezTo>
                      <a:pt x="428625" y="154305"/>
                      <a:pt x="407670" y="103823"/>
                      <a:pt x="365760" y="61913"/>
                    </a:cubicBezTo>
                    <a:cubicBezTo>
                      <a:pt x="323850" y="20955"/>
                      <a:pt x="273368" y="0"/>
                      <a:pt x="214313" y="0"/>
                    </a:cubicBezTo>
                    <a:cubicBezTo>
                      <a:pt x="155258" y="0"/>
                      <a:pt x="105728" y="20955"/>
                      <a:pt x="62865" y="62865"/>
                    </a:cubicBezTo>
                    <a:cubicBezTo>
                      <a:pt x="20955" y="104775"/>
                      <a:pt x="0" y="155258"/>
                      <a:pt x="0" y="214313"/>
                    </a:cubicBezTo>
                    <a:cubicBezTo>
                      <a:pt x="0" y="273368"/>
                      <a:pt x="20955" y="323850"/>
                      <a:pt x="62865" y="365760"/>
                    </a:cubicBezTo>
                    <a:cubicBezTo>
                      <a:pt x="104775" y="405765"/>
                      <a:pt x="155258" y="426720"/>
                      <a:pt x="214313" y="426720"/>
                    </a:cubicBezTo>
                  </a:path>
                </a:pathLst>
              </a:custGeom>
              <a:solidFill>
                <a:schemeClr val="bg2"/>
              </a:solid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7B19416E-64DC-4071-82DF-82BD9902D9D1}"/>
                  </a:ext>
                </a:extLst>
              </p:cNvPr>
              <p:cNvSpPr/>
              <p:nvPr/>
            </p:nvSpPr>
            <p:spPr>
              <a:xfrm>
                <a:off x="4568189" y="744208"/>
                <a:ext cx="309562" cy="421005"/>
              </a:xfrm>
              <a:custGeom>
                <a:avLst/>
                <a:gdLst>
                  <a:gd name="connsiteX0" fmla="*/ 83820 w 309562"/>
                  <a:gd name="connsiteY0" fmla="*/ 82868 h 421005"/>
                  <a:gd name="connsiteX1" fmla="*/ 131445 w 309562"/>
                  <a:gd name="connsiteY1" fmla="*/ 82868 h 421005"/>
                  <a:gd name="connsiteX2" fmla="*/ 183833 w 309562"/>
                  <a:gd name="connsiteY2" fmla="*/ 100013 h 421005"/>
                  <a:gd name="connsiteX3" fmla="*/ 200977 w 309562"/>
                  <a:gd name="connsiteY3" fmla="*/ 140970 h 421005"/>
                  <a:gd name="connsiteX4" fmla="*/ 145733 w 309562"/>
                  <a:gd name="connsiteY4" fmla="*/ 200025 h 421005"/>
                  <a:gd name="connsiteX5" fmla="*/ 117158 w 309562"/>
                  <a:gd name="connsiteY5" fmla="*/ 200025 h 421005"/>
                  <a:gd name="connsiteX6" fmla="*/ 117158 w 309562"/>
                  <a:gd name="connsiteY6" fmla="*/ 200025 h 421005"/>
                  <a:gd name="connsiteX7" fmla="*/ 84773 w 309562"/>
                  <a:gd name="connsiteY7" fmla="*/ 200025 h 421005"/>
                  <a:gd name="connsiteX8" fmla="*/ 84773 w 309562"/>
                  <a:gd name="connsiteY8" fmla="*/ 82868 h 421005"/>
                  <a:gd name="connsiteX9" fmla="*/ 84773 w 309562"/>
                  <a:gd name="connsiteY9" fmla="*/ 420053 h 421005"/>
                  <a:gd name="connsiteX10" fmla="*/ 84773 w 309562"/>
                  <a:gd name="connsiteY10" fmla="*/ 234315 h 421005"/>
                  <a:gd name="connsiteX11" fmla="*/ 205740 w 309562"/>
                  <a:gd name="connsiteY11" fmla="*/ 421005 h 421005"/>
                  <a:gd name="connsiteX12" fmla="*/ 309563 w 309562"/>
                  <a:gd name="connsiteY12" fmla="*/ 421005 h 421005"/>
                  <a:gd name="connsiteX13" fmla="*/ 211455 w 309562"/>
                  <a:gd name="connsiteY13" fmla="*/ 268605 h 421005"/>
                  <a:gd name="connsiteX14" fmla="*/ 261938 w 309562"/>
                  <a:gd name="connsiteY14" fmla="*/ 229553 h 421005"/>
                  <a:gd name="connsiteX15" fmla="*/ 288608 w 309562"/>
                  <a:gd name="connsiteY15" fmla="*/ 149543 h 421005"/>
                  <a:gd name="connsiteX16" fmla="*/ 288608 w 309562"/>
                  <a:gd name="connsiteY16" fmla="*/ 138113 h 421005"/>
                  <a:gd name="connsiteX17" fmla="*/ 247650 w 309562"/>
                  <a:gd name="connsiteY17" fmla="*/ 42863 h 421005"/>
                  <a:gd name="connsiteX18" fmla="*/ 137160 w 309562"/>
                  <a:gd name="connsiteY18" fmla="*/ 0 h 421005"/>
                  <a:gd name="connsiteX19" fmla="*/ 0 w 309562"/>
                  <a:gd name="connsiteY19" fmla="*/ 0 h 421005"/>
                  <a:gd name="connsiteX20" fmla="*/ 0 w 309562"/>
                  <a:gd name="connsiteY20" fmla="*/ 421005 h 421005"/>
                  <a:gd name="connsiteX21" fmla="*/ 84773 w 309562"/>
                  <a:gd name="connsiteY21" fmla="*/ 421005 h 421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9562" h="421005">
                    <a:moveTo>
                      <a:pt x="83820" y="82868"/>
                    </a:moveTo>
                    <a:lnTo>
                      <a:pt x="131445" y="82868"/>
                    </a:lnTo>
                    <a:cubicBezTo>
                      <a:pt x="151448" y="82868"/>
                      <a:pt x="172402" y="88583"/>
                      <a:pt x="183833" y="100013"/>
                    </a:cubicBezTo>
                    <a:cubicBezTo>
                      <a:pt x="195263" y="111443"/>
                      <a:pt x="200977" y="124778"/>
                      <a:pt x="200977" y="140970"/>
                    </a:cubicBezTo>
                    <a:cubicBezTo>
                      <a:pt x="200977" y="173355"/>
                      <a:pt x="176213" y="200025"/>
                      <a:pt x="145733" y="200025"/>
                    </a:cubicBezTo>
                    <a:lnTo>
                      <a:pt x="117158" y="200025"/>
                    </a:lnTo>
                    <a:lnTo>
                      <a:pt x="117158" y="200025"/>
                    </a:lnTo>
                    <a:lnTo>
                      <a:pt x="84773" y="200025"/>
                    </a:lnTo>
                    <a:lnTo>
                      <a:pt x="84773" y="82868"/>
                    </a:lnTo>
                    <a:close/>
                    <a:moveTo>
                      <a:pt x="84773" y="420053"/>
                    </a:moveTo>
                    <a:lnTo>
                      <a:pt x="84773" y="234315"/>
                    </a:lnTo>
                    <a:lnTo>
                      <a:pt x="205740" y="421005"/>
                    </a:lnTo>
                    <a:lnTo>
                      <a:pt x="309563" y="421005"/>
                    </a:lnTo>
                    <a:lnTo>
                      <a:pt x="211455" y="268605"/>
                    </a:lnTo>
                    <a:cubicBezTo>
                      <a:pt x="235268" y="259080"/>
                      <a:pt x="246698" y="250508"/>
                      <a:pt x="261938" y="229553"/>
                    </a:cubicBezTo>
                    <a:cubicBezTo>
                      <a:pt x="280035" y="204788"/>
                      <a:pt x="288608" y="178118"/>
                      <a:pt x="288608" y="149543"/>
                    </a:cubicBezTo>
                    <a:lnTo>
                      <a:pt x="288608" y="138113"/>
                    </a:lnTo>
                    <a:cubicBezTo>
                      <a:pt x="288608" y="91440"/>
                      <a:pt x="273368" y="68580"/>
                      <a:pt x="247650" y="42863"/>
                    </a:cubicBezTo>
                    <a:cubicBezTo>
                      <a:pt x="221933" y="18098"/>
                      <a:pt x="183833" y="0"/>
                      <a:pt x="137160" y="0"/>
                    </a:cubicBezTo>
                    <a:lnTo>
                      <a:pt x="0" y="0"/>
                    </a:lnTo>
                    <a:lnTo>
                      <a:pt x="0" y="421005"/>
                    </a:lnTo>
                    <a:lnTo>
                      <a:pt x="84773" y="421005"/>
                    </a:lnTo>
                    <a:close/>
                  </a:path>
                </a:pathLst>
              </a:custGeom>
              <a:solidFill>
                <a:schemeClr val="bg2"/>
              </a:solidFill>
              <a:ln w="9525" cap="flat">
                <a:noFill/>
                <a:prstDash val="solid"/>
                <a:miter/>
              </a:ln>
            </p:spPr>
            <p:txBody>
              <a:bodyPr rtlCol="0" anchor="ctr"/>
              <a:lstStyle/>
              <a:p>
                <a:endParaRPr lang="en-US" dirty="0"/>
              </a:p>
            </p:txBody>
          </p:sp>
        </p:grpSp>
        <p:sp>
          <p:nvSpPr>
            <p:cNvPr id="33" name="Freeform: Shape 32">
              <a:extLst>
                <a:ext uri="{FF2B5EF4-FFF2-40B4-BE49-F238E27FC236}">
                  <a16:creationId xmlns:a16="http://schemas.microsoft.com/office/drawing/2014/main" id="{AC65F681-5083-4D07-83AF-287B6F2B072B}"/>
                </a:ext>
              </a:extLst>
            </p:cNvPr>
            <p:cNvSpPr/>
            <p:nvPr/>
          </p:nvSpPr>
          <p:spPr>
            <a:xfrm>
              <a:off x="4897754" y="743255"/>
              <a:ext cx="292417" cy="421004"/>
            </a:xfrm>
            <a:custGeom>
              <a:avLst/>
              <a:gdLst>
                <a:gd name="connsiteX0" fmla="*/ 103823 w 292417"/>
                <a:gd name="connsiteY0" fmla="*/ 421005 h 421004"/>
                <a:gd name="connsiteX1" fmla="*/ 188595 w 292417"/>
                <a:gd name="connsiteY1" fmla="*/ 421005 h 421004"/>
                <a:gd name="connsiteX2" fmla="*/ 188595 w 292417"/>
                <a:gd name="connsiteY2" fmla="*/ 83820 h 421004"/>
                <a:gd name="connsiteX3" fmla="*/ 292417 w 292417"/>
                <a:gd name="connsiteY3" fmla="*/ 83820 h 421004"/>
                <a:gd name="connsiteX4" fmla="*/ 292417 w 292417"/>
                <a:gd name="connsiteY4" fmla="*/ 0 h 421004"/>
                <a:gd name="connsiteX5" fmla="*/ 0 w 292417"/>
                <a:gd name="connsiteY5" fmla="*/ 0 h 421004"/>
                <a:gd name="connsiteX6" fmla="*/ 0 w 292417"/>
                <a:gd name="connsiteY6" fmla="*/ 83820 h 421004"/>
                <a:gd name="connsiteX7" fmla="*/ 103823 w 292417"/>
                <a:gd name="connsiteY7" fmla="*/ 83820 h 42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417" h="421004">
                  <a:moveTo>
                    <a:pt x="103823" y="421005"/>
                  </a:moveTo>
                  <a:lnTo>
                    <a:pt x="188595" y="421005"/>
                  </a:lnTo>
                  <a:lnTo>
                    <a:pt x="188595" y="83820"/>
                  </a:lnTo>
                  <a:lnTo>
                    <a:pt x="292417" y="83820"/>
                  </a:lnTo>
                  <a:lnTo>
                    <a:pt x="292417" y="0"/>
                  </a:lnTo>
                  <a:lnTo>
                    <a:pt x="0" y="0"/>
                  </a:lnTo>
                  <a:lnTo>
                    <a:pt x="0" y="83820"/>
                  </a:lnTo>
                  <a:lnTo>
                    <a:pt x="103823" y="83820"/>
                  </a:lnTo>
                  <a:close/>
                </a:path>
              </a:pathLst>
            </a:custGeom>
            <a:solidFill>
              <a:schemeClr val="bg2"/>
            </a:solid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024431A0-5286-43E4-AD23-D5BE72A08EA2}"/>
                </a:ext>
              </a:extLst>
            </p:cNvPr>
            <p:cNvSpPr/>
            <p:nvPr/>
          </p:nvSpPr>
          <p:spPr>
            <a:xfrm>
              <a:off x="5226366" y="743255"/>
              <a:ext cx="309562" cy="421004"/>
            </a:xfrm>
            <a:custGeom>
              <a:avLst/>
              <a:gdLst>
                <a:gd name="connsiteX0" fmla="*/ 84773 w 309562"/>
                <a:gd name="connsiteY0" fmla="*/ 252413 h 421004"/>
                <a:gd name="connsiteX1" fmla="*/ 224790 w 309562"/>
                <a:gd name="connsiteY1" fmla="*/ 252413 h 421004"/>
                <a:gd name="connsiteX2" fmla="*/ 224790 w 309562"/>
                <a:gd name="connsiteY2" fmla="*/ 421005 h 421004"/>
                <a:gd name="connsiteX3" fmla="*/ 309563 w 309562"/>
                <a:gd name="connsiteY3" fmla="*/ 421005 h 421004"/>
                <a:gd name="connsiteX4" fmla="*/ 309563 w 309562"/>
                <a:gd name="connsiteY4" fmla="*/ 0 h 421004"/>
                <a:gd name="connsiteX5" fmla="*/ 224790 w 309562"/>
                <a:gd name="connsiteY5" fmla="*/ 0 h 421004"/>
                <a:gd name="connsiteX6" fmla="*/ 224790 w 309562"/>
                <a:gd name="connsiteY6" fmla="*/ 168593 h 421004"/>
                <a:gd name="connsiteX7" fmla="*/ 84773 w 309562"/>
                <a:gd name="connsiteY7" fmla="*/ 168593 h 421004"/>
                <a:gd name="connsiteX8" fmla="*/ 84773 w 309562"/>
                <a:gd name="connsiteY8" fmla="*/ 0 h 421004"/>
                <a:gd name="connsiteX9" fmla="*/ 0 w 309562"/>
                <a:gd name="connsiteY9" fmla="*/ 0 h 421004"/>
                <a:gd name="connsiteX10" fmla="*/ 0 w 309562"/>
                <a:gd name="connsiteY10" fmla="*/ 421005 h 421004"/>
                <a:gd name="connsiteX11" fmla="*/ 84773 w 309562"/>
                <a:gd name="connsiteY11" fmla="*/ 421005 h 42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9562" h="421004">
                  <a:moveTo>
                    <a:pt x="84773" y="252413"/>
                  </a:moveTo>
                  <a:lnTo>
                    <a:pt x="224790" y="252413"/>
                  </a:lnTo>
                  <a:lnTo>
                    <a:pt x="224790" y="421005"/>
                  </a:lnTo>
                  <a:lnTo>
                    <a:pt x="309563" y="421005"/>
                  </a:lnTo>
                  <a:lnTo>
                    <a:pt x="309563" y="0"/>
                  </a:lnTo>
                  <a:lnTo>
                    <a:pt x="224790" y="0"/>
                  </a:lnTo>
                  <a:lnTo>
                    <a:pt x="224790" y="168593"/>
                  </a:lnTo>
                  <a:lnTo>
                    <a:pt x="84773" y="168593"/>
                  </a:lnTo>
                  <a:lnTo>
                    <a:pt x="84773" y="0"/>
                  </a:lnTo>
                  <a:lnTo>
                    <a:pt x="0" y="0"/>
                  </a:lnTo>
                  <a:lnTo>
                    <a:pt x="0" y="421005"/>
                  </a:lnTo>
                  <a:lnTo>
                    <a:pt x="84773" y="421005"/>
                  </a:lnTo>
                  <a:close/>
                </a:path>
              </a:pathLst>
            </a:custGeom>
            <a:solidFill>
              <a:schemeClr val="bg2"/>
            </a:solid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22ABAC6C-8948-433B-9B21-772A46D32829}"/>
                </a:ext>
              </a:extLst>
            </p:cNvPr>
            <p:cNvSpPr/>
            <p:nvPr/>
          </p:nvSpPr>
          <p:spPr>
            <a:xfrm>
              <a:off x="3729037" y="742303"/>
              <a:ext cx="338137" cy="430529"/>
            </a:xfrm>
            <a:custGeom>
              <a:avLst/>
              <a:gdLst>
                <a:gd name="connsiteX0" fmla="*/ 0 w 338137"/>
                <a:gd name="connsiteY0" fmla="*/ 422910 h 430529"/>
                <a:gd name="connsiteX1" fmla="*/ 84773 w 338137"/>
                <a:gd name="connsiteY1" fmla="*/ 422910 h 430529"/>
                <a:gd name="connsiteX2" fmla="*/ 84773 w 338137"/>
                <a:gd name="connsiteY2" fmla="*/ 189548 h 430529"/>
                <a:gd name="connsiteX3" fmla="*/ 338138 w 338137"/>
                <a:gd name="connsiteY3" fmla="*/ 430530 h 430529"/>
                <a:gd name="connsiteX4" fmla="*/ 338138 w 338137"/>
                <a:gd name="connsiteY4" fmla="*/ 0 h 430529"/>
                <a:gd name="connsiteX5" fmla="*/ 253365 w 338137"/>
                <a:gd name="connsiteY5" fmla="*/ 0 h 430529"/>
                <a:gd name="connsiteX6" fmla="*/ 253365 w 338137"/>
                <a:gd name="connsiteY6" fmla="*/ 234315 h 430529"/>
                <a:gd name="connsiteX7" fmla="*/ 123825 w 338137"/>
                <a:gd name="connsiteY7" fmla="*/ 110490 h 430529"/>
                <a:gd name="connsiteX8" fmla="*/ 0 w 338137"/>
                <a:gd name="connsiteY8" fmla="*/ 234315 h 430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8137" h="430529">
                  <a:moveTo>
                    <a:pt x="0" y="422910"/>
                  </a:moveTo>
                  <a:lnTo>
                    <a:pt x="84773" y="422910"/>
                  </a:lnTo>
                  <a:lnTo>
                    <a:pt x="84773" y="189548"/>
                  </a:lnTo>
                  <a:lnTo>
                    <a:pt x="338138" y="430530"/>
                  </a:lnTo>
                  <a:lnTo>
                    <a:pt x="338138" y="0"/>
                  </a:lnTo>
                  <a:lnTo>
                    <a:pt x="253365" y="0"/>
                  </a:lnTo>
                  <a:lnTo>
                    <a:pt x="253365" y="234315"/>
                  </a:lnTo>
                  <a:lnTo>
                    <a:pt x="123825" y="110490"/>
                  </a:lnTo>
                  <a:lnTo>
                    <a:pt x="0" y="234315"/>
                  </a:lnTo>
                  <a:close/>
                </a:path>
              </a:pathLst>
            </a:custGeom>
            <a:solidFill>
              <a:schemeClr val="bg2"/>
            </a:solidFill>
            <a:ln w="9525"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487FC6B9-5073-49F1-AF68-C988D64F36EE}"/>
                </a:ext>
              </a:extLst>
            </p:cNvPr>
            <p:cNvSpPr/>
            <p:nvPr/>
          </p:nvSpPr>
          <p:spPr>
            <a:xfrm>
              <a:off x="3729037" y="734683"/>
              <a:ext cx="123825" cy="241934"/>
            </a:xfrm>
            <a:custGeom>
              <a:avLst/>
              <a:gdLst>
                <a:gd name="connsiteX0" fmla="*/ 0 w 123825"/>
                <a:gd name="connsiteY0" fmla="*/ 241935 h 241934"/>
                <a:gd name="connsiteX1" fmla="*/ 123825 w 123825"/>
                <a:gd name="connsiteY1" fmla="*/ 118110 h 241934"/>
                <a:gd name="connsiteX2" fmla="*/ 0 w 123825"/>
                <a:gd name="connsiteY2" fmla="*/ 0 h 241934"/>
              </a:gdLst>
              <a:ahLst/>
              <a:cxnLst>
                <a:cxn ang="0">
                  <a:pos x="connsiteX0" y="connsiteY0"/>
                </a:cxn>
                <a:cxn ang="0">
                  <a:pos x="connsiteX1" y="connsiteY1"/>
                </a:cxn>
                <a:cxn ang="0">
                  <a:pos x="connsiteX2" y="connsiteY2"/>
                </a:cxn>
              </a:cxnLst>
              <a:rect l="l" t="t" r="r" b="b"/>
              <a:pathLst>
                <a:path w="123825" h="241934">
                  <a:moveTo>
                    <a:pt x="0" y="241935"/>
                  </a:moveTo>
                  <a:lnTo>
                    <a:pt x="123825" y="118110"/>
                  </a:lnTo>
                  <a:lnTo>
                    <a:pt x="0" y="0"/>
                  </a:lnTo>
                  <a:close/>
                </a:path>
              </a:pathLst>
            </a:custGeom>
            <a:solidFill>
              <a:srgbClr val="04A0B9"/>
            </a:solidFill>
            <a:ln w="9525"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342383046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Title w/ Imag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25F3498-F81E-497D-9F70-63BF9757D89A}"/>
              </a:ext>
            </a:extLst>
          </p:cNvPr>
          <p:cNvSpPr/>
          <p:nvPr userDrawn="1"/>
        </p:nvSpPr>
        <p:spPr>
          <a:xfrm>
            <a:off x="223838" y="223838"/>
            <a:ext cx="5264150" cy="6410326"/>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600"/>
              </a:spcAft>
            </a:pPr>
            <a:endParaRPr lang="en-US" sz="2000" dirty="0">
              <a:solidFill>
                <a:schemeClr val="tx1"/>
              </a:solidFill>
            </a:endParaRPr>
          </a:p>
        </p:txBody>
      </p:sp>
      <p:sp>
        <p:nvSpPr>
          <p:cNvPr id="2" name="Title 1">
            <a:extLst>
              <a:ext uri="{FF2B5EF4-FFF2-40B4-BE49-F238E27FC236}">
                <a16:creationId xmlns:a16="http://schemas.microsoft.com/office/drawing/2014/main" id="{BC0E1418-D76B-4E7B-BC2C-A4D67CDE8555}"/>
              </a:ext>
            </a:extLst>
          </p:cNvPr>
          <p:cNvSpPr>
            <a:spLocks noGrp="1"/>
          </p:cNvSpPr>
          <p:nvPr>
            <p:ph type="title" hasCustomPrompt="1"/>
          </p:nvPr>
        </p:nvSpPr>
        <p:spPr>
          <a:xfrm>
            <a:off x="490967" y="3668093"/>
            <a:ext cx="4729893" cy="777240"/>
          </a:xfrm>
        </p:spPr>
        <p:txBody>
          <a:bodyPr anchor="ctr"/>
          <a:lstStyle>
            <a:lvl1pPr algn="ctr">
              <a:defRPr>
                <a:solidFill>
                  <a:schemeClr val="bg1"/>
                </a:solidFill>
              </a:defRPr>
            </a:lvl1pPr>
          </a:lstStyle>
          <a:p>
            <a:r>
              <a:rPr lang="en-US"/>
              <a:t>Click to insert title</a:t>
            </a:r>
          </a:p>
        </p:txBody>
      </p:sp>
      <p:sp>
        <p:nvSpPr>
          <p:cNvPr id="3" name="Date Placeholder 2">
            <a:extLst>
              <a:ext uri="{FF2B5EF4-FFF2-40B4-BE49-F238E27FC236}">
                <a16:creationId xmlns:a16="http://schemas.microsoft.com/office/drawing/2014/main" id="{57840F16-EAC4-497C-870F-51C950AEC6C4}"/>
              </a:ext>
            </a:extLst>
          </p:cNvPr>
          <p:cNvSpPr>
            <a:spLocks noGrp="1"/>
          </p:cNvSpPr>
          <p:nvPr>
            <p:ph type="dt" sz="half" idx="10"/>
          </p:nvPr>
        </p:nvSpPr>
        <p:spPr>
          <a:xfrm>
            <a:off x="1484313" y="5223669"/>
            <a:ext cx="2743200" cy="263525"/>
          </a:xfrm>
        </p:spPr>
        <p:txBody>
          <a:bodyPr/>
          <a:lstStyle>
            <a:lvl1pPr algn="ctr">
              <a:defRPr sz="1400">
                <a:solidFill>
                  <a:schemeClr val="bg1"/>
                </a:solidFill>
              </a:defRPr>
            </a:lvl1pPr>
          </a:lstStyle>
          <a:p>
            <a:endParaRPr lang="en-US" noProof="0" dirty="0"/>
          </a:p>
        </p:txBody>
      </p:sp>
      <p:sp>
        <p:nvSpPr>
          <p:cNvPr id="16" name="Picture Placeholder 15">
            <a:extLst>
              <a:ext uri="{FF2B5EF4-FFF2-40B4-BE49-F238E27FC236}">
                <a16:creationId xmlns:a16="http://schemas.microsoft.com/office/drawing/2014/main" id="{F8E3D61A-33AF-494A-9398-1495BB046AA3}"/>
              </a:ext>
            </a:extLst>
          </p:cNvPr>
          <p:cNvSpPr>
            <a:spLocks noGrp="1"/>
          </p:cNvSpPr>
          <p:nvPr>
            <p:ph type="pic" sz="quarter" idx="13" hasCustomPrompt="1"/>
          </p:nvPr>
        </p:nvSpPr>
        <p:spPr>
          <a:xfrm>
            <a:off x="5711826" y="223838"/>
            <a:ext cx="6256337" cy="6410326"/>
          </a:xfrm>
        </p:spPr>
        <p:txBody>
          <a:bodyPr anchor="ctr"/>
          <a:lstStyle>
            <a:lvl1pPr algn="ctr">
              <a:defRPr sz="1200"/>
            </a:lvl1pPr>
          </a:lstStyle>
          <a:p>
            <a:r>
              <a:rPr lang="en-US" dirty="0"/>
              <a:t>Click to insert image</a:t>
            </a:r>
          </a:p>
        </p:txBody>
      </p:sp>
      <p:pic>
        <p:nvPicPr>
          <p:cNvPr id="20" name="Graphic 19">
            <a:extLst>
              <a:ext uri="{FF2B5EF4-FFF2-40B4-BE49-F238E27FC236}">
                <a16:creationId xmlns:a16="http://schemas.microsoft.com/office/drawing/2014/main" id="{5C5C9887-6129-4E40-89EC-46893BF4A5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636558" y="1409700"/>
            <a:ext cx="2469562" cy="1103681"/>
          </a:xfrm>
          <a:prstGeom prst="rect">
            <a:avLst/>
          </a:prstGeom>
        </p:spPr>
      </p:pic>
      <p:cxnSp>
        <p:nvCxnSpPr>
          <p:cNvPr id="22" name="Straight Connector 21">
            <a:extLst>
              <a:ext uri="{FF2B5EF4-FFF2-40B4-BE49-F238E27FC236}">
                <a16:creationId xmlns:a16="http://schemas.microsoft.com/office/drawing/2014/main" id="{F9F96C7E-A230-4E41-A33A-464FDE2C3BF4}"/>
              </a:ext>
            </a:extLst>
          </p:cNvPr>
          <p:cNvCxnSpPr>
            <a:cxnSpLocks/>
          </p:cNvCxnSpPr>
          <p:nvPr userDrawn="1"/>
        </p:nvCxnSpPr>
        <p:spPr>
          <a:xfrm>
            <a:off x="1771651" y="3432175"/>
            <a:ext cx="216852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F6DF050-5AB5-4E70-8586-22A0EF2AFAC3}"/>
              </a:ext>
            </a:extLst>
          </p:cNvPr>
          <p:cNvCxnSpPr>
            <a:cxnSpLocks/>
          </p:cNvCxnSpPr>
          <p:nvPr userDrawn="1"/>
        </p:nvCxnSpPr>
        <p:spPr>
          <a:xfrm>
            <a:off x="1771651" y="5089525"/>
            <a:ext cx="216852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Text Placeholder 40">
            <a:extLst>
              <a:ext uri="{FF2B5EF4-FFF2-40B4-BE49-F238E27FC236}">
                <a16:creationId xmlns:a16="http://schemas.microsoft.com/office/drawing/2014/main" id="{9BDB2365-5668-477D-AD3C-E7EE83EF97D8}"/>
              </a:ext>
            </a:extLst>
          </p:cNvPr>
          <p:cNvSpPr>
            <a:spLocks noGrp="1"/>
          </p:cNvSpPr>
          <p:nvPr>
            <p:ph type="body" sz="quarter" idx="19" hasCustomPrompt="1"/>
          </p:nvPr>
        </p:nvSpPr>
        <p:spPr>
          <a:xfrm>
            <a:off x="490966" y="4523589"/>
            <a:ext cx="4729893" cy="391636"/>
          </a:xfrm>
        </p:spPr>
        <p:txBody>
          <a:bodyPr/>
          <a:lstStyle>
            <a:lvl1pPr algn="ctr">
              <a:defRPr>
                <a:solidFill>
                  <a:schemeClr val="accent2"/>
                </a:solidFill>
              </a:defRPr>
            </a:lvl1pPr>
          </a:lstStyle>
          <a:p>
            <a:pPr lvl="0"/>
            <a:r>
              <a:rPr lang="en-US"/>
              <a:t>Click to insert subtitle</a:t>
            </a:r>
          </a:p>
        </p:txBody>
      </p:sp>
      <p:sp>
        <p:nvSpPr>
          <p:cNvPr id="28" name="Picture Placeholder 4">
            <a:extLst>
              <a:ext uri="{FF2B5EF4-FFF2-40B4-BE49-F238E27FC236}">
                <a16:creationId xmlns:a16="http://schemas.microsoft.com/office/drawing/2014/main" id="{7AC683DB-2579-4533-8A19-CBC96B244A34}"/>
              </a:ext>
            </a:extLst>
          </p:cNvPr>
          <p:cNvSpPr>
            <a:spLocks noGrp="1"/>
          </p:cNvSpPr>
          <p:nvPr>
            <p:ph type="pic" sz="quarter" idx="20" hasCustomPrompt="1"/>
          </p:nvPr>
        </p:nvSpPr>
        <p:spPr>
          <a:xfrm>
            <a:off x="1771650" y="5629275"/>
            <a:ext cx="2168526" cy="615950"/>
          </a:xfrm>
          <a:solidFill>
            <a:schemeClr val="bg1"/>
          </a:solidFill>
        </p:spPr>
        <p:txBody>
          <a:bodyPr anchor="ctr"/>
          <a:lstStyle>
            <a:lvl1pPr algn="ctr">
              <a:defRPr sz="1400">
                <a:solidFill>
                  <a:schemeClr val="tx2"/>
                </a:solidFill>
              </a:defRPr>
            </a:lvl1pPr>
          </a:lstStyle>
          <a:p>
            <a:r>
              <a:rPr lang="en-US" dirty="0"/>
              <a:t>Click icon to insert client logo</a:t>
            </a:r>
          </a:p>
        </p:txBody>
      </p:sp>
    </p:spTree>
    <p:extLst>
      <p:ext uri="{BB962C8B-B14F-4D97-AF65-F5344CB8AC3E}">
        <p14:creationId xmlns:p14="http://schemas.microsoft.com/office/powerpoint/2010/main" val="299120918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25F3498-F81E-497D-9F70-63BF9757D89A}"/>
              </a:ext>
            </a:extLst>
          </p:cNvPr>
          <p:cNvSpPr/>
          <p:nvPr userDrawn="1"/>
        </p:nvSpPr>
        <p:spPr>
          <a:xfrm>
            <a:off x="223837" y="223838"/>
            <a:ext cx="11744325" cy="6410325"/>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600"/>
              </a:spcAft>
            </a:pPr>
            <a:endParaRPr lang="en-US" sz="2000" dirty="0">
              <a:solidFill>
                <a:schemeClr val="tx1"/>
              </a:solidFill>
            </a:endParaRPr>
          </a:p>
        </p:txBody>
      </p:sp>
      <p:sp>
        <p:nvSpPr>
          <p:cNvPr id="2" name="Title 1">
            <a:extLst>
              <a:ext uri="{FF2B5EF4-FFF2-40B4-BE49-F238E27FC236}">
                <a16:creationId xmlns:a16="http://schemas.microsoft.com/office/drawing/2014/main" id="{BC0E1418-D76B-4E7B-BC2C-A4D67CDE8555}"/>
              </a:ext>
            </a:extLst>
          </p:cNvPr>
          <p:cNvSpPr>
            <a:spLocks noGrp="1"/>
          </p:cNvSpPr>
          <p:nvPr>
            <p:ph type="title" hasCustomPrompt="1"/>
          </p:nvPr>
        </p:nvSpPr>
        <p:spPr>
          <a:xfrm>
            <a:off x="3731053" y="3294903"/>
            <a:ext cx="4729893" cy="1150430"/>
          </a:xfrm>
        </p:spPr>
        <p:txBody>
          <a:bodyPr anchor="ctr"/>
          <a:lstStyle>
            <a:lvl1pPr algn="ctr">
              <a:defRPr>
                <a:solidFill>
                  <a:schemeClr val="bg1"/>
                </a:solidFill>
              </a:defRPr>
            </a:lvl1pPr>
          </a:lstStyle>
          <a:p>
            <a:r>
              <a:rPr lang="en-US"/>
              <a:t>Click to insert title</a:t>
            </a:r>
          </a:p>
        </p:txBody>
      </p:sp>
      <p:sp>
        <p:nvSpPr>
          <p:cNvPr id="3" name="Date Placeholder 2">
            <a:extLst>
              <a:ext uri="{FF2B5EF4-FFF2-40B4-BE49-F238E27FC236}">
                <a16:creationId xmlns:a16="http://schemas.microsoft.com/office/drawing/2014/main" id="{57840F16-EAC4-497C-870F-51C950AEC6C4}"/>
              </a:ext>
            </a:extLst>
          </p:cNvPr>
          <p:cNvSpPr>
            <a:spLocks noGrp="1"/>
          </p:cNvSpPr>
          <p:nvPr>
            <p:ph type="dt" sz="half" idx="10"/>
          </p:nvPr>
        </p:nvSpPr>
        <p:spPr>
          <a:xfrm>
            <a:off x="4724400" y="5223669"/>
            <a:ext cx="2743200" cy="263525"/>
          </a:xfrm>
        </p:spPr>
        <p:txBody>
          <a:bodyPr/>
          <a:lstStyle>
            <a:lvl1pPr algn="ctr">
              <a:defRPr sz="1400">
                <a:solidFill>
                  <a:schemeClr val="bg1"/>
                </a:solidFill>
              </a:defRPr>
            </a:lvl1pPr>
          </a:lstStyle>
          <a:p>
            <a:endParaRPr lang="en-US" noProof="0" dirty="0"/>
          </a:p>
        </p:txBody>
      </p:sp>
      <p:cxnSp>
        <p:nvCxnSpPr>
          <p:cNvPr id="22" name="Straight Connector 21">
            <a:extLst>
              <a:ext uri="{FF2B5EF4-FFF2-40B4-BE49-F238E27FC236}">
                <a16:creationId xmlns:a16="http://schemas.microsoft.com/office/drawing/2014/main" id="{F9F96C7E-A230-4E41-A33A-464FDE2C3BF4}"/>
              </a:ext>
            </a:extLst>
          </p:cNvPr>
          <p:cNvCxnSpPr>
            <a:cxnSpLocks/>
          </p:cNvCxnSpPr>
          <p:nvPr userDrawn="1"/>
        </p:nvCxnSpPr>
        <p:spPr>
          <a:xfrm>
            <a:off x="5011737" y="3120602"/>
            <a:ext cx="216852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F6DF050-5AB5-4E70-8586-22A0EF2AFAC3}"/>
              </a:ext>
            </a:extLst>
          </p:cNvPr>
          <p:cNvCxnSpPr>
            <a:cxnSpLocks/>
          </p:cNvCxnSpPr>
          <p:nvPr userDrawn="1"/>
        </p:nvCxnSpPr>
        <p:spPr>
          <a:xfrm>
            <a:off x="5011737" y="5089525"/>
            <a:ext cx="216852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Text Placeholder 40">
            <a:extLst>
              <a:ext uri="{FF2B5EF4-FFF2-40B4-BE49-F238E27FC236}">
                <a16:creationId xmlns:a16="http://schemas.microsoft.com/office/drawing/2014/main" id="{D1B83F29-DE41-495B-B621-B30DF118F2AE}"/>
              </a:ext>
            </a:extLst>
          </p:cNvPr>
          <p:cNvSpPr>
            <a:spLocks noGrp="1"/>
          </p:cNvSpPr>
          <p:nvPr>
            <p:ph type="body" sz="quarter" idx="19" hasCustomPrompt="1"/>
          </p:nvPr>
        </p:nvSpPr>
        <p:spPr>
          <a:xfrm>
            <a:off x="3731053" y="4523589"/>
            <a:ext cx="4729893" cy="391636"/>
          </a:xfrm>
        </p:spPr>
        <p:txBody>
          <a:bodyPr/>
          <a:lstStyle>
            <a:lvl1pPr algn="ctr">
              <a:defRPr>
                <a:solidFill>
                  <a:schemeClr val="accent2"/>
                </a:solidFill>
              </a:defRPr>
            </a:lvl1pPr>
          </a:lstStyle>
          <a:p>
            <a:pPr lvl="0"/>
            <a:r>
              <a:rPr lang="en-US"/>
              <a:t>Click to insert subtitle</a:t>
            </a:r>
          </a:p>
        </p:txBody>
      </p:sp>
      <p:sp>
        <p:nvSpPr>
          <p:cNvPr id="5" name="Picture Placeholder 4">
            <a:extLst>
              <a:ext uri="{FF2B5EF4-FFF2-40B4-BE49-F238E27FC236}">
                <a16:creationId xmlns:a16="http://schemas.microsoft.com/office/drawing/2014/main" id="{EA24D5AD-917A-4F9F-A658-410CC9745FE1}"/>
              </a:ext>
            </a:extLst>
          </p:cNvPr>
          <p:cNvSpPr>
            <a:spLocks noGrp="1"/>
          </p:cNvSpPr>
          <p:nvPr>
            <p:ph type="pic" sz="quarter" idx="20" hasCustomPrompt="1"/>
          </p:nvPr>
        </p:nvSpPr>
        <p:spPr>
          <a:xfrm>
            <a:off x="5011738" y="5629275"/>
            <a:ext cx="2168526" cy="615950"/>
          </a:xfrm>
          <a:solidFill>
            <a:schemeClr val="bg1"/>
          </a:solidFill>
        </p:spPr>
        <p:txBody>
          <a:bodyPr anchor="ctr"/>
          <a:lstStyle>
            <a:lvl1pPr algn="ctr">
              <a:defRPr sz="1400">
                <a:solidFill>
                  <a:schemeClr val="tx2"/>
                </a:solidFill>
              </a:defRPr>
            </a:lvl1pPr>
          </a:lstStyle>
          <a:p>
            <a:r>
              <a:rPr lang="en-US" dirty="0"/>
              <a:t>Click icon to insert client logo</a:t>
            </a:r>
          </a:p>
        </p:txBody>
      </p:sp>
      <p:grpSp>
        <p:nvGrpSpPr>
          <p:cNvPr id="7" name="Graphic 5">
            <a:extLst>
              <a:ext uri="{FF2B5EF4-FFF2-40B4-BE49-F238E27FC236}">
                <a16:creationId xmlns:a16="http://schemas.microsoft.com/office/drawing/2014/main" id="{629ED475-FCE5-45F8-A870-40341DD39356}"/>
              </a:ext>
            </a:extLst>
          </p:cNvPr>
          <p:cNvGrpSpPr/>
          <p:nvPr/>
        </p:nvGrpSpPr>
        <p:grpSpPr>
          <a:xfrm>
            <a:off x="2476355" y="1851050"/>
            <a:ext cx="7239291" cy="670035"/>
            <a:chOff x="3729037" y="734683"/>
            <a:chExt cx="4733925" cy="438150"/>
          </a:xfrm>
        </p:grpSpPr>
        <p:sp>
          <p:nvSpPr>
            <p:cNvPr id="8" name="Freeform: Shape 7">
              <a:extLst>
                <a:ext uri="{FF2B5EF4-FFF2-40B4-BE49-F238E27FC236}">
                  <a16:creationId xmlns:a16="http://schemas.microsoft.com/office/drawing/2014/main" id="{5E677647-EC58-4B45-B9B4-55DFAB8501EC}"/>
                </a:ext>
              </a:extLst>
            </p:cNvPr>
            <p:cNvSpPr/>
            <p:nvPr/>
          </p:nvSpPr>
          <p:spPr>
            <a:xfrm>
              <a:off x="5752146" y="746113"/>
              <a:ext cx="293370" cy="417194"/>
            </a:xfrm>
            <a:custGeom>
              <a:avLst/>
              <a:gdLst>
                <a:gd name="connsiteX0" fmla="*/ 250508 w 293370"/>
                <a:gd name="connsiteY0" fmla="*/ 417195 h 417194"/>
                <a:gd name="connsiteX1" fmla="*/ 293370 w 293370"/>
                <a:gd name="connsiteY1" fmla="*/ 417195 h 417194"/>
                <a:gd name="connsiteX2" fmla="*/ 293370 w 293370"/>
                <a:gd name="connsiteY2" fmla="*/ 0 h 417194"/>
                <a:gd name="connsiteX3" fmla="*/ 250508 w 293370"/>
                <a:gd name="connsiteY3" fmla="*/ 0 h 417194"/>
                <a:gd name="connsiteX4" fmla="*/ 250508 w 293370"/>
                <a:gd name="connsiteY4" fmla="*/ 186690 h 417194"/>
                <a:gd name="connsiteX5" fmla="*/ 42863 w 293370"/>
                <a:gd name="connsiteY5" fmla="*/ 186690 h 417194"/>
                <a:gd name="connsiteX6" fmla="*/ 42863 w 293370"/>
                <a:gd name="connsiteY6" fmla="*/ 0 h 417194"/>
                <a:gd name="connsiteX7" fmla="*/ 0 w 293370"/>
                <a:gd name="connsiteY7" fmla="*/ 0 h 417194"/>
                <a:gd name="connsiteX8" fmla="*/ 0 w 293370"/>
                <a:gd name="connsiteY8" fmla="*/ 417195 h 417194"/>
                <a:gd name="connsiteX9" fmla="*/ 42863 w 293370"/>
                <a:gd name="connsiteY9" fmla="*/ 417195 h 417194"/>
                <a:gd name="connsiteX10" fmla="*/ 42863 w 293370"/>
                <a:gd name="connsiteY10" fmla="*/ 229553 h 417194"/>
                <a:gd name="connsiteX11" fmla="*/ 250508 w 293370"/>
                <a:gd name="connsiteY11" fmla="*/ 229553 h 417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3370" h="417194">
                  <a:moveTo>
                    <a:pt x="250508" y="417195"/>
                  </a:moveTo>
                  <a:lnTo>
                    <a:pt x="293370" y="417195"/>
                  </a:lnTo>
                  <a:lnTo>
                    <a:pt x="293370" y="0"/>
                  </a:lnTo>
                  <a:lnTo>
                    <a:pt x="250508" y="0"/>
                  </a:lnTo>
                  <a:lnTo>
                    <a:pt x="250508" y="186690"/>
                  </a:lnTo>
                  <a:lnTo>
                    <a:pt x="42863" y="186690"/>
                  </a:lnTo>
                  <a:lnTo>
                    <a:pt x="42863" y="0"/>
                  </a:lnTo>
                  <a:lnTo>
                    <a:pt x="0" y="0"/>
                  </a:lnTo>
                  <a:lnTo>
                    <a:pt x="0" y="417195"/>
                  </a:lnTo>
                  <a:lnTo>
                    <a:pt x="42863" y="417195"/>
                  </a:lnTo>
                  <a:lnTo>
                    <a:pt x="42863" y="229553"/>
                  </a:lnTo>
                  <a:lnTo>
                    <a:pt x="250508" y="229553"/>
                  </a:lnTo>
                  <a:close/>
                </a:path>
              </a:pathLst>
            </a:custGeom>
            <a:solidFill>
              <a:schemeClr val="bg2"/>
            </a:solidFill>
            <a:ln w="9525"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DE2D7200-4BA1-4F9C-A640-EA1DCE1543C0}"/>
                </a:ext>
              </a:extLst>
            </p:cNvPr>
            <p:cNvSpPr/>
            <p:nvPr/>
          </p:nvSpPr>
          <p:spPr>
            <a:xfrm>
              <a:off x="6117907" y="746113"/>
              <a:ext cx="42862" cy="417195"/>
            </a:xfrm>
            <a:custGeom>
              <a:avLst/>
              <a:gdLst>
                <a:gd name="connsiteX0" fmla="*/ 0 w 42862"/>
                <a:gd name="connsiteY0" fmla="*/ 0 h 417195"/>
                <a:gd name="connsiteX1" fmla="*/ 42863 w 42862"/>
                <a:gd name="connsiteY1" fmla="*/ 0 h 417195"/>
                <a:gd name="connsiteX2" fmla="*/ 42863 w 42862"/>
                <a:gd name="connsiteY2" fmla="*/ 417195 h 417195"/>
                <a:gd name="connsiteX3" fmla="*/ 0 w 42862"/>
                <a:gd name="connsiteY3" fmla="*/ 417195 h 417195"/>
              </a:gdLst>
              <a:ahLst/>
              <a:cxnLst>
                <a:cxn ang="0">
                  <a:pos x="connsiteX0" y="connsiteY0"/>
                </a:cxn>
                <a:cxn ang="0">
                  <a:pos x="connsiteX1" y="connsiteY1"/>
                </a:cxn>
                <a:cxn ang="0">
                  <a:pos x="connsiteX2" y="connsiteY2"/>
                </a:cxn>
                <a:cxn ang="0">
                  <a:pos x="connsiteX3" y="connsiteY3"/>
                </a:cxn>
              </a:cxnLst>
              <a:rect l="l" t="t" r="r" b="b"/>
              <a:pathLst>
                <a:path w="42862" h="417195">
                  <a:moveTo>
                    <a:pt x="0" y="0"/>
                  </a:moveTo>
                  <a:lnTo>
                    <a:pt x="42863" y="0"/>
                  </a:lnTo>
                  <a:lnTo>
                    <a:pt x="42863" y="417195"/>
                  </a:lnTo>
                  <a:lnTo>
                    <a:pt x="0" y="417195"/>
                  </a:lnTo>
                  <a:close/>
                </a:path>
              </a:pathLst>
            </a:custGeom>
            <a:solidFill>
              <a:schemeClr val="bg2"/>
            </a:solidFill>
            <a:ln w="9525" cap="flat">
              <a:no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53846CCA-EBB0-4239-804D-ECF60363BBF8}"/>
                </a:ext>
              </a:extLst>
            </p:cNvPr>
            <p:cNvSpPr/>
            <p:nvPr/>
          </p:nvSpPr>
          <p:spPr>
            <a:xfrm>
              <a:off x="6216967" y="742303"/>
              <a:ext cx="422909" cy="423862"/>
            </a:xfrm>
            <a:custGeom>
              <a:avLst/>
              <a:gdLst>
                <a:gd name="connsiteX0" fmla="*/ 61913 w 422909"/>
                <a:gd name="connsiteY0" fmla="*/ 361950 h 423862"/>
                <a:gd name="connsiteX1" fmla="*/ 130492 w 422909"/>
                <a:gd name="connsiteY1" fmla="*/ 408623 h 423862"/>
                <a:gd name="connsiteX2" fmla="*/ 211455 w 422909"/>
                <a:gd name="connsiteY2" fmla="*/ 423863 h 423862"/>
                <a:gd name="connsiteX3" fmla="*/ 292417 w 422909"/>
                <a:gd name="connsiteY3" fmla="*/ 408623 h 423862"/>
                <a:gd name="connsiteX4" fmla="*/ 360997 w 422909"/>
                <a:gd name="connsiteY4" fmla="*/ 361950 h 423862"/>
                <a:gd name="connsiteX5" fmla="*/ 410527 w 422909"/>
                <a:gd name="connsiteY5" fmla="*/ 283845 h 423862"/>
                <a:gd name="connsiteX6" fmla="*/ 422910 w 422909"/>
                <a:gd name="connsiteY6" fmla="*/ 208598 h 423862"/>
                <a:gd name="connsiteX7" fmla="*/ 232410 w 422909"/>
                <a:gd name="connsiteY7" fmla="*/ 208598 h 423862"/>
                <a:gd name="connsiteX8" fmla="*/ 232410 w 422909"/>
                <a:gd name="connsiteY8" fmla="*/ 247650 h 423862"/>
                <a:gd name="connsiteX9" fmla="*/ 381000 w 422909"/>
                <a:gd name="connsiteY9" fmla="*/ 247650 h 423862"/>
                <a:gd name="connsiteX10" fmla="*/ 363855 w 422909"/>
                <a:gd name="connsiteY10" fmla="*/ 283845 h 423862"/>
                <a:gd name="connsiteX11" fmla="*/ 340995 w 422909"/>
                <a:gd name="connsiteY11" fmla="*/ 319088 h 423862"/>
                <a:gd name="connsiteX12" fmla="*/ 310515 w 422909"/>
                <a:gd name="connsiteY12" fmla="*/ 348615 h 423862"/>
                <a:gd name="connsiteX13" fmla="*/ 264795 w 422909"/>
                <a:gd name="connsiteY13" fmla="*/ 372428 h 423862"/>
                <a:gd name="connsiteX14" fmla="*/ 148590 w 422909"/>
                <a:gd name="connsiteY14" fmla="*/ 367665 h 423862"/>
                <a:gd name="connsiteX15" fmla="*/ 94297 w 422909"/>
                <a:gd name="connsiteY15" fmla="*/ 330518 h 423862"/>
                <a:gd name="connsiteX16" fmla="*/ 57150 w 422909"/>
                <a:gd name="connsiteY16" fmla="*/ 276225 h 423862"/>
                <a:gd name="connsiteX17" fmla="*/ 44767 w 422909"/>
                <a:gd name="connsiteY17" fmla="*/ 211455 h 423862"/>
                <a:gd name="connsiteX18" fmla="*/ 57150 w 422909"/>
                <a:gd name="connsiteY18" fmla="*/ 146685 h 423862"/>
                <a:gd name="connsiteX19" fmla="*/ 94297 w 422909"/>
                <a:gd name="connsiteY19" fmla="*/ 92393 h 423862"/>
                <a:gd name="connsiteX20" fmla="*/ 148590 w 422909"/>
                <a:gd name="connsiteY20" fmla="*/ 55245 h 423862"/>
                <a:gd name="connsiteX21" fmla="*/ 213360 w 422909"/>
                <a:gd name="connsiteY21" fmla="*/ 42863 h 423862"/>
                <a:gd name="connsiteX22" fmla="*/ 277177 w 422909"/>
                <a:gd name="connsiteY22" fmla="*/ 55245 h 423862"/>
                <a:gd name="connsiteX23" fmla="*/ 312420 w 422909"/>
                <a:gd name="connsiteY23" fmla="*/ 75248 h 423862"/>
                <a:gd name="connsiteX24" fmla="*/ 342900 w 422909"/>
                <a:gd name="connsiteY24" fmla="*/ 44768 h 423862"/>
                <a:gd name="connsiteX25" fmla="*/ 330517 w 422909"/>
                <a:gd name="connsiteY25" fmla="*/ 36195 h 423862"/>
                <a:gd name="connsiteX26" fmla="*/ 294322 w 422909"/>
                <a:gd name="connsiteY26" fmla="*/ 16193 h 423862"/>
                <a:gd name="connsiteX27" fmla="*/ 254317 w 422909"/>
                <a:gd name="connsiteY27" fmla="*/ 3810 h 423862"/>
                <a:gd name="connsiteX28" fmla="*/ 212407 w 422909"/>
                <a:gd name="connsiteY28" fmla="*/ 0 h 423862"/>
                <a:gd name="connsiteX29" fmla="*/ 194310 w 422909"/>
                <a:gd name="connsiteY29" fmla="*/ 0 h 423862"/>
                <a:gd name="connsiteX30" fmla="*/ 130492 w 422909"/>
                <a:gd name="connsiteY30" fmla="*/ 15240 h 423862"/>
                <a:gd name="connsiteX31" fmla="*/ 61913 w 422909"/>
                <a:gd name="connsiteY31" fmla="*/ 61913 h 423862"/>
                <a:gd name="connsiteX32" fmla="*/ 15240 w 422909"/>
                <a:gd name="connsiteY32" fmla="*/ 130493 h 423862"/>
                <a:gd name="connsiteX33" fmla="*/ 0 w 422909"/>
                <a:gd name="connsiteY33" fmla="*/ 212408 h 423862"/>
                <a:gd name="connsiteX34" fmla="*/ 15240 w 422909"/>
                <a:gd name="connsiteY34" fmla="*/ 293370 h 423862"/>
                <a:gd name="connsiteX35" fmla="*/ 61913 w 422909"/>
                <a:gd name="connsiteY35" fmla="*/ 361950 h 423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22909" h="423862">
                  <a:moveTo>
                    <a:pt x="61913" y="361950"/>
                  </a:moveTo>
                  <a:cubicBezTo>
                    <a:pt x="82867" y="382905"/>
                    <a:pt x="105727" y="398145"/>
                    <a:pt x="130492" y="408623"/>
                  </a:cubicBezTo>
                  <a:cubicBezTo>
                    <a:pt x="154305" y="419100"/>
                    <a:pt x="181927" y="423863"/>
                    <a:pt x="211455" y="423863"/>
                  </a:cubicBezTo>
                  <a:cubicBezTo>
                    <a:pt x="240982" y="423863"/>
                    <a:pt x="268605" y="419100"/>
                    <a:pt x="292417" y="408623"/>
                  </a:cubicBezTo>
                  <a:cubicBezTo>
                    <a:pt x="317182" y="398145"/>
                    <a:pt x="340042" y="382905"/>
                    <a:pt x="360997" y="361950"/>
                  </a:cubicBezTo>
                  <a:cubicBezTo>
                    <a:pt x="383857" y="340043"/>
                    <a:pt x="400050" y="313373"/>
                    <a:pt x="410527" y="283845"/>
                  </a:cubicBezTo>
                  <a:cubicBezTo>
                    <a:pt x="418147" y="260985"/>
                    <a:pt x="422910" y="235268"/>
                    <a:pt x="422910" y="208598"/>
                  </a:cubicBezTo>
                  <a:lnTo>
                    <a:pt x="232410" y="208598"/>
                  </a:lnTo>
                  <a:lnTo>
                    <a:pt x="232410" y="247650"/>
                  </a:lnTo>
                  <a:lnTo>
                    <a:pt x="381000" y="247650"/>
                  </a:lnTo>
                  <a:lnTo>
                    <a:pt x="363855" y="283845"/>
                  </a:lnTo>
                  <a:cubicBezTo>
                    <a:pt x="358140" y="296228"/>
                    <a:pt x="350520" y="308610"/>
                    <a:pt x="340995" y="319088"/>
                  </a:cubicBezTo>
                  <a:cubicBezTo>
                    <a:pt x="332422" y="329565"/>
                    <a:pt x="321945" y="340043"/>
                    <a:pt x="310515" y="348615"/>
                  </a:cubicBezTo>
                  <a:cubicBezTo>
                    <a:pt x="295275" y="359093"/>
                    <a:pt x="280035" y="367665"/>
                    <a:pt x="264795" y="372428"/>
                  </a:cubicBezTo>
                  <a:cubicBezTo>
                    <a:pt x="226695" y="384810"/>
                    <a:pt x="184785" y="382905"/>
                    <a:pt x="148590" y="367665"/>
                  </a:cubicBezTo>
                  <a:cubicBezTo>
                    <a:pt x="128588" y="359093"/>
                    <a:pt x="110490" y="346710"/>
                    <a:pt x="94297" y="330518"/>
                  </a:cubicBezTo>
                  <a:cubicBezTo>
                    <a:pt x="78105" y="314325"/>
                    <a:pt x="65722" y="295275"/>
                    <a:pt x="57150" y="276225"/>
                  </a:cubicBezTo>
                  <a:cubicBezTo>
                    <a:pt x="48577" y="256223"/>
                    <a:pt x="44767" y="234315"/>
                    <a:pt x="44767" y="211455"/>
                  </a:cubicBezTo>
                  <a:cubicBezTo>
                    <a:pt x="44767" y="189548"/>
                    <a:pt x="48577" y="167640"/>
                    <a:pt x="57150" y="146685"/>
                  </a:cubicBezTo>
                  <a:cubicBezTo>
                    <a:pt x="65722" y="127635"/>
                    <a:pt x="77152" y="108585"/>
                    <a:pt x="94297" y="92393"/>
                  </a:cubicBezTo>
                  <a:cubicBezTo>
                    <a:pt x="110490" y="76200"/>
                    <a:pt x="129540" y="63818"/>
                    <a:pt x="148590" y="55245"/>
                  </a:cubicBezTo>
                  <a:cubicBezTo>
                    <a:pt x="167640" y="46673"/>
                    <a:pt x="189547" y="42863"/>
                    <a:pt x="213360" y="42863"/>
                  </a:cubicBezTo>
                  <a:cubicBezTo>
                    <a:pt x="236220" y="42863"/>
                    <a:pt x="258127" y="46673"/>
                    <a:pt x="277177" y="55245"/>
                  </a:cubicBezTo>
                  <a:cubicBezTo>
                    <a:pt x="289560" y="60960"/>
                    <a:pt x="300990" y="67628"/>
                    <a:pt x="312420" y="75248"/>
                  </a:cubicBezTo>
                  <a:lnTo>
                    <a:pt x="342900" y="44768"/>
                  </a:lnTo>
                  <a:cubicBezTo>
                    <a:pt x="338138" y="40958"/>
                    <a:pt x="334327" y="38100"/>
                    <a:pt x="330517" y="36195"/>
                  </a:cubicBezTo>
                  <a:cubicBezTo>
                    <a:pt x="319088" y="28575"/>
                    <a:pt x="306705" y="21907"/>
                    <a:pt x="294322" y="16193"/>
                  </a:cubicBezTo>
                  <a:cubicBezTo>
                    <a:pt x="281940" y="11430"/>
                    <a:pt x="268605" y="6668"/>
                    <a:pt x="254317" y="3810"/>
                  </a:cubicBezTo>
                  <a:cubicBezTo>
                    <a:pt x="240982" y="952"/>
                    <a:pt x="226695" y="0"/>
                    <a:pt x="212407" y="0"/>
                  </a:cubicBezTo>
                  <a:lnTo>
                    <a:pt x="194310" y="0"/>
                  </a:lnTo>
                  <a:cubicBezTo>
                    <a:pt x="171450" y="1905"/>
                    <a:pt x="149542" y="6668"/>
                    <a:pt x="130492" y="15240"/>
                  </a:cubicBezTo>
                  <a:cubicBezTo>
                    <a:pt x="105727" y="25718"/>
                    <a:pt x="81915" y="41910"/>
                    <a:pt x="61913" y="61913"/>
                  </a:cubicBezTo>
                  <a:cubicBezTo>
                    <a:pt x="40957" y="83820"/>
                    <a:pt x="24765" y="106680"/>
                    <a:pt x="15240" y="130493"/>
                  </a:cubicBezTo>
                  <a:cubicBezTo>
                    <a:pt x="4763" y="155258"/>
                    <a:pt x="0" y="182880"/>
                    <a:pt x="0" y="212408"/>
                  </a:cubicBezTo>
                  <a:cubicBezTo>
                    <a:pt x="0" y="241935"/>
                    <a:pt x="4763" y="269558"/>
                    <a:pt x="15240" y="293370"/>
                  </a:cubicBezTo>
                  <a:cubicBezTo>
                    <a:pt x="24765" y="318135"/>
                    <a:pt x="40957" y="340995"/>
                    <a:pt x="61913" y="361950"/>
                  </a:cubicBezTo>
                </a:path>
              </a:pathLst>
            </a:custGeom>
            <a:solidFill>
              <a:schemeClr val="bg2"/>
            </a:solidFill>
            <a:ln w="9525"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36B46771-3410-4D88-8479-5A34C360EEDB}"/>
                </a:ext>
              </a:extLst>
            </p:cNvPr>
            <p:cNvSpPr/>
            <p:nvPr/>
          </p:nvSpPr>
          <p:spPr>
            <a:xfrm>
              <a:off x="6695121" y="746113"/>
              <a:ext cx="293370" cy="417194"/>
            </a:xfrm>
            <a:custGeom>
              <a:avLst/>
              <a:gdLst>
                <a:gd name="connsiteX0" fmla="*/ 250508 w 293370"/>
                <a:gd name="connsiteY0" fmla="*/ 417195 h 417194"/>
                <a:gd name="connsiteX1" fmla="*/ 293370 w 293370"/>
                <a:gd name="connsiteY1" fmla="*/ 417195 h 417194"/>
                <a:gd name="connsiteX2" fmla="*/ 293370 w 293370"/>
                <a:gd name="connsiteY2" fmla="*/ 0 h 417194"/>
                <a:gd name="connsiteX3" fmla="*/ 250508 w 293370"/>
                <a:gd name="connsiteY3" fmla="*/ 0 h 417194"/>
                <a:gd name="connsiteX4" fmla="*/ 250508 w 293370"/>
                <a:gd name="connsiteY4" fmla="*/ 186690 h 417194"/>
                <a:gd name="connsiteX5" fmla="*/ 42863 w 293370"/>
                <a:gd name="connsiteY5" fmla="*/ 186690 h 417194"/>
                <a:gd name="connsiteX6" fmla="*/ 42863 w 293370"/>
                <a:gd name="connsiteY6" fmla="*/ 0 h 417194"/>
                <a:gd name="connsiteX7" fmla="*/ 0 w 293370"/>
                <a:gd name="connsiteY7" fmla="*/ 0 h 417194"/>
                <a:gd name="connsiteX8" fmla="*/ 0 w 293370"/>
                <a:gd name="connsiteY8" fmla="*/ 417195 h 417194"/>
                <a:gd name="connsiteX9" fmla="*/ 42863 w 293370"/>
                <a:gd name="connsiteY9" fmla="*/ 417195 h 417194"/>
                <a:gd name="connsiteX10" fmla="*/ 42863 w 293370"/>
                <a:gd name="connsiteY10" fmla="*/ 229553 h 417194"/>
                <a:gd name="connsiteX11" fmla="*/ 250508 w 293370"/>
                <a:gd name="connsiteY11" fmla="*/ 229553 h 417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3370" h="417194">
                  <a:moveTo>
                    <a:pt x="250508" y="417195"/>
                  </a:moveTo>
                  <a:lnTo>
                    <a:pt x="293370" y="417195"/>
                  </a:lnTo>
                  <a:lnTo>
                    <a:pt x="293370" y="0"/>
                  </a:lnTo>
                  <a:lnTo>
                    <a:pt x="250508" y="0"/>
                  </a:lnTo>
                  <a:lnTo>
                    <a:pt x="250508" y="186690"/>
                  </a:lnTo>
                  <a:lnTo>
                    <a:pt x="42863" y="186690"/>
                  </a:lnTo>
                  <a:lnTo>
                    <a:pt x="42863" y="0"/>
                  </a:lnTo>
                  <a:lnTo>
                    <a:pt x="0" y="0"/>
                  </a:lnTo>
                  <a:lnTo>
                    <a:pt x="0" y="417195"/>
                  </a:lnTo>
                  <a:lnTo>
                    <a:pt x="42863" y="417195"/>
                  </a:lnTo>
                  <a:lnTo>
                    <a:pt x="42863" y="229553"/>
                  </a:lnTo>
                  <a:lnTo>
                    <a:pt x="250508" y="229553"/>
                  </a:lnTo>
                  <a:close/>
                </a:path>
              </a:pathLst>
            </a:custGeom>
            <a:solidFill>
              <a:schemeClr val="bg2"/>
            </a:solidFill>
            <a:ln w="9525"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A352B342-CE89-453D-9AF7-942E180A69FF}"/>
                </a:ext>
              </a:extLst>
            </p:cNvPr>
            <p:cNvSpPr/>
            <p:nvPr/>
          </p:nvSpPr>
          <p:spPr>
            <a:xfrm>
              <a:off x="7060881" y="746113"/>
              <a:ext cx="231457" cy="417194"/>
            </a:xfrm>
            <a:custGeom>
              <a:avLst/>
              <a:gdLst>
                <a:gd name="connsiteX0" fmla="*/ 42863 w 231457"/>
                <a:gd name="connsiteY0" fmla="*/ 0 h 417194"/>
                <a:gd name="connsiteX1" fmla="*/ 0 w 231457"/>
                <a:gd name="connsiteY1" fmla="*/ 0 h 417194"/>
                <a:gd name="connsiteX2" fmla="*/ 0 w 231457"/>
                <a:gd name="connsiteY2" fmla="*/ 417195 h 417194"/>
                <a:gd name="connsiteX3" fmla="*/ 231458 w 231457"/>
                <a:gd name="connsiteY3" fmla="*/ 417195 h 417194"/>
                <a:gd name="connsiteX4" fmla="*/ 231458 w 231457"/>
                <a:gd name="connsiteY4" fmla="*/ 374333 h 417194"/>
                <a:gd name="connsiteX5" fmla="*/ 42863 w 231457"/>
                <a:gd name="connsiteY5" fmla="*/ 374333 h 417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1457" h="417194">
                  <a:moveTo>
                    <a:pt x="42863" y="0"/>
                  </a:moveTo>
                  <a:lnTo>
                    <a:pt x="0" y="0"/>
                  </a:lnTo>
                  <a:lnTo>
                    <a:pt x="0" y="417195"/>
                  </a:lnTo>
                  <a:lnTo>
                    <a:pt x="231458" y="417195"/>
                  </a:lnTo>
                  <a:lnTo>
                    <a:pt x="231458" y="374333"/>
                  </a:lnTo>
                  <a:lnTo>
                    <a:pt x="42863" y="374333"/>
                  </a:lnTo>
                  <a:close/>
                </a:path>
              </a:pathLst>
            </a:custGeom>
            <a:solidFill>
              <a:schemeClr val="bg2"/>
            </a:solidFill>
            <a:ln w="9525" cap="flat">
              <a:noFill/>
              <a:prstDash val="solid"/>
              <a:miter/>
            </a:ln>
          </p:spPr>
          <p:txBody>
            <a:bodyPr rtlCol="0" anchor="ctr"/>
            <a:lstStyle/>
            <a:p>
              <a:endParaRPr lang="en-US" dirty="0"/>
            </a:p>
          </p:txBody>
        </p:sp>
        <p:sp>
          <p:nvSpPr>
            <p:cNvPr id="27" name="Freeform: Shape 26">
              <a:extLst>
                <a:ext uri="{FF2B5EF4-FFF2-40B4-BE49-F238E27FC236}">
                  <a16:creationId xmlns:a16="http://schemas.microsoft.com/office/drawing/2014/main" id="{2390431C-8CAD-4C37-9ED7-968D44BD9302}"/>
                </a:ext>
              </a:extLst>
            </p:cNvPr>
            <p:cNvSpPr/>
            <p:nvPr/>
          </p:nvSpPr>
          <p:spPr>
            <a:xfrm>
              <a:off x="7350442" y="753733"/>
              <a:ext cx="348614" cy="409575"/>
            </a:xfrm>
            <a:custGeom>
              <a:avLst/>
              <a:gdLst>
                <a:gd name="connsiteX0" fmla="*/ 92392 w 348614"/>
                <a:gd name="connsiteY0" fmla="*/ 306705 h 409575"/>
                <a:gd name="connsiteX1" fmla="*/ 97155 w 348614"/>
                <a:gd name="connsiteY1" fmla="*/ 296228 h 409575"/>
                <a:gd name="connsiteX2" fmla="*/ 132397 w 348614"/>
                <a:gd name="connsiteY2" fmla="*/ 208598 h 409575"/>
                <a:gd name="connsiteX3" fmla="*/ 168592 w 348614"/>
                <a:gd name="connsiteY3" fmla="*/ 120968 h 409575"/>
                <a:gd name="connsiteX4" fmla="*/ 175260 w 348614"/>
                <a:gd name="connsiteY4" fmla="*/ 104775 h 409575"/>
                <a:gd name="connsiteX5" fmla="*/ 181927 w 348614"/>
                <a:gd name="connsiteY5" fmla="*/ 120968 h 409575"/>
                <a:gd name="connsiteX6" fmla="*/ 217170 w 348614"/>
                <a:gd name="connsiteY6" fmla="*/ 208598 h 409575"/>
                <a:gd name="connsiteX7" fmla="*/ 252413 w 348614"/>
                <a:gd name="connsiteY7" fmla="*/ 295275 h 409575"/>
                <a:gd name="connsiteX8" fmla="*/ 257175 w 348614"/>
                <a:gd name="connsiteY8" fmla="*/ 305753 h 409575"/>
                <a:gd name="connsiteX9" fmla="*/ 92392 w 348614"/>
                <a:gd name="connsiteY9" fmla="*/ 305753 h 409575"/>
                <a:gd name="connsiteX10" fmla="*/ 302895 w 348614"/>
                <a:gd name="connsiteY10" fmla="*/ 409575 h 409575"/>
                <a:gd name="connsiteX11" fmla="*/ 348615 w 348614"/>
                <a:gd name="connsiteY11" fmla="*/ 409575 h 409575"/>
                <a:gd name="connsiteX12" fmla="*/ 174307 w 348614"/>
                <a:gd name="connsiteY12" fmla="*/ 0 h 409575"/>
                <a:gd name="connsiteX13" fmla="*/ 0 w 348614"/>
                <a:gd name="connsiteY13" fmla="*/ 409575 h 409575"/>
                <a:gd name="connsiteX14" fmla="*/ 45720 w 348614"/>
                <a:gd name="connsiteY14" fmla="*/ 409575 h 409575"/>
                <a:gd name="connsiteX15" fmla="*/ 78105 w 348614"/>
                <a:gd name="connsiteY15" fmla="*/ 338138 h 409575"/>
                <a:gd name="connsiteX16" fmla="*/ 271463 w 348614"/>
                <a:gd name="connsiteY16" fmla="*/ 338138 h 409575"/>
                <a:gd name="connsiteX17" fmla="*/ 302895 w 348614"/>
                <a:gd name="connsiteY17" fmla="*/ 409575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48614" h="409575">
                  <a:moveTo>
                    <a:pt x="92392" y="306705"/>
                  </a:moveTo>
                  <a:lnTo>
                    <a:pt x="97155" y="296228"/>
                  </a:lnTo>
                  <a:cubicBezTo>
                    <a:pt x="108585" y="269558"/>
                    <a:pt x="120967" y="240030"/>
                    <a:pt x="132397" y="208598"/>
                  </a:cubicBezTo>
                  <a:cubicBezTo>
                    <a:pt x="144780" y="177165"/>
                    <a:pt x="156210" y="147638"/>
                    <a:pt x="168592" y="120968"/>
                  </a:cubicBezTo>
                  <a:lnTo>
                    <a:pt x="175260" y="104775"/>
                  </a:lnTo>
                  <a:lnTo>
                    <a:pt x="181927" y="120968"/>
                  </a:lnTo>
                  <a:cubicBezTo>
                    <a:pt x="193357" y="148590"/>
                    <a:pt x="205740" y="178118"/>
                    <a:pt x="217170" y="208598"/>
                  </a:cubicBezTo>
                  <a:cubicBezTo>
                    <a:pt x="228600" y="239078"/>
                    <a:pt x="240982" y="268605"/>
                    <a:pt x="252413" y="295275"/>
                  </a:cubicBezTo>
                  <a:lnTo>
                    <a:pt x="257175" y="305753"/>
                  </a:lnTo>
                  <a:lnTo>
                    <a:pt x="92392" y="305753"/>
                  </a:lnTo>
                  <a:close/>
                  <a:moveTo>
                    <a:pt x="302895" y="409575"/>
                  </a:moveTo>
                  <a:lnTo>
                    <a:pt x="348615" y="409575"/>
                  </a:lnTo>
                  <a:lnTo>
                    <a:pt x="174307" y="0"/>
                  </a:lnTo>
                  <a:lnTo>
                    <a:pt x="0" y="409575"/>
                  </a:lnTo>
                  <a:lnTo>
                    <a:pt x="45720" y="409575"/>
                  </a:lnTo>
                  <a:lnTo>
                    <a:pt x="78105" y="338138"/>
                  </a:lnTo>
                  <a:lnTo>
                    <a:pt x="271463" y="338138"/>
                  </a:lnTo>
                  <a:lnTo>
                    <a:pt x="302895" y="409575"/>
                  </a:lnTo>
                  <a:close/>
                </a:path>
              </a:pathLst>
            </a:custGeom>
            <a:solidFill>
              <a:schemeClr val="bg2"/>
            </a:solidFill>
            <a:ln w="9525" cap="flat">
              <a:noFill/>
              <a:prstDash val="solid"/>
              <a:miter/>
            </a:ln>
          </p:spPr>
          <p:txBody>
            <a:bodyPr rtlCol="0" anchor="ctr"/>
            <a:lstStyle/>
            <a:p>
              <a:endParaRPr lang="en-US" dirty="0"/>
            </a:p>
          </p:txBody>
        </p:sp>
        <p:sp>
          <p:nvSpPr>
            <p:cNvPr id="28" name="Freeform: Shape 27">
              <a:extLst>
                <a:ext uri="{FF2B5EF4-FFF2-40B4-BE49-F238E27FC236}">
                  <a16:creationId xmlns:a16="http://schemas.microsoft.com/office/drawing/2014/main" id="{988063D1-F860-46BF-9B03-94DF58EECD40}"/>
                </a:ext>
              </a:extLst>
            </p:cNvPr>
            <p:cNvSpPr/>
            <p:nvPr/>
          </p:nvSpPr>
          <p:spPr>
            <a:xfrm>
              <a:off x="7758112" y="745160"/>
              <a:ext cx="325755" cy="419099"/>
            </a:xfrm>
            <a:custGeom>
              <a:avLst/>
              <a:gdLst>
                <a:gd name="connsiteX0" fmla="*/ 281940 w 325755"/>
                <a:gd name="connsiteY0" fmla="*/ 303848 h 419099"/>
                <a:gd name="connsiteX1" fmla="*/ 0 w 325755"/>
                <a:gd name="connsiteY1" fmla="*/ 7620 h 419099"/>
                <a:gd name="connsiteX2" fmla="*/ 0 w 325755"/>
                <a:gd name="connsiteY2" fmla="*/ 419100 h 419099"/>
                <a:gd name="connsiteX3" fmla="*/ 42863 w 325755"/>
                <a:gd name="connsiteY3" fmla="*/ 419100 h 419099"/>
                <a:gd name="connsiteX4" fmla="*/ 42863 w 325755"/>
                <a:gd name="connsiteY4" fmla="*/ 113348 h 419099"/>
                <a:gd name="connsiteX5" fmla="*/ 325755 w 325755"/>
                <a:gd name="connsiteY5" fmla="*/ 414338 h 419099"/>
                <a:gd name="connsiteX6" fmla="*/ 325755 w 325755"/>
                <a:gd name="connsiteY6" fmla="*/ 0 h 419099"/>
                <a:gd name="connsiteX7" fmla="*/ 281940 w 325755"/>
                <a:gd name="connsiteY7" fmla="*/ 0 h 419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5755" h="419099">
                  <a:moveTo>
                    <a:pt x="281940" y="303848"/>
                  </a:moveTo>
                  <a:lnTo>
                    <a:pt x="0" y="7620"/>
                  </a:lnTo>
                  <a:lnTo>
                    <a:pt x="0" y="419100"/>
                  </a:lnTo>
                  <a:lnTo>
                    <a:pt x="42863" y="419100"/>
                  </a:lnTo>
                  <a:lnTo>
                    <a:pt x="42863" y="113348"/>
                  </a:lnTo>
                  <a:lnTo>
                    <a:pt x="325755" y="414338"/>
                  </a:lnTo>
                  <a:lnTo>
                    <a:pt x="325755" y="0"/>
                  </a:lnTo>
                  <a:lnTo>
                    <a:pt x="281940" y="0"/>
                  </a:lnTo>
                  <a:close/>
                </a:path>
              </a:pathLst>
            </a:custGeom>
            <a:solidFill>
              <a:schemeClr val="bg2"/>
            </a:solidFill>
            <a:ln w="9525" cap="flat">
              <a:noFill/>
              <a:prstDash val="solid"/>
              <a:miter/>
            </a:ln>
          </p:spPr>
          <p:txBody>
            <a:bodyPr rtlCol="0" anchor="ctr"/>
            <a:lstStyle/>
            <a:p>
              <a:endParaRPr lang="en-US" dirty="0"/>
            </a:p>
          </p:txBody>
        </p:sp>
        <p:grpSp>
          <p:nvGrpSpPr>
            <p:cNvPr id="29" name="Graphic 5">
              <a:extLst>
                <a:ext uri="{FF2B5EF4-FFF2-40B4-BE49-F238E27FC236}">
                  <a16:creationId xmlns:a16="http://schemas.microsoft.com/office/drawing/2014/main" id="{629ED475-FCE5-45F8-A870-40341DD39356}"/>
                </a:ext>
              </a:extLst>
            </p:cNvPr>
            <p:cNvGrpSpPr/>
            <p:nvPr/>
          </p:nvGrpSpPr>
          <p:grpSpPr>
            <a:xfrm>
              <a:off x="4103369" y="740398"/>
              <a:ext cx="4360545" cy="426720"/>
              <a:chOff x="4103369" y="740398"/>
              <a:chExt cx="4360545" cy="426720"/>
            </a:xfrm>
            <a:solidFill>
              <a:srgbClr val="012D54"/>
            </a:solidFill>
          </p:grpSpPr>
          <p:sp>
            <p:nvSpPr>
              <p:cNvPr id="30" name="Freeform: Shape 29">
                <a:extLst>
                  <a:ext uri="{FF2B5EF4-FFF2-40B4-BE49-F238E27FC236}">
                    <a16:creationId xmlns:a16="http://schemas.microsoft.com/office/drawing/2014/main" id="{1DA30983-AEB6-4F8B-B208-7B3BA28A77C1}"/>
                  </a:ext>
                </a:extLst>
              </p:cNvPr>
              <p:cNvSpPr/>
              <p:nvPr/>
            </p:nvSpPr>
            <p:spPr>
              <a:xfrm>
                <a:off x="8156256" y="745160"/>
                <a:ext cx="307657" cy="418147"/>
              </a:xfrm>
              <a:custGeom>
                <a:avLst/>
                <a:gdLst>
                  <a:gd name="connsiteX0" fmla="*/ 165735 w 307657"/>
                  <a:gd name="connsiteY0" fmla="*/ 363855 h 418147"/>
                  <a:gd name="connsiteX1" fmla="*/ 100013 w 307657"/>
                  <a:gd name="connsiteY1" fmla="*/ 375285 h 418147"/>
                  <a:gd name="connsiteX2" fmla="*/ 42863 w 307657"/>
                  <a:gd name="connsiteY2" fmla="*/ 375285 h 418147"/>
                  <a:gd name="connsiteX3" fmla="*/ 42863 w 307657"/>
                  <a:gd name="connsiteY3" fmla="*/ 42863 h 418147"/>
                  <a:gd name="connsiteX4" fmla="*/ 99060 w 307657"/>
                  <a:gd name="connsiteY4" fmla="*/ 42863 h 418147"/>
                  <a:gd name="connsiteX5" fmla="*/ 165735 w 307657"/>
                  <a:gd name="connsiteY5" fmla="*/ 54293 h 418147"/>
                  <a:gd name="connsiteX6" fmla="*/ 219075 w 307657"/>
                  <a:gd name="connsiteY6" fmla="*/ 89535 h 418147"/>
                  <a:gd name="connsiteX7" fmla="*/ 253365 w 307657"/>
                  <a:gd name="connsiteY7" fmla="*/ 143828 h 418147"/>
                  <a:gd name="connsiteX8" fmla="*/ 264795 w 307657"/>
                  <a:gd name="connsiteY8" fmla="*/ 210503 h 418147"/>
                  <a:gd name="connsiteX9" fmla="*/ 253365 w 307657"/>
                  <a:gd name="connsiteY9" fmla="*/ 277178 h 418147"/>
                  <a:gd name="connsiteX10" fmla="*/ 219075 w 307657"/>
                  <a:gd name="connsiteY10" fmla="*/ 331470 h 418147"/>
                  <a:gd name="connsiteX11" fmla="*/ 165735 w 307657"/>
                  <a:gd name="connsiteY11" fmla="*/ 363855 h 418147"/>
                  <a:gd name="connsiteX12" fmla="*/ 293370 w 307657"/>
                  <a:gd name="connsiteY12" fmla="*/ 290513 h 418147"/>
                  <a:gd name="connsiteX13" fmla="*/ 307658 w 307657"/>
                  <a:gd name="connsiteY13" fmla="*/ 209550 h 418147"/>
                  <a:gd name="connsiteX14" fmla="*/ 293370 w 307657"/>
                  <a:gd name="connsiteY14" fmla="*/ 128588 h 418147"/>
                  <a:gd name="connsiteX15" fmla="*/ 252413 w 307657"/>
                  <a:gd name="connsiteY15" fmla="*/ 61913 h 418147"/>
                  <a:gd name="connsiteX16" fmla="*/ 182880 w 307657"/>
                  <a:gd name="connsiteY16" fmla="*/ 16192 h 418147"/>
                  <a:gd name="connsiteX17" fmla="*/ 110490 w 307657"/>
                  <a:gd name="connsiteY17" fmla="*/ 0 h 418147"/>
                  <a:gd name="connsiteX18" fmla="*/ 0 w 307657"/>
                  <a:gd name="connsiteY18" fmla="*/ 0 h 418147"/>
                  <a:gd name="connsiteX19" fmla="*/ 0 w 307657"/>
                  <a:gd name="connsiteY19" fmla="*/ 418148 h 418147"/>
                  <a:gd name="connsiteX20" fmla="*/ 99060 w 307657"/>
                  <a:gd name="connsiteY20" fmla="*/ 418148 h 418147"/>
                  <a:gd name="connsiteX21" fmla="*/ 182880 w 307657"/>
                  <a:gd name="connsiteY21" fmla="*/ 402908 h 418147"/>
                  <a:gd name="connsiteX22" fmla="*/ 251460 w 307657"/>
                  <a:gd name="connsiteY22" fmla="*/ 358140 h 418147"/>
                  <a:gd name="connsiteX23" fmla="*/ 293370 w 307657"/>
                  <a:gd name="connsiteY23" fmla="*/ 290513 h 418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7" h="418147">
                    <a:moveTo>
                      <a:pt x="165735" y="363855"/>
                    </a:moveTo>
                    <a:cubicBezTo>
                      <a:pt x="145733" y="371475"/>
                      <a:pt x="123825" y="375285"/>
                      <a:pt x="100013" y="375285"/>
                    </a:cubicBezTo>
                    <a:lnTo>
                      <a:pt x="42863" y="375285"/>
                    </a:lnTo>
                    <a:lnTo>
                      <a:pt x="42863" y="42863"/>
                    </a:lnTo>
                    <a:lnTo>
                      <a:pt x="99060" y="42863"/>
                    </a:lnTo>
                    <a:cubicBezTo>
                      <a:pt x="122873" y="42863"/>
                      <a:pt x="145733" y="46673"/>
                      <a:pt x="165735" y="54293"/>
                    </a:cubicBezTo>
                    <a:cubicBezTo>
                      <a:pt x="186690" y="62865"/>
                      <a:pt x="204788" y="74295"/>
                      <a:pt x="219075" y="89535"/>
                    </a:cubicBezTo>
                    <a:cubicBezTo>
                      <a:pt x="234315" y="104775"/>
                      <a:pt x="245745" y="122873"/>
                      <a:pt x="253365" y="143828"/>
                    </a:cubicBezTo>
                    <a:cubicBezTo>
                      <a:pt x="260985" y="163830"/>
                      <a:pt x="264795" y="185738"/>
                      <a:pt x="264795" y="210503"/>
                    </a:cubicBezTo>
                    <a:cubicBezTo>
                      <a:pt x="264795" y="235268"/>
                      <a:pt x="260985" y="257175"/>
                      <a:pt x="253365" y="277178"/>
                    </a:cubicBezTo>
                    <a:cubicBezTo>
                      <a:pt x="245745" y="297180"/>
                      <a:pt x="234315" y="315278"/>
                      <a:pt x="219075" y="331470"/>
                    </a:cubicBezTo>
                    <a:cubicBezTo>
                      <a:pt x="203835" y="344805"/>
                      <a:pt x="185738" y="356235"/>
                      <a:pt x="165735" y="363855"/>
                    </a:cubicBezTo>
                    <a:moveTo>
                      <a:pt x="293370" y="290513"/>
                    </a:moveTo>
                    <a:cubicBezTo>
                      <a:pt x="302895" y="264795"/>
                      <a:pt x="307658" y="237173"/>
                      <a:pt x="307658" y="209550"/>
                    </a:cubicBezTo>
                    <a:cubicBezTo>
                      <a:pt x="307658" y="181928"/>
                      <a:pt x="302895" y="155258"/>
                      <a:pt x="293370" y="128588"/>
                    </a:cubicBezTo>
                    <a:cubicBezTo>
                      <a:pt x="283845" y="102870"/>
                      <a:pt x="270510" y="80010"/>
                      <a:pt x="252413" y="61913"/>
                    </a:cubicBezTo>
                    <a:cubicBezTo>
                      <a:pt x="232410" y="41910"/>
                      <a:pt x="208598" y="26670"/>
                      <a:pt x="182880" y="16192"/>
                    </a:cubicBezTo>
                    <a:cubicBezTo>
                      <a:pt x="160973" y="7620"/>
                      <a:pt x="136208" y="1905"/>
                      <a:pt x="110490" y="0"/>
                    </a:cubicBezTo>
                    <a:lnTo>
                      <a:pt x="0" y="0"/>
                    </a:lnTo>
                    <a:lnTo>
                      <a:pt x="0" y="418148"/>
                    </a:lnTo>
                    <a:lnTo>
                      <a:pt x="99060" y="418148"/>
                    </a:lnTo>
                    <a:cubicBezTo>
                      <a:pt x="129540" y="418148"/>
                      <a:pt x="157163" y="412433"/>
                      <a:pt x="182880" y="402908"/>
                    </a:cubicBezTo>
                    <a:cubicBezTo>
                      <a:pt x="208598" y="392430"/>
                      <a:pt x="232410" y="377190"/>
                      <a:pt x="251460" y="358140"/>
                    </a:cubicBezTo>
                    <a:cubicBezTo>
                      <a:pt x="270510" y="338138"/>
                      <a:pt x="284798" y="316230"/>
                      <a:pt x="293370" y="290513"/>
                    </a:cubicBezTo>
                  </a:path>
                </a:pathLst>
              </a:custGeom>
              <a:solidFill>
                <a:schemeClr val="bg2"/>
              </a:solidFill>
              <a:ln w="9525"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20E12836-B555-4DB2-BD8D-D02619F13D5F}"/>
                  </a:ext>
                </a:extLst>
              </p:cNvPr>
              <p:cNvSpPr/>
              <p:nvPr/>
            </p:nvSpPr>
            <p:spPr>
              <a:xfrm>
                <a:off x="4103369" y="740398"/>
                <a:ext cx="428625" cy="426720"/>
              </a:xfrm>
              <a:custGeom>
                <a:avLst/>
                <a:gdLst>
                  <a:gd name="connsiteX0" fmla="*/ 123825 w 428625"/>
                  <a:gd name="connsiteY0" fmla="*/ 122873 h 426720"/>
                  <a:gd name="connsiteX1" fmla="*/ 214313 w 428625"/>
                  <a:gd name="connsiteY1" fmla="*/ 85725 h 426720"/>
                  <a:gd name="connsiteX2" fmla="*/ 304800 w 428625"/>
                  <a:gd name="connsiteY2" fmla="*/ 122873 h 426720"/>
                  <a:gd name="connsiteX3" fmla="*/ 342900 w 428625"/>
                  <a:gd name="connsiteY3" fmla="*/ 213360 h 426720"/>
                  <a:gd name="connsiteX4" fmla="*/ 304800 w 428625"/>
                  <a:gd name="connsiteY4" fmla="*/ 303848 h 426720"/>
                  <a:gd name="connsiteX5" fmla="*/ 214313 w 428625"/>
                  <a:gd name="connsiteY5" fmla="*/ 340995 h 426720"/>
                  <a:gd name="connsiteX6" fmla="*/ 123825 w 428625"/>
                  <a:gd name="connsiteY6" fmla="*/ 303848 h 426720"/>
                  <a:gd name="connsiteX7" fmla="*/ 86678 w 428625"/>
                  <a:gd name="connsiteY7" fmla="*/ 213360 h 426720"/>
                  <a:gd name="connsiteX8" fmla="*/ 123825 w 428625"/>
                  <a:gd name="connsiteY8" fmla="*/ 122873 h 426720"/>
                  <a:gd name="connsiteX9" fmla="*/ 214313 w 428625"/>
                  <a:gd name="connsiteY9" fmla="*/ 426720 h 426720"/>
                  <a:gd name="connsiteX10" fmla="*/ 365760 w 428625"/>
                  <a:gd name="connsiteY10" fmla="*/ 364808 h 426720"/>
                  <a:gd name="connsiteX11" fmla="*/ 428625 w 428625"/>
                  <a:gd name="connsiteY11" fmla="*/ 213360 h 426720"/>
                  <a:gd name="connsiteX12" fmla="*/ 365760 w 428625"/>
                  <a:gd name="connsiteY12" fmla="*/ 61913 h 426720"/>
                  <a:gd name="connsiteX13" fmla="*/ 214313 w 428625"/>
                  <a:gd name="connsiteY13" fmla="*/ 0 h 426720"/>
                  <a:gd name="connsiteX14" fmla="*/ 62865 w 428625"/>
                  <a:gd name="connsiteY14" fmla="*/ 62865 h 426720"/>
                  <a:gd name="connsiteX15" fmla="*/ 0 w 428625"/>
                  <a:gd name="connsiteY15" fmla="*/ 214313 h 426720"/>
                  <a:gd name="connsiteX16" fmla="*/ 62865 w 428625"/>
                  <a:gd name="connsiteY16" fmla="*/ 365760 h 426720"/>
                  <a:gd name="connsiteX17" fmla="*/ 214313 w 428625"/>
                  <a:gd name="connsiteY17" fmla="*/ 426720 h 426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8625" h="426720">
                    <a:moveTo>
                      <a:pt x="123825" y="122873"/>
                    </a:moveTo>
                    <a:cubicBezTo>
                      <a:pt x="148590" y="98108"/>
                      <a:pt x="179070" y="85725"/>
                      <a:pt x="214313" y="85725"/>
                    </a:cubicBezTo>
                    <a:cubicBezTo>
                      <a:pt x="249555" y="85725"/>
                      <a:pt x="280035" y="98108"/>
                      <a:pt x="304800" y="122873"/>
                    </a:cubicBezTo>
                    <a:cubicBezTo>
                      <a:pt x="330518" y="148590"/>
                      <a:pt x="342900" y="178118"/>
                      <a:pt x="342900" y="213360"/>
                    </a:cubicBezTo>
                    <a:cubicBezTo>
                      <a:pt x="342900" y="248603"/>
                      <a:pt x="330518" y="279083"/>
                      <a:pt x="304800" y="303848"/>
                    </a:cubicBezTo>
                    <a:cubicBezTo>
                      <a:pt x="279083" y="328613"/>
                      <a:pt x="249555" y="340995"/>
                      <a:pt x="214313" y="340995"/>
                    </a:cubicBezTo>
                    <a:cubicBezTo>
                      <a:pt x="179070" y="340995"/>
                      <a:pt x="148590" y="328613"/>
                      <a:pt x="123825" y="303848"/>
                    </a:cubicBezTo>
                    <a:cubicBezTo>
                      <a:pt x="99060" y="279083"/>
                      <a:pt x="86678" y="248603"/>
                      <a:pt x="86678" y="213360"/>
                    </a:cubicBezTo>
                    <a:cubicBezTo>
                      <a:pt x="85725" y="178118"/>
                      <a:pt x="99060" y="148590"/>
                      <a:pt x="123825" y="122873"/>
                    </a:cubicBezTo>
                    <a:moveTo>
                      <a:pt x="214313" y="426720"/>
                    </a:moveTo>
                    <a:cubicBezTo>
                      <a:pt x="273368" y="426720"/>
                      <a:pt x="323850" y="405765"/>
                      <a:pt x="365760" y="364808"/>
                    </a:cubicBezTo>
                    <a:cubicBezTo>
                      <a:pt x="407670" y="322898"/>
                      <a:pt x="428625" y="272415"/>
                      <a:pt x="428625" y="213360"/>
                    </a:cubicBezTo>
                    <a:cubicBezTo>
                      <a:pt x="428625" y="154305"/>
                      <a:pt x="407670" y="103823"/>
                      <a:pt x="365760" y="61913"/>
                    </a:cubicBezTo>
                    <a:cubicBezTo>
                      <a:pt x="323850" y="20955"/>
                      <a:pt x="273368" y="0"/>
                      <a:pt x="214313" y="0"/>
                    </a:cubicBezTo>
                    <a:cubicBezTo>
                      <a:pt x="155258" y="0"/>
                      <a:pt x="105728" y="20955"/>
                      <a:pt x="62865" y="62865"/>
                    </a:cubicBezTo>
                    <a:cubicBezTo>
                      <a:pt x="20955" y="104775"/>
                      <a:pt x="0" y="155258"/>
                      <a:pt x="0" y="214313"/>
                    </a:cubicBezTo>
                    <a:cubicBezTo>
                      <a:pt x="0" y="273368"/>
                      <a:pt x="20955" y="323850"/>
                      <a:pt x="62865" y="365760"/>
                    </a:cubicBezTo>
                    <a:cubicBezTo>
                      <a:pt x="104775" y="405765"/>
                      <a:pt x="155258" y="426720"/>
                      <a:pt x="214313" y="426720"/>
                    </a:cubicBezTo>
                  </a:path>
                </a:pathLst>
              </a:custGeom>
              <a:solidFill>
                <a:schemeClr val="bg2"/>
              </a:solid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7B19416E-64DC-4071-82DF-82BD9902D9D1}"/>
                  </a:ext>
                </a:extLst>
              </p:cNvPr>
              <p:cNvSpPr/>
              <p:nvPr/>
            </p:nvSpPr>
            <p:spPr>
              <a:xfrm>
                <a:off x="4568189" y="744208"/>
                <a:ext cx="309562" cy="421005"/>
              </a:xfrm>
              <a:custGeom>
                <a:avLst/>
                <a:gdLst>
                  <a:gd name="connsiteX0" fmla="*/ 83820 w 309562"/>
                  <a:gd name="connsiteY0" fmla="*/ 82868 h 421005"/>
                  <a:gd name="connsiteX1" fmla="*/ 131445 w 309562"/>
                  <a:gd name="connsiteY1" fmla="*/ 82868 h 421005"/>
                  <a:gd name="connsiteX2" fmla="*/ 183833 w 309562"/>
                  <a:gd name="connsiteY2" fmla="*/ 100013 h 421005"/>
                  <a:gd name="connsiteX3" fmla="*/ 200977 w 309562"/>
                  <a:gd name="connsiteY3" fmla="*/ 140970 h 421005"/>
                  <a:gd name="connsiteX4" fmla="*/ 145733 w 309562"/>
                  <a:gd name="connsiteY4" fmla="*/ 200025 h 421005"/>
                  <a:gd name="connsiteX5" fmla="*/ 117158 w 309562"/>
                  <a:gd name="connsiteY5" fmla="*/ 200025 h 421005"/>
                  <a:gd name="connsiteX6" fmla="*/ 117158 w 309562"/>
                  <a:gd name="connsiteY6" fmla="*/ 200025 h 421005"/>
                  <a:gd name="connsiteX7" fmla="*/ 84773 w 309562"/>
                  <a:gd name="connsiteY7" fmla="*/ 200025 h 421005"/>
                  <a:gd name="connsiteX8" fmla="*/ 84773 w 309562"/>
                  <a:gd name="connsiteY8" fmla="*/ 82868 h 421005"/>
                  <a:gd name="connsiteX9" fmla="*/ 84773 w 309562"/>
                  <a:gd name="connsiteY9" fmla="*/ 420053 h 421005"/>
                  <a:gd name="connsiteX10" fmla="*/ 84773 w 309562"/>
                  <a:gd name="connsiteY10" fmla="*/ 234315 h 421005"/>
                  <a:gd name="connsiteX11" fmla="*/ 205740 w 309562"/>
                  <a:gd name="connsiteY11" fmla="*/ 421005 h 421005"/>
                  <a:gd name="connsiteX12" fmla="*/ 309563 w 309562"/>
                  <a:gd name="connsiteY12" fmla="*/ 421005 h 421005"/>
                  <a:gd name="connsiteX13" fmla="*/ 211455 w 309562"/>
                  <a:gd name="connsiteY13" fmla="*/ 268605 h 421005"/>
                  <a:gd name="connsiteX14" fmla="*/ 261938 w 309562"/>
                  <a:gd name="connsiteY14" fmla="*/ 229553 h 421005"/>
                  <a:gd name="connsiteX15" fmla="*/ 288608 w 309562"/>
                  <a:gd name="connsiteY15" fmla="*/ 149543 h 421005"/>
                  <a:gd name="connsiteX16" fmla="*/ 288608 w 309562"/>
                  <a:gd name="connsiteY16" fmla="*/ 138113 h 421005"/>
                  <a:gd name="connsiteX17" fmla="*/ 247650 w 309562"/>
                  <a:gd name="connsiteY17" fmla="*/ 42863 h 421005"/>
                  <a:gd name="connsiteX18" fmla="*/ 137160 w 309562"/>
                  <a:gd name="connsiteY18" fmla="*/ 0 h 421005"/>
                  <a:gd name="connsiteX19" fmla="*/ 0 w 309562"/>
                  <a:gd name="connsiteY19" fmla="*/ 0 h 421005"/>
                  <a:gd name="connsiteX20" fmla="*/ 0 w 309562"/>
                  <a:gd name="connsiteY20" fmla="*/ 421005 h 421005"/>
                  <a:gd name="connsiteX21" fmla="*/ 84773 w 309562"/>
                  <a:gd name="connsiteY21" fmla="*/ 421005 h 421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9562" h="421005">
                    <a:moveTo>
                      <a:pt x="83820" y="82868"/>
                    </a:moveTo>
                    <a:lnTo>
                      <a:pt x="131445" y="82868"/>
                    </a:lnTo>
                    <a:cubicBezTo>
                      <a:pt x="151448" y="82868"/>
                      <a:pt x="172402" y="88583"/>
                      <a:pt x="183833" y="100013"/>
                    </a:cubicBezTo>
                    <a:cubicBezTo>
                      <a:pt x="195263" y="111443"/>
                      <a:pt x="200977" y="124778"/>
                      <a:pt x="200977" y="140970"/>
                    </a:cubicBezTo>
                    <a:cubicBezTo>
                      <a:pt x="200977" y="173355"/>
                      <a:pt x="176213" y="200025"/>
                      <a:pt x="145733" y="200025"/>
                    </a:cubicBezTo>
                    <a:lnTo>
                      <a:pt x="117158" y="200025"/>
                    </a:lnTo>
                    <a:lnTo>
                      <a:pt x="117158" y="200025"/>
                    </a:lnTo>
                    <a:lnTo>
                      <a:pt x="84773" y="200025"/>
                    </a:lnTo>
                    <a:lnTo>
                      <a:pt x="84773" y="82868"/>
                    </a:lnTo>
                    <a:close/>
                    <a:moveTo>
                      <a:pt x="84773" y="420053"/>
                    </a:moveTo>
                    <a:lnTo>
                      <a:pt x="84773" y="234315"/>
                    </a:lnTo>
                    <a:lnTo>
                      <a:pt x="205740" y="421005"/>
                    </a:lnTo>
                    <a:lnTo>
                      <a:pt x="309563" y="421005"/>
                    </a:lnTo>
                    <a:lnTo>
                      <a:pt x="211455" y="268605"/>
                    </a:lnTo>
                    <a:cubicBezTo>
                      <a:pt x="235268" y="259080"/>
                      <a:pt x="246698" y="250508"/>
                      <a:pt x="261938" y="229553"/>
                    </a:cubicBezTo>
                    <a:cubicBezTo>
                      <a:pt x="280035" y="204788"/>
                      <a:pt x="288608" y="178118"/>
                      <a:pt x="288608" y="149543"/>
                    </a:cubicBezTo>
                    <a:lnTo>
                      <a:pt x="288608" y="138113"/>
                    </a:lnTo>
                    <a:cubicBezTo>
                      <a:pt x="288608" y="91440"/>
                      <a:pt x="273368" y="68580"/>
                      <a:pt x="247650" y="42863"/>
                    </a:cubicBezTo>
                    <a:cubicBezTo>
                      <a:pt x="221933" y="18098"/>
                      <a:pt x="183833" y="0"/>
                      <a:pt x="137160" y="0"/>
                    </a:cubicBezTo>
                    <a:lnTo>
                      <a:pt x="0" y="0"/>
                    </a:lnTo>
                    <a:lnTo>
                      <a:pt x="0" y="421005"/>
                    </a:lnTo>
                    <a:lnTo>
                      <a:pt x="84773" y="421005"/>
                    </a:lnTo>
                    <a:close/>
                  </a:path>
                </a:pathLst>
              </a:custGeom>
              <a:solidFill>
                <a:schemeClr val="bg2"/>
              </a:solidFill>
              <a:ln w="9525" cap="flat">
                <a:noFill/>
                <a:prstDash val="solid"/>
                <a:miter/>
              </a:ln>
            </p:spPr>
            <p:txBody>
              <a:bodyPr rtlCol="0" anchor="ctr"/>
              <a:lstStyle/>
              <a:p>
                <a:endParaRPr lang="en-US" dirty="0"/>
              </a:p>
            </p:txBody>
          </p:sp>
        </p:grpSp>
        <p:sp>
          <p:nvSpPr>
            <p:cNvPr id="33" name="Freeform: Shape 32">
              <a:extLst>
                <a:ext uri="{FF2B5EF4-FFF2-40B4-BE49-F238E27FC236}">
                  <a16:creationId xmlns:a16="http://schemas.microsoft.com/office/drawing/2014/main" id="{AC65F681-5083-4D07-83AF-287B6F2B072B}"/>
                </a:ext>
              </a:extLst>
            </p:cNvPr>
            <p:cNvSpPr/>
            <p:nvPr/>
          </p:nvSpPr>
          <p:spPr>
            <a:xfrm>
              <a:off x="4897754" y="743255"/>
              <a:ext cx="292417" cy="421004"/>
            </a:xfrm>
            <a:custGeom>
              <a:avLst/>
              <a:gdLst>
                <a:gd name="connsiteX0" fmla="*/ 103823 w 292417"/>
                <a:gd name="connsiteY0" fmla="*/ 421005 h 421004"/>
                <a:gd name="connsiteX1" fmla="*/ 188595 w 292417"/>
                <a:gd name="connsiteY1" fmla="*/ 421005 h 421004"/>
                <a:gd name="connsiteX2" fmla="*/ 188595 w 292417"/>
                <a:gd name="connsiteY2" fmla="*/ 83820 h 421004"/>
                <a:gd name="connsiteX3" fmla="*/ 292417 w 292417"/>
                <a:gd name="connsiteY3" fmla="*/ 83820 h 421004"/>
                <a:gd name="connsiteX4" fmla="*/ 292417 w 292417"/>
                <a:gd name="connsiteY4" fmla="*/ 0 h 421004"/>
                <a:gd name="connsiteX5" fmla="*/ 0 w 292417"/>
                <a:gd name="connsiteY5" fmla="*/ 0 h 421004"/>
                <a:gd name="connsiteX6" fmla="*/ 0 w 292417"/>
                <a:gd name="connsiteY6" fmla="*/ 83820 h 421004"/>
                <a:gd name="connsiteX7" fmla="*/ 103823 w 292417"/>
                <a:gd name="connsiteY7" fmla="*/ 83820 h 42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417" h="421004">
                  <a:moveTo>
                    <a:pt x="103823" y="421005"/>
                  </a:moveTo>
                  <a:lnTo>
                    <a:pt x="188595" y="421005"/>
                  </a:lnTo>
                  <a:lnTo>
                    <a:pt x="188595" y="83820"/>
                  </a:lnTo>
                  <a:lnTo>
                    <a:pt x="292417" y="83820"/>
                  </a:lnTo>
                  <a:lnTo>
                    <a:pt x="292417" y="0"/>
                  </a:lnTo>
                  <a:lnTo>
                    <a:pt x="0" y="0"/>
                  </a:lnTo>
                  <a:lnTo>
                    <a:pt x="0" y="83820"/>
                  </a:lnTo>
                  <a:lnTo>
                    <a:pt x="103823" y="83820"/>
                  </a:lnTo>
                  <a:close/>
                </a:path>
              </a:pathLst>
            </a:custGeom>
            <a:solidFill>
              <a:schemeClr val="bg2"/>
            </a:solid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024431A0-5286-43E4-AD23-D5BE72A08EA2}"/>
                </a:ext>
              </a:extLst>
            </p:cNvPr>
            <p:cNvSpPr/>
            <p:nvPr/>
          </p:nvSpPr>
          <p:spPr>
            <a:xfrm>
              <a:off x="5226366" y="743255"/>
              <a:ext cx="309562" cy="421004"/>
            </a:xfrm>
            <a:custGeom>
              <a:avLst/>
              <a:gdLst>
                <a:gd name="connsiteX0" fmla="*/ 84773 w 309562"/>
                <a:gd name="connsiteY0" fmla="*/ 252413 h 421004"/>
                <a:gd name="connsiteX1" fmla="*/ 224790 w 309562"/>
                <a:gd name="connsiteY1" fmla="*/ 252413 h 421004"/>
                <a:gd name="connsiteX2" fmla="*/ 224790 w 309562"/>
                <a:gd name="connsiteY2" fmla="*/ 421005 h 421004"/>
                <a:gd name="connsiteX3" fmla="*/ 309563 w 309562"/>
                <a:gd name="connsiteY3" fmla="*/ 421005 h 421004"/>
                <a:gd name="connsiteX4" fmla="*/ 309563 w 309562"/>
                <a:gd name="connsiteY4" fmla="*/ 0 h 421004"/>
                <a:gd name="connsiteX5" fmla="*/ 224790 w 309562"/>
                <a:gd name="connsiteY5" fmla="*/ 0 h 421004"/>
                <a:gd name="connsiteX6" fmla="*/ 224790 w 309562"/>
                <a:gd name="connsiteY6" fmla="*/ 168593 h 421004"/>
                <a:gd name="connsiteX7" fmla="*/ 84773 w 309562"/>
                <a:gd name="connsiteY7" fmla="*/ 168593 h 421004"/>
                <a:gd name="connsiteX8" fmla="*/ 84773 w 309562"/>
                <a:gd name="connsiteY8" fmla="*/ 0 h 421004"/>
                <a:gd name="connsiteX9" fmla="*/ 0 w 309562"/>
                <a:gd name="connsiteY9" fmla="*/ 0 h 421004"/>
                <a:gd name="connsiteX10" fmla="*/ 0 w 309562"/>
                <a:gd name="connsiteY10" fmla="*/ 421005 h 421004"/>
                <a:gd name="connsiteX11" fmla="*/ 84773 w 309562"/>
                <a:gd name="connsiteY11" fmla="*/ 421005 h 42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9562" h="421004">
                  <a:moveTo>
                    <a:pt x="84773" y="252413"/>
                  </a:moveTo>
                  <a:lnTo>
                    <a:pt x="224790" y="252413"/>
                  </a:lnTo>
                  <a:lnTo>
                    <a:pt x="224790" y="421005"/>
                  </a:lnTo>
                  <a:lnTo>
                    <a:pt x="309563" y="421005"/>
                  </a:lnTo>
                  <a:lnTo>
                    <a:pt x="309563" y="0"/>
                  </a:lnTo>
                  <a:lnTo>
                    <a:pt x="224790" y="0"/>
                  </a:lnTo>
                  <a:lnTo>
                    <a:pt x="224790" y="168593"/>
                  </a:lnTo>
                  <a:lnTo>
                    <a:pt x="84773" y="168593"/>
                  </a:lnTo>
                  <a:lnTo>
                    <a:pt x="84773" y="0"/>
                  </a:lnTo>
                  <a:lnTo>
                    <a:pt x="0" y="0"/>
                  </a:lnTo>
                  <a:lnTo>
                    <a:pt x="0" y="421005"/>
                  </a:lnTo>
                  <a:lnTo>
                    <a:pt x="84773" y="421005"/>
                  </a:lnTo>
                  <a:close/>
                </a:path>
              </a:pathLst>
            </a:custGeom>
            <a:solidFill>
              <a:schemeClr val="bg2"/>
            </a:solid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22ABAC6C-8948-433B-9B21-772A46D32829}"/>
                </a:ext>
              </a:extLst>
            </p:cNvPr>
            <p:cNvSpPr/>
            <p:nvPr/>
          </p:nvSpPr>
          <p:spPr>
            <a:xfrm>
              <a:off x="3729037" y="742303"/>
              <a:ext cx="338137" cy="430529"/>
            </a:xfrm>
            <a:custGeom>
              <a:avLst/>
              <a:gdLst>
                <a:gd name="connsiteX0" fmla="*/ 0 w 338137"/>
                <a:gd name="connsiteY0" fmla="*/ 422910 h 430529"/>
                <a:gd name="connsiteX1" fmla="*/ 84773 w 338137"/>
                <a:gd name="connsiteY1" fmla="*/ 422910 h 430529"/>
                <a:gd name="connsiteX2" fmla="*/ 84773 w 338137"/>
                <a:gd name="connsiteY2" fmla="*/ 189548 h 430529"/>
                <a:gd name="connsiteX3" fmla="*/ 338138 w 338137"/>
                <a:gd name="connsiteY3" fmla="*/ 430530 h 430529"/>
                <a:gd name="connsiteX4" fmla="*/ 338138 w 338137"/>
                <a:gd name="connsiteY4" fmla="*/ 0 h 430529"/>
                <a:gd name="connsiteX5" fmla="*/ 253365 w 338137"/>
                <a:gd name="connsiteY5" fmla="*/ 0 h 430529"/>
                <a:gd name="connsiteX6" fmla="*/ 253365 w 338137"/>
                <a:gd name="connsiteY6" fmla="*/ 234315 h 430529"/>
                <a:gd name="connsiteX7" fmla="*/ 123825 w 338137"/>
                <a:gd name="connsiteY7" fmla="*/ 110490 h 430529"/>
                <a:gd name="connsiteX8" fmla="*/ 0 w 338137"/>
                <a:gd name="connsiteY8" fmla="*/ 234315 h 430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8137" h="430529">
                  <a:moveTo>
                    <a:pt x="0" y="422910"/>
                  </a:moveTo>
                  <a:lnTo>
                    <a:pt x="84773" y="422910"/>
                  </a:lnTo>
                  <a:lnTo>
                    <a:pt x="84773" y="189548"/>
                  </a:lnTo>
                  <a:lnTo>
                    <a:pt x="338138" y="430530"/>
                  </a:lnTo>
                  <a:lnTo>
                    <a:pt x="338138" y="0"/>
                  </a:lnTo>
                  <a:lnTo>
                    <a:pt x="253365" y="0"/>
                  </a:lnTo>
                  <a:lnTo>
                    <a:pt x="253365" y="234315"/>
                  </a:lnTo>
                  <a:lnTo>
                    <a:pt x="123825" y="110490"/>
                  </a:lnTo>
                  <a:lnTo>
                    <a:pt x="0" y="234315"/>
                  </a:lnTo>
                  <a:close/>
                </a:path>
              </a:pathLst>
            </a:custGeom>
            <a:solidFill>
              <a:schemeClr val="bg2"/>
            </a:solidFill>
            <a:ln w="9525"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487FC6B9-5073-49F1-AF68-C988D64F36EE}"/>
                </a:ext>
              </a:extLst>
            </p:cNvPr>
            <p:cNvSpPr/>
            <p:nvPr/>
          </p:nvSpPr>
          <p:spPr>
            <a:xfrm>
              <a:off x="3729037" y="734683"/>
              <a:ext cx="123825" cy="241934"/>
            </a:xfrm>
            <a:custGeom>
              <a:avLst/>
              <a:gdLst>
                <a:gd name="connsiteX0" fmla="*/ 0 w 123825"/>
                <a:gd name="connsiteY0" fmla="*/ 241935 h 241934"/>
                <a:gd name="connsiteX1" fmla="*/ 123825 w 123825"/>
                <a:gd name="connsiteY1" fmla="*/ 118110 h 241934"/>
                <a:gd name="connsiteX2" fmla="*/ 0 w 123825"/>
                <a:gd name="connsiteY2" fmla="*/ 0 h 241934"/>
              </a:gdLst>
              <a:ahLst/>
              <a:cxnLst>
                <a:cxn ang="0">
                  <a:pos x="connsiteX0" y="connsiteY0"/>
                </a:cxn>
                <a:cxn ang="0">
                  <a:pos x="connsiteX1" y="connsiteY1"/>
                </a:cxn>
                <a:cxn ang="0">
                  <a:pos x="connsiteX2" y="connsiteY2"/>
                </a:cxn>
              </a:cxnLst>
              <a:rect l="l" t="t" r="r" b="b"/>
              <a:pathLst>
                <a:path w="123825" h="241934">
                  <a:moveTo>
                    <a:pt x="0" y="241935"/>
                  </a:moveTo>
                  <a:lnTo>
                    <a:pt x="123825" y="118110"/>
                  </a:lnTo>
                  <a:lnTo>
                    <a:pt x="0" y="0"/>
                  </a:lnTo>
                  <a:close/>
                </a:path>
              </a:pathLst>
            </a:custGeom>
            <a:solidFill>
              <a:srgbClr val="04A0B9"/>
            </a:solidFill>
            <a:ln w="9525"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385787645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w/ Imag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25F3498-F81E-497D-9F70-63BF9757D89A}"/>
              </a:ext>
            </a:extLst>
          </p:cNvPr>
          <p:cNvSpPr/>
          <p:nvPr userDrawn="1"/>
        </p:nvSpPr>
        <p:spPr>
          <a:xfrm>
            <a:off x="223838" y="223838"/>
            <a:ext cx="5264150" cy="6410326"/>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600"/>
              </a:spcAft>
            </a:pPr>
            <a:endParaRPr lang="en-US" sz="2000" dirty="0">
              <a:solidFill>
                <a:schemeClr val="tx1"/>
              </a:solidFill>
            </a:endParaRPr>
          </a:p>
        </p:txBody>
      </p:sp>
      <p:sp>
        <p:nvSpPr>
          <p:cNvPr id="2" name="Title 1">
            <a:extLst>
              <a:ext uri="{FF2B5EF4-FFF2-40B4-BE49-F238E27FC236}">
                <a16:creationId xmlns:a16="http://schemas.microsoft.com/office/drawing/2014/main" id="{BC0E1418-D76B-4E7B-BC2C-A4D67CDE8555}"/>
              </a:ext>
            </a:extLst>
          </p:cNvPr>
          <p:cNvSpPr>
            <a:spLocks noGrp="1"/>
          </p:cNvSpPr>
          <p:nvPr>
            <p:ph type="title" hasCustomPrompt="1"/>
          </p:nvPr>
        </p:nvSpPr>
        <p:spPr>
          <a:xfrm>
            <a:off x="490967" y="3668093"/>
            <a:ext cx="4729893" cy="777240"/>
          </a:xfrm>
        </p:spPr>
        <p:txBody>
          <a:bodyPr anchor="ctr"/>
          <a:lstStyle>
            <a:lvl1pPr algn="ctr">
              <a:defRPr>
                <a:solidFill>
                  <a:schemeClr val="bg1"/>
                </a:solidFill>
              </a:defRPr>
            </a:lvl1pPr>
          </a:lstStyle>
          <a:p>
            <a:r>
              <a:rPr lang="en-US"/>
              <a:t>Click to insert title</a:t>
            </a:r>
          </a:p>
        </p:txBody>
      </p:sp>
      <p:sp>
        <p:nvSpPr>
          <p:cNvPr id="3" name="Date Placeholder 2">
            <a:extLst>
              <a:ext uri="{FF2B5EF4-FFF2-40B4-BE49-F238E27FC236}">
                <a16:creationId xmlns:a16="http://schemas.microsoft.com/office/drawing/2014/main" id="{57840F16-EAC4-497C-870F-51C950AEC6C4}"/>
              </a:ext>
            </a:extLst>
          </p:cNvPr>
          <p:cNvSpPr>
            <a:spLocks noGrp="1"/>
          </p:cNvSpPr>
          <p:nvPr>
            <p:ph type="dt" sz="half" idx="10"/>
          </p:nvPr>
        </p:nvSpPr>
        <p:spPr>
          <a:xfrm>
            <a:off x="1484313" y="5223669"/>
            <a:ext cx="2743200" cy="263525"/>
          </a:xfrm>
        </p:spPr>
        <p:txBody>
          <a:bodyPr/>
          <a:lstStyle>
            <a:lvl1pPr algn="ctr">
              <a:defRPr sz="1400">
                <a:solidFill>
                  <a:schemeClr val="bg1"/>
                </a:solidFill>
              </a:defRPr>
            </a:lvl1pPr>
          </a:lstStyle>
          <a:p>
            <a:endParaRPr lang="en-US" noProof="0" dirty="0"/>
          </a:p>
        </p:txBody>
      </p:sp>
      <p:sp>
        <p:nvSpPr>
          <p:cNvPr id="16" name="Picture Placeholder 15">
            <a:extLst>
              <a:ext uri="{FF2B5EF4-FFF2-40B4-BE49-F238E27FC236}">
                <a16:creationId xmlns:a16="http://schemas.microsoft.com/office/drawing/2014/main" id="{F8E3D61A-33AF-494A-9398-1495BB046AA3}"/>
              </a:ext>
            </a:extLst>
          </p:cNvPr>
          <p:cNvSpPr>
            <a:spLocks noGrp="1"/>
          </p:cNvSpPr>
          <p:nvPr>
            <p:ph type="pic" sz="quarter" idx="13" hasCustomPrompt="1"/>
          </p:nvPr>
        </p:nvSpPr>
        <p:spPr>
          <a:xfrm>
            <a:off x="5711826" y="223838"/>
            <a:ext cx="6256337" cy="6410326"/>
          </a:xfrm>
        </p:spPr>
        <p:txBody>
          <a:bodyPr anchor="ctr"/>
          <a:lstStyle>
            <a:lvl1pPr algn="ctr">
              <a:defRPr sz="1200"/>
            </a:lvl1pPr>
          </a:lstStyle>
          <a:p>
            <a:r>
              <a:rPr lang="en-US" dirty="0"/>
              <a:t>Click to insert image</a:t>
            </a:r>
          </a:p>
        </p:txBody>
      </p:sp>
      <p:pic>
        <p:nvPicPr>
          <p:cNvPr id="20" name="Graphic 19">
            <a:extLst>
              <a:ext uri="{FF2B5EF4-FFF2-40B4-BE49-F238E27FC236}">
                <a16:creationId xmlns:a16="http://schemas.microsoft.com/office/drawing/2014/main" id="{5C5C9887-6129-4E40-89EC-46893BF4A5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636558" y="1409700"/>
            <a:ext cx="2469562" cy="1103681"/>
          </a:xfrm>
          <a:prstGeom prst="rect">
            <a:avLst/>
          </a:prstGeom>
        </p:spPr>
      </p:pic>
      <p:cxnSp>
        <p:nvCxnSpPr>
          <p:cNvPr id="22" name="Straight Connector 21">
            <a:extLst>
              <a:ext uri="{FF2B5EF4-FFF2-40B4-BE49-F238E27FC236}">
                <a16:creationId xmlns:a16="http://schemas.microsoft.com/office/drawing/2014/main" id="{F9F96C7E-A230-4E41-A33A-464FDE2C3BF4}"/>
              </a:ext>
            </a:extLst>
          </p:cNvPr>
          <p:cNvCxnSpPr>
            <a:cxnSpLocks/>
          </p:cNvCxnSpPr>
          <p:nvPr userDrawn="1"/>
        </p:nvCxnSpPr>
        <p:spPr>
          <a:xfrm>
            <a:off x="1771651" y="3432175"/>
            <a:ext cx="216852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F6DF050-5AB5-4E70-8586-22A0EF2AFAC3}"/>
              </a:ext>
            </a:extLst>
          </p:cNvPr>
          <p:cNvCxnSpPr>
            <a:cxnSpLocks/>
          </p:cNvCxnSpPr>
          <p:nvPr userDrawn="1"/>
        </p:nvCxnSpPr>
        <p:spPr>
          <a:xfrm>
            <a:off x="1771651" y="5089525"/>
            <a:ext cx="216852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Text Placeholder 40">
            <a:extLst>
              <a:ext uri="{FF2B5EF4-FFF2-40B4-BE49-F238E27FC236}">
                <a16:creationId xmlns:a16="http://schemas.microsoft.com/office/drawing/2014/main" id="{9BDB2365-5668-477D-AD3C-E7EE83EF97D8}"/>
              </a:ext>
            </a:extLst>
          </p:cNvPr>
          <p:cNvSpPr>
            <a:spLocks noGrp="1"/>
          </p:cNvSpPr>
          <p:nvPr>
            <p:ph type="body" sz="quarter" idx="19" hasCustomPrompt="1"/>
          </p:nvPr>
        </p:nvSpPr>
        <p:spPr>
          <a:xfrm>
            <a:off x="490966" y="4523589"/>
            <a:ext cx="4729893" cy="391636"/>
          </a:xfrm>
        </p:spPr>
        <p:txBody>
          <a:bodyPr/>
          <a:lstStyle>
            <a:lvl1pPr algn="ctr">
              <a:defRPr>
                <a:solidFill>
                  <a:schemeClr val="accent2"/>
                </a:solidFill>
              </a:defRPr>
            </a:lvl1pPr>
          </a:lstStyle>
          <a:p>
            <a:pPr lvl="0"/>
            <a:r>
              <a:rPr lang="en-US"/>
              <a:t>Click to insert subtitle</a:t>
            </a:r>
          </a:p>
        </p:txBody>
      </p:sp>
      <p:sp>
        <p:nvSpPr>
          <p:cNvPr id="28" name="Picture Placeholder 4">
            <a:extLst>
              <a:ext uri="{FF2B5EF4-FFF2-40B4-BE49-F238E27FC236}">
                <a16:creationId xmlns:a16="http://schemas.microsoft.com/office/drawing/2014/main" id="{7AC683DB-2579-4533-8A19-CBC96B244A34}"/>
              </a:ext>
            </a:extLst>
          </p:cNvPr>
          <p:cNvSpPr>
            <a:spLocks noGrp="1"/>
          </p:cNvSpPr>
          <p:nvPr>
            <p:ph type="pic" sz="quarter" idx="20" hasCustomPrompt="1"/>
          </p:nvPr>
        </p:nvSpPr>
        <p:spPr>
          <a:xfrm>
            <a:off x="1771650" y="5629275"/>
            <a:ext cx="2168526" cy="615950"/>
          </a:xfrm>
          <a:solidFill>
            <a:schemeClr val="bg1"/>
          </a:solidFill>
        </p:spPr>
        <p:txBody>
          <a:bodyPr anchor="ctr"/>
          <a:lstStyle>
            <a:lvl1pPr algn="ctr">
              <a:defRPr sz="1400">
                <a:solidFill>
                  <a:schemeClr val="tx2"/>
                </a:solidFill>
              </a:defRPr>
            </a:lvl1pPr>
          </a:lstStyle>
          <a:p>
            <a:r>
              <a:rPr lang="en-US" dirty="0"/>
              <a:t>Click icon to insert client logo</a:t>
            </a:r>
          </a:p>
        </p:txBody>
      </p:sp>
    </p:spTree>
    <p:extLst>
      <p:ext uri="{BB962C8B-B14F-4D97-AF65-F5344CB8AC3E}">
        <p14:creationId xmlns:p14="http://schemas.microsoft.com/office/powerpoint/2010/main" val="287824691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3" name="Text Placeholder 24">
            <a:extLst>
              <a:ext uri="{FF2B5EF4-FFF2-40B4-BE49-F238E27FC236}">
                <a16:creationId xmlns:a16="http://schemas.microsoft.com/office/drawing/2014/main" id="{BEEC40AA-06E6-46E1-AB9F-4A9D1A5D0A20}"/>
              </a:ext>
            </a:extLst>
          </p:cNvPr>
          <p:cNvSpPr>
            <a:spLocks noGrp="1"/>
          </p:cNvSpPr>
          <p:nvPr>
            <p:ph type="body" sz="quarter" idx="22" hasCustomPrompt="1"/>
          </p:nvPr>
        </p:nvSpPr>
        <p:spPr>
          <a:xfrm>
            <a:off x="1057275" y="1647825"/>
            <a:ext cx="4700058" cy="742950"/>
          </a:xfrm>
          <a:ln>
            <a:solidFill>
              <a:schemeClr val="accent1"/>
            </a:solidFill>
          </a:ln>
        </p:spPr>
        <p:txBody>
          <a:bodyPr anchor="ctr"/>
          <a:lstStyle>
            <a:lvl1pPr algn="ctr">
              <a:defRPr sz="2800" b="1"/>
            </a:lvl1pPr>
          </a:lstStyle>
          <a:p>
            <a:pPr lvl="0"/>
            <a:r>
              <a:rPr lang="en-US"/>
              <a:t> </a:t>
            </a:r>
          </a:p>
        </p:txBody>
      </p:sp>
      <p:sp>
        <p:nvSpPr>
          <p:cNvPr id="38" name="Text Placeholder 24">
            <a:extLst>
              <a:ext uri="{FF2B5EF4-FFF2-40B4-BE49-F238E27FC236}">
                <a16:creationId xmlns:a16="http://schemas.microsoft.com/office/drawing/2014/main" id="{A9A0185F-C331-4058-94E1-FB494C3A7738}"/>
              </a:ext>
            </a:extLst>
          </p:cNvPr>
          <p:cNvSpPr>
            <a:spLocks noGrp="1"/>
          </p:cNvSpPr>
          <p:nvPr>
            <p:ph type="body" sz="quarter" idx="25" hasCustomPrompt="1"/>
          </p:nvPr>
        </p:nvSpPr>
        <p:spPr>
          <a:xfrm>
            <a:off x="1062567" y="2681497"/>
            <a:ext cx="4700058" cy="742950"/>
          </a:xfrm>
          <a:ln>
            <a:solidFill>
              <a:schemeClr val="accent1"/>
            </a:solidFill>
          </a:ln>
        </p:spPr>
        <p:txBody>
          <a:bodyPr anchor="ctr"/>
          <a:lstStyle>
            <a:lvl1pPr algn="ctr">
              <a:defRPr sz="2800" b="1"/>
            </a:lvl1pPr>
          </a:lstStyle>
          <a:p>
            <a:pPr lvl="0"/>
            <a:r>
              <a:rPr lang="en-US"/>
              <a:t> </a:t>
            </a:r>
          </a:p>
        </p:txBody>
      </p:sp>
      <p:sp>
        <p:nvSpPr>
          <p:cNvPr id="43" name="Text Placeholder 24">
            <a:extLst>
              <a:ext uri="{FF2B5EF4-FFF2-40B4-BE49-F238E27FC236}">
                <a16:creationId xmlns:a16="http://schemas.microsoft.com/office/drawing/2014/main" id="{2D6D52CA-A361-4108-BD94-C7147401A52D}"/>
              </a:ext>
            </a:extLst>
          </p:cNvPr>
          <p:cNvSpPr>
            <a:spLocks noGrp="1"/>
          </p:cNvSpPr>
          <p:nvPr>
            <p:ph type="body" sz="quarter" idx="29" hasCustomPrompt="1"/>
          </p:nvPr>
        </p:nvSpPr>
        <p:spPr>
          <a:xfrm>
            <a:off x="1067859" y="3715169"/>
            <a:ext cx="4700058" cy="742950"/>
          </a:xfrm>
          <a:ln>
            <a:solidFill>
              <a:schemeClr val="accent1"/>
            </a:solidFill>
          </a:ln>
        </p:spPr>
        <p:txBody>
          <a:bodyPr anchor="ctr"/>
          <a:lstStyle>
            <a:lvl1pPr algn="ctr">
              <a:defRPr sz="2800" b="1"/>
            </a:lvl1pPr>
          </a:lstStyle>
          <a:p>
            <a:pPr lvl="0"/>
            <a:r>
              <a:rPr lang="en-US"/>
              <a:t> </a:t>
            </a:r>
          </a:p>
        </p:txBody>
      </p:sp>
      <p:sp>
        <p:nvSpPr>
          <p:cNvPr id="48" name="Text Placeholder 24">
            <a:extLst>
              <a:ext uri="{FF2B5EF4-FFF2-40B4-BE49-F238E27FC236}">
                <a16:creationId xmlns:a16="http://schemas.microsoft.com/office/drawing/2014/main" id="{C66BABA8-6B47-4A61-A557-3D01C13427F0}"/>
              </a:ext>
            </a:extLst>
          </p:cNvPr>
          <p:cNvSpPr>
            <a:spLocks noGrp="1"/>
          </p:cNvSpPr>
          <p:nvPr>
            <p:ph type="body" sz="quarter" idx="33" hasCustomPrompt="1"/>
          </p:nvPr>
        </p:nvSpPr>
        <p:spPr>
          <a:xfrm>
            <a:off x="1073151" y="4748841"/>
            <a:ext cx="4700058" cy="742950"/>
          </a:xfrm>
          <a:ln>
            <a:solidFill>
              <a:schemeClr val="accent1"/>
            </a:solidFill>
          </a:ln>
        </p:spPr>
        <p:txBody>
          <a:bodyPr anchor="ctr"/>
          <a:lstStyle>
            <a:lvl1pPr algn="ctr">
              <a:defRPr sz="2800" b="1"/>
            </a:lvl1pPr>
          </a:lstStyle>
          <a:p>
            <a:pPr lvl="0"/>
            <a:r>
              <a:rPr lang="en-US"/>
              <a:t> </a:t>
            </a:r>
          </a:p>
        </p:txBody>
      </p:sp>
      <p:sp>
        <p:nvSpPr>
          <p:cNvPr id="53" name="Text Placeholder 24">
            <a:extLst>
              <a:ext uri="{FF2B5EF4-FFF2-40B4-BE49-F238E27FC236}">
                <a16:creationId xmlns:a16="http://schemas.microsoft.com/office/drawing/2014/main" id="{08CCEAF6-101E-474F-A720-66AECA753E06}"/>
              </a:ext>
            </a:extLst>
          </p:cNvPr>
          <p:cNvSpPr>
            <a:spLocks noGrp="1"/>
          </p:cNvSpPr>
          <p:nvPr>
            <p:ph type="body" sz="quarter" idx="37" hasCustomPrompt="1"/>
          </p:nvPr>
        </p:nvSpPr>
        <p:spPr>
          <a:xfrm>
            <a:off x="6402915" y="1647825"/>
            <a:ext cx="4700058" cy="742950"/>
          </a:xfrm>
          <a:ln>
            <a:solidFill>
              <a:schemeClr val="accent1"/>
            </a:solidFill>
          </a:ln>
        </p:spPr>
        <p:txBody>
          <a:bodyPr anchor="ctr"/>
          <a:lstStyle>
            <a:lvl1pPr algn="ctr">
              <a:defRPr sz="2800" b="1"/>
            </a:lvl1pPr>
          </a:lstStyle>
          <a:p>
            <a:pPr lvl="0"/>
            <a:r>
              <a:rPr lang="en-US"/>
              <a:t> </a:t>
            </a:r>
          </a:p>
        </p:txBody>
      </p:sp>
      <p:sp>
        <p:nvSpPr>
          <p:cNvPr id="58" name="Text Placeholder 24">
            <a:extLst>
              <a:ext uri="{FF2B5EF4-FFF2-40B4-BE49-F238E27FC236}">
                <a16:creationId xmlns:a16="http://schemas.microsoft.com/office/drawing/2014/main" id="{3452560D-6407-4FD1-B222-20DFCC42CE37}"/>
              </a:ext>
            </a:extLst>
          </p:cNvPr>
          <p:cNvSpPr>
            <a:spLocks noGrp="1"/>
          </p:cNvSpPr>
          <p:nvPr>
            <p:ph type="body" sz="quarter" idx="41" hasCustomPrompt="1"/>
          </p:nvPr>
        </p:nvSpPr>
        <p:spPr>
          <a:xfrm>
            <a:off x="6408207" y="2681497"/>
            <a:ext cx="4700058" cy="742950"/>
          </a:xfrm>
          <a:ln>
            <a:solidFill>
              <a:schemeClr val="accent1"/>
            </a:solidFill>
          </a:ln>
        </p:spPr>
        <p:txBody>
          <a:bodyPr anchor="ctr"/>
          <a:lstStyle>
            <a:lvl1pPr algn="ctr">
              <a:defRPr sz="2800" b="1"/>
            </a:lvl1pPr>
          </a:lstStyle>
          <a:p>
            <a:pPr lvl="0"/>
            <a:r>
              <a:rPr lang="en-US"/>
              <a:t> </a:t>
            </a:r>
          </a:p>
        </p:txBody>
      </p:sp>
      <p:sp>
        <p:nvSpPr>
          <p:cNvPr id="63" name="Text Placeholder 24">
            <a:extLst>
              <a:ext uri="{FF2B5EF4-FFF2-40B4-BE49-F238E27FC236}">
                <a16:creationId xmlns:a16="http://schemas.microsoft.com/office/drawing/2014/main" id="{548D60A6-3D0F-44BE-B177-DEA2F44043EB}"/>
              </a:ext>
            </a:extLst>
          </p:cNvPr>
          <p:cNvSpPr>
            <a:spLocks noGrp="1"/>
          </p:cNvSpPr>
          <p:nvPr>
            <p:ph type="body" sz="quarter" idx="45" hasCustomPrompt="1"/>
          </p:nvPr>
        </p:nvSpPr>
        <p:spPr>
          <a:xfrm>
            <a:off x="6413499" y="3715169"/>
            <a:ext cx="4700058" cy="742950"/>
          </a:xfrm>
          <a:ln>
            <a:solidFill>
              <a:schemeClr val="accent1"/>
            </a:solidFill>
          </a:ln>
        </p:spPr>
        <p:txBody>
          <a:bodyPr anchor="ctr"/>
          <a:lstStyle>
            <a:lvl1pPr algn="ctr">
              <a:defRPr sz="2800" b="1"/>
            </a:lvl1pPr>
          </a:lstStyle>
          <a:p>
            <a:pPr lvl="0"/>
            <a:r>
              <a:rPr lang="en-US"/>
              <a:t> </a:t>
            </a:r>
          </a:p>
        </p:txBody>
      </p:sp>
      <p:sp>
        <p:nvSpPr>
          <p:cNvPr id="68" name="Text Placeholder 24">
            <a:extLst>
              <a:ext uri="{FF2B5EF4-FFF2-40B4-BE49-F238E27FC236}">
                <a16:creationId xmlns:a16="http://schemas.microsoft.com/office/drawing/2014/main" id="{550FFB2D-A7BE-4984-95DE-9124B7C209F0}"/>
              </a:ext>
            </a:extLst>
          </p:cNvPr>
          <p:cNvSpPr>
            <a:spLocks noGrp="1"/>
          </p:cNvSpPr>
          <p:nvPr>
            <p:ph type="body" sz="quarter" idx="49" hasCustomPrompt="1"/>
          </p:nvPr>
        </p:nvSpPr>
        <p:spPr>
          <a:xfrm>
            <a:off x="6418791" y="4748841"/>
            <a:ext cx="4700058" cy="742950"/>
          </a:xfrm>
          <a:ln>
            <a:solidFill>
              <a:schemeClr val="accent1"/>
            </a:solidFill>
          </a:ln>
        </p:spPr>
        <p:txBody>
          <a:bodyPr anchor="ctr"/>
          <a:lstStyle>
            <a:lvl1pPr algn="ctr">
              <a:defRPr sz="2800" b="1"/>
            </a:lvl1pPr>
          </a:lstStyle>
          <a:p>
            <a:pPr lvl="0"/>
            <a:r>
              <a:rPr lang="en-US"/>
              <a:t> </a:t>
            </a:r>
          </a:p>
        </p:txBody>
      </p:sp>
      <p:sp>
        <p:nvSpPr>
          <p:cNvPr id="5" name="Slide Number Placeholder 4">
            <a:extLst>
              <a:ext uri="{FF2B5EF4-FFF2-40B4-BE49-F238E27FC236}">
                <a16:creationId xmlns:a16="http://schemas.microsoft.com/office/drawing/2014/main" id="{41729006-E9FE-4940-A9C4-23ED1B2B1A20}"/>
              </a:ext>
            </a:extLst>
          </p:cNvPr>
          <p:cNvSpPr>
            <a:spLocks noGrp="1"/>
          </p:cNvSpPr>
          <p:nvPr>
            <p:ph type="sldNum" sz="quarter" idx="12"/>
          </p:nvPr>
        </p:nvSpPr>
        <p:spPr/>
        <p:txBody>
          <a:bodyPr/>
          <a:lstStyle/>
          <a:p>
            <a:fld id="{5034EE70-12A8-400F-8E3D-398CDD8B315D}" type="slidenum">
              <a:rPr lang="en-US" smtClean="0"/>
              <a:pPr/>
              <a:t>‹#›</a:t>
            </a:fld>
            <a:endParaRPr lang="en-US" dirty="0"/>
          </a:p>
        </p:txBody>
      </p:sp>
      <p:sp>
        <p:nvSpPr>
          <p:cNvPr id="25" name="Text Placeholder 24">
            <a:extLst>
              <a:ext uri="{FF2B5EF4-FFF2-40B4-BE49-F238E27FC236}">
                <a16:creationId xmlns:a16="http://schemas.microsoft.com/office/drawing/2014/main" id="{2AC8C82C-D84E-4CFF-BB7B-A023E3A25CB6}"/>
              </a:ext>
            </a:extLst>
          </p:cNvPr>
          <p:cNvSpPr>
            <a:spLocks noGrp="1"/>
          </p:cNvSpPr>
          <p:nvPr>
            <p:ph type="body" sz="quarter" idx="21" hasCustomPrompt="1"/>
          </p:nvPr>
        </p:nvSpPr>
        <p:spPr>
          <a:xfrm>
            <a:off x="1057275" y="1647825"/>
            <a:ext cx="742950" cy="742950"/>
          </a:xfrm>
          <a:ln>
            <a:solidFill>
              <a:schemeClr val="accent1"/>
            </a:solidFill>
          </a:ln>
        </p:spPr>
        <p:txBody>
          <a:bodyPr anchor="ctr"/>
          <a:lstStyle>
            <a:lvl1pPr algn="ctr">
              <a:defRPr sz="2800" b="1">
                <a:solidFill>
                  <a:schemeClr val="accent3"/>
                </a:solidFill>
              </a:defRPr>
            </a:lvl1pPr>
          </a:lstStyle>
          <a:p>
            <a:pPr lvl="0"/>
            <a:r>
              <a:rPr lang="en-US"/>
              <a:t>XX</a:t>
            </a:r>
          </a:p>
        </p:txBody>
      </p:sp>
      <p:sp>
        <p:nvSpPr>
          <p:cNvPr id="32" name="Text Placeholder 40">
            <a:extLst>
              <a:ext uri="{FF2B5EF4-FFF2-40B4-BE49-F238E27FC236}">
                <a16:creationId xmlns:a16="http://schemas.microsoft.com/office/drawing/2014/main" id="{35276C2A-D92A-4C32-85DD-4046FF335919}"/>
              </a:ext>
            </a:extLst>
          </p:cNvPr>
          <p:cNvSpPr>
            <a:spLocks noGrp="1"/>
          </p:cNvSpPr>
          <p:nvPr>
            <p:ph type="body" sz="quarter" idx="19" hasCustomPrompt="1"/>
          </p:nvPr>
        </p:nvSpPr>
        <p:spPr>
          <a:xfrm>
            <a:off x="1848803" y="1702697"/>
            <a:ext cx="3759200" cy="281890"/>
          </a:xfrm>
        </p:spPr>
        <p:txBody>
          <a:bodyPr anchor="ctr"/>
          <a:lstStyle>
            <a:lvl1pPr>
              <a:defRPr sz="1600" b="1">
                <a:solidFill>
                  <a:schemeClr val="accent1"/>
                </a:solidFill>
              </a:defRPr>
            </a:lvl1pPr>
          </a:lstStyle>
          <a:p>
            <a:pPr lvl="0"/>
            <a:r>
              <a:rPr lang="en-US"/>
              <a:t>Click to insert section header</a:t>
            </a:r>
          </a:p>
        </p:txBody>
      </p:sp>
      <p:sp>
        <p:nvSpPr>
          <p:cNvPr id="35" name="Text Placeholder 34">
            <a:extLst>
              <a:ext uri="{FF2B5EF4-FFF2-40B4-BE49-F238E27FC236}">
                <a16:creationId xmlns:a16="http://schemas.microsoft.com/office/drawing/2014/main" id="{34650972-8F75-4BB3-96AB-ECAF3FDCB615}"/>
              </a:ext>
            </a:extLst>
          </p:cNvPr>
          <p:cNvSpPr>
            <a:spLocks noGrp="1"/>
          </p:cNvSpPr>
          <p:nvPr>
            <p:ph type="body" sz="quarter" idx="23" hasCustomPrompt="1"/>
          </p:nvPr>
        </p:nvSpPr>
        <p:spPr>
          <a:xfrm>
            <a:off x="1848803" y="1950510"/>
            <a:ext cx="3759200" cy="406400"/>
          </a:xfrm>
        </p:spPr>
        <p:txBody>
          <a:bodyPr/>
          <a:lstStyle>
            <a:lvl1pPr>
              <a:defRPr sz="1400">
                <a:solidFill>
                  <a:schemeClr val="tx2"/>
                </a:solidFill>
              </a:defRPr>
            </a:lvl1pPr>
            <a:lvl2pPr>
              <a:defRPr sz="1400">
                <a:solidFill>
                  <a:schemeClr val="tx2"/>
                </a:solidFill>
              </a:defRPr>
            </a:lvl2pPr>
            <a:lvl3pPr>
              <a:defRPr sz="1200">
                <a:solidFill>
                  <a:schemeClr val="tx2"/>
                </a:solidFill>
              </a:defRPr>
            </a:lvl3pPr>
            <a:lvl4pPr>
              <a:defRPr sz="1100">
                <a:solidFill>
                  <a:schemeClr val="tx2"/>
                </a:solidFill>
              </a:defRPr>
            </a:lvl4pPr>
            <a:lvl5pPr>
              <a:defRPr sz="105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36" name="Text Placeholder 24">
            <a:extLst>
              <a:ext uri="{FF2B5EF4-FFF2-40B4-BE49-F238E27FC236}">
                <a16:creationId xmlns:a16="http://schemas.microsoft.com/office/drawing/2014/main" id="{547F3904-17D1-4EA7-8D04-A9B694AB4C8B}"/>
              </a:ext>
            </a:extLst>
          </p:cNvPr>
          <p:cNvSpPr>
            <a:spLocks noGrp="1"/>
          </p:cNvSpPr>
          <p:nvPr>
            <p:ph type="body" sz="quarter" idx="24" hasCustomPrompt="1"/>
          </p:nvPr>
        </p:nvSpPr>
        <p:spPr>
          <a:xfrm>
            <a:off x="1062567" y="2681497"/>
            <a:ext cx="742950" cy="742950"/>
          </a:xfrm>
          <a:ln>
            <a:solidFill>
              <a:schemeClr val="accent1"/>
            </a:solidFill>
          </a:ln>
        </p:spPr>
        <p:txBody>
          <a:bodyPr anchor="ctr"/>
          <a:lstStyle>
            <a:lvl1pPr algn="ctr">
              <a:defRPr sz="2800" b="1">
                <a:solidFill>
                  <a:schemeClr val="accent3"/>
                </a:solidFill>
              </a:defRPr>
            </a:lvl1pPr>
          </a:lstStyle>
          <a:p>
            <a:pPr lvl="0"/>
            <a:r>
              <a:rPr lang="en-US"/>
              <a:t>XX</a:t>
            </a:r>
          </a:p>
        </p:txBody>
      </p:sp>
      <p:sp>
        <p:nvSpPr>
          <p:cNvPr id="39" name="Text Placeholder 40">
            <a:extLst>
              <a:ext uri="{FF2B5EF4-FFF2-40B4-BE49-F238E27FC236}">
                <a16:creationId xmlns:a16="http://schemas.microsoft.com/office/drawing/2014/main" id="{51FFCCEE-CF6F-4A7E-AA92-B51CCE8B8234}"/>
              </a:ext>
            </a:extLst>
          </p:cNvPr>
          <p:cNvSpPr>
            <a:spLocks noGrp="1"/>
          </p:cNvSpPr>
          <p:nvPr>
            <p:ph type="body" sz="quarter" idx="26" hasCustomPrompt="1"/>
          </p:nvPr>
        </p:nvSpPr>
        <p:spPr>
          <a:xfrm>
            <a:off x="1854095" y="2736369"/>
            <a:ext cx="3759200" cy="281890"/>
          </a:xfrm>
        </p:spPr>
        <p:txBody>
          <a:bodyPr anchor="ctr"/>
          <a:lstStyle>
            <a:lvl1pPr>
              <a:defRPr sz="1600" b="1">
                <a:solidFill>
                  <a:schemeClr val="accent1"/>
                </a:solidFill>
              </a:defRPr>
            </a:lvl1pPr>
          </a:lstStyle>
          <a:p>
            <a:pPr lvl="0"/>
            <a:r>
              <a:rPr lang="en-US"/>
              <a:t>Click to insert section header</a:t>
            </a:r>
          </a:p>
        </p:txBody>
      </p:sp>
      <p:sp>
        <p:nvSpPr>
          <p:cNvPr id="40" name="Text Placeholder 34">
            <a:extLst>
              <a:ext uri="{FF2B5EF4-FFF2-40B4-BE49-F238E27FC236}">
                <a16:creationId xmlns:a16="http://schemas.microsoft.com/office/drawing/2014/main" id="{3C7A3A28-B4CA-4DD6-9940-13AD5D51E05D}"/>
              </a:ext>
            </a:extLst>
          </p:cNvPr>
          <p:cNvSpPr>
            <a:spLocks noGrp="1"/>
          </p:cNvSpPr>
          <p:nvPr>
            <p:ph type="body" sz="quarter" idx="27" hasCustomPrompt="1"/>
          </p:nvPr>
        </p:nvSpPr>
        <p:spPr>
          <a:xfrm>
            <a:off x="1854095" y="2984182"/>
            <a:ext cx="3759200" cy="406400"/>
          </a:xfrm>
        </p:spPr>
        <p:txBody>
          <a:bodyPr/>
          <a:lstStyle>
            <a:lvl1pPr>
              <a:defRPr sz="1400">
                <a:solidFill>
                  <a:schemeClr val="tx2"/>
                </a:solidFill>
              </a:defRPr>
            </a:lvl1pPr>
            <a:lvl2pPr>
              <a:defRPr sz="1400">
                <a:solidFill>
                  <a:schemeClr val="tx2"/>
                </a:solidFill>
              </a:defRPr>
            </a:lvl2pPr>
            <a:lvl3pPr>
              <a:defRPr sz="1200">
                <a:solidFill>
                  <a:schemeClr val="tx2"/>
                </a:solidFill>
              </a:defRPr>
            </a:lvl3pPr>
            <a:lvl4pPr>
              <a:defRPr sz="1100">
                <a:solidFill>
                  <a:schemeClr val="tx2"/>
                </a:solidFill>
              </a:defRPr>
            </a:lvl4pPr>
            <a:lvl5pPr>
              <a:defRPr sz="105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41" name="Text Placeholder 24">
            <a:extLst>
              <a:ext uri="{FF2B5EF4-FFF2-40B4-BE49-F238E27FC236}">
                <a16:creationId xmlns:a16="http://schemas.microsoft.com/office/drawing/2014/main" id="{AB169EF8-6482-44FC-A94A-161553E2C852}"/>
              </a:ext>
            </a:extLst>
          </p:cNvPr>
          <p:cNvSpPr>
            <a:spLocks noGrp="1"/>
          </p:cNvSpPr>
          <p:nvPr>
            <p:ph type="body" sz="quarter" idx="28" hasCustomPrompt="1"/>
          </p:nvPr>
        </p:nvSpPr>
        <p:spPr>
          <a:xfrm>
            <a:off x="1067859" y="3715169"/>
            <a:ext cx="742950" cy="742950"/>
          </a:xfrm>
          <a:ln>
            <a:solidFill>
              <a:schemeClr val="accent1"/>
            </a:solidFill>
          </a:ln>
        </p:spPr>
        <p:txBody>
          <a:bodyPr anchor="ctr"/>
          <a:lstStyle>
            <a:lvl1pPr algn="ctr">
              <a:defRPr sz="2800" b="1">
                <a:solidFill>
                  <a:schemeClr val="accent3"/>
                </a:solidFill>
              </a:defRPr>
            </a:lvl1pPr>
          </a:lstStyle>
          <a:p>
            <a:pPr lvl="0"/>
            <a:r>
              <a:rPr lang="en-US"/>
              <a:t>XX</a:t>
            </a:r>
          </a:p>
        </p:txBody>
      </p:sp>
      <p:sp>
        <p:nvSpPr>
          <p:cNvPr id="44" name="Text Placeholder 40">
            <a:extLst>
              <a:ext uri="{FF2B5EF4-FFF2-40B4-BE49-F238E27FC236}">
                <a16:creationId xmlns:a16="http://schemas.microsoft.com/office/drawing/2014/main" id="{09254137-DFDE-4223-BE81-261DA11625FE}"/>
              </a:ext>
            </a:extLst>
          </p:cNvPr>
          <p:cNvSpPr>
            <a:spLocks noGrp="1"/>
          </p:cNvSpPr>
          <p:nvPr>
            <p:ph type="body" sz="quarter" idx="30" hasCustomPrompt="1"/>
          </p:nvPr>
        </p:nvSpPr>
        <p:spPr>
          <a:xfrm>
            <a:off x="1859387" y="3770041"/>
            <a:ext cx="3759200" cy="281890"/>
          </a:xfrm>
        </p:spPr>
        <p:txBody>
          <a:bodyPr anchor="ctr"/>
          <a:lstStyle>
            <a:lvl1pPr>
              <a:defRPr sz="1600" b="1">
                <a:solidFill>
                  <a:schemeClr val="accent1"/>
                </a:solidFill>
              </a:defRPr>
            </a:lvl1pPr>
          </a:lstStyle>
          <a:p>
            <a:pPr lvl="0"/>
            <a:r>
              <a:rPr lang="en-US"/>
              <a:t>Click to insert section header</a:t>
            </a:r>
          </a:p>
        </p:txBody>
      </p:sp>
      <p:sp>
        <p:nvSpPr>
          <p:cNvPr id="45" name="Text Placeholder 34">
            <a:extLst>
              <a:ext uri="{FF2B5EF4-FFF2-40B4-BE49-F238E27FC236}">
                <a16:creationId xmlns:a16="http://schemas.microsoft.com/office/drawing/2014/main" id="{91892391-6590-4E72-B89A-C437C6583A67}"/>
              </a:ext>
            </a:extLst>
          </p:cNvPr>
          <p:cNvSpPr>
            <a:spLocks noGrp="1"/>
          </p:cNvSpPr>
          <p:nvPr>
            <p:ph type="body" sz="quarter" idx="31" hasCustomPrompt="1"/>
          </p:nvPr>
        </p:nvSpPr>
        <p:spPr>
          <a:xfrm>
            <a:off x="1859387" y="4017854"/>
            <a:ext cx="3759200" cy="406400"/>
          </a:xfrm>
        </p:spPr>
        <p:txBody>
          <a:bodyPr/>
          <a:lstStyle>
            <a:lvl1pPr>
              <a:defRPr sz="1400">
                <a:solidFill>
                  <a:schemeClr val="tx2"/>
                </a:solidFill>
              </a:defRPr>
            </a:lvl1pPr>
            <a:lvl2pPr>
              <a:defRPr sz="1400">
                <a:solidFill>
                  <a:schemeClr val="tx2"/>
                </a:solidFill>
              </a:defRPr>
            </a:lvl2pPr>
            <a:lvl3pPr>
              <a:defRPr sz="1200">
                <a:solidFill>
                  <a:schemeClr val="tx2"/>
                </a:solidFill>
              </a:defRPr>
            </a:lvl3pPr>
            <a:lvl4pPr>
              <a:defRPr sz="1100">
                <a:solidFill>
                  <a:schemeClr val="tx2"/>
                </a:solidFill>
              </a:defRPr>
            </a:lvl4pPr>
            <a:lvl5pPr>
              <a:defRPr sz="105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46" name="Text Placeholder 24">
            <a:extLst>
              <a:ext uri="{FF2B5EF4-FFF2-40B4-BE49-F238E27FC236}">
                <a16:creationId xmlns:a16="http://schemas.microsoft.com/office/drawing/2014/main" id="{C85C3947-9A9A-4348-BAB9-B5EC2D7C5FB3}"/>
              </a:ext>
            </a:extLst>
          </p:cNvPr>
          <p:cNvSpPr>
            <a:spLocks noGrp="1"/>
          </p:cNvSpPr>
          <p:nvPr>
            <p:ph type="body" sz="quarter" idx="32" hasCustomPrompt="1"/>
          </p:nvPr>
        </p:nvSpPr>
        <p:spPr>
          <a:xfrm>
            <a:off x="1073151" y="4748841"/>
            <a:ext cx="742950" cy="742950"/>
          </a:xfrm>
          <a:ln>
            <a:solidFill>
              <a:schemeClr val="accent1"/>
            </a:solidFill>
          </a:ln>
        </p:spPr>
        <p:txBody>
          <a:bodyPr anchor="ctr"/>
          <a:lstStyle>
            <a:lvl1pPr algn="ctr">
              <a:defRPr sz="2800" b="1">
                <a:solidFill>
                  <a:schemeClr val="accent3"/>
                </a:solidFill>
              </a:defRPr>
            </a:lvl1pPr>
          </a:lstStyle>
          <a:p>
            <a:pPr lvl="0"/>
            <a:r>
              <a:rPr lang="en-US"/>
              <a:t>XX</a:t>
            </a:r>
          </a:p>
        </p:txBody>
      </p:sp>
      <p:sp>
        <p:nvSpPr>
          <p:cNvPr id="49" name="Text Placeholder 40">
            <a:extLst>
              <a:ext uri="{FF2B5EF4-FFF2-40B4-BE49-F238E27FC236}">
                <a16:creationId xmlns:a16="http://schemas.microsoft.com/office/drawing/2014/main" id="{66E56B8B-97CA-494E-8D50-7FE9FB33D226}"/>
              </a:ext>
            </a:extLst>
          </p:cNvPr>
          <p:cNvSpPr>
            <a:spLocks noGrp="1"/>
          </p:cNvSpPr>
          <p:nvPr>
            <p:ph type="body" sz="quarter" idx="34" hasCustomPrompt="1"/>
          </p:nvPr>
        </p:nvSpPr>
        <p:spPr>
          <a:xfrm>
            <a:off x="1864679" y="4803713"/>
            <a:ext cx="3759200" cy="281890"/>
          </a:xfrm>
        </p:spPr>
        <p:txBody>
          <a:bodyPr anchor="ctr"/>
          <a:lstStyle>
            <a:lvl1pPr>
              <a:defRPr sz="1600" b="1">
                <a:solidFill>
                  <a:schemeClr val="accent1"/>
                </a:solidFill>
              </a:defRPr>
            </a:lvl1pPr>
          </a:lstStyle>
          <a:p>
            <a:pPr lvl="0"/>
            <a:r>
              <a:rPr lang="en-US"/>
              <a:t>Click to insert section header</a:t>
            </a:r>
          </a:p>
        </p:txBody>
      </p:sp>
      <p:sp>
        <p:nvSpPr>
          <p:cNvPr id="50" name="Text Placeholder 34">
            <a:extLst>
              <a:ext uri="{FF2B5EF4-FFF2-40B4-BE49-F238E27FC236}">
                <a16:creationId xmlns:a16="http://schemas.microsoft.com/office/drawing/2014/main" id="{20A44A23-27C1-4DDC-9651-67FD9BEE681C}"/>
              </a:ext>
            </a:extLst>
          </p:cNvPr>
          <p:cNvSpPr>
            <a:spLocks noGrp="1"/>
          </p:cNvSpPr>
          <p:nvPr>
            <p:ph type="body" sz="quarter" idx="35" hasCustomPrompt="1"/>
          </p:nvPr>
        </p:nvSpPr>
        <p:spPr>
          <a:xfrm>
            <a:off x="1864679" y="5051526"/>
            <a:ext cx="3759200" cy="406400"/>
          </a:xfrm>
        </p:spPr>
        <p:txBody>
          <a:bodyPr/>
          <a:lstStyle>
            <a:lvl1pPr>
              <a:defRPr sz="1400">
                <a:solidFill>
                  <a:schemeClr val="tx2"/>
                </a:solidFill>
              </a:defRPr>
            </a:lvl1pPr>
            <a:lvl2pPr>
              <a:defRPr sz="1400">
                <a:solidFill>
                  <a:schemeClr val="tx2"/>
                </a:solidFill>
              </a:defRPr>
            </a:lvl2pPr>
            <a:lvl3pPr>
              <a:defRPr sz="1200">
                <a:solidFill>
                  <a:schemeClr val="tx2"/>
                </a:solidFill>
              </a:defRPr>
            </a:lvl3pPr>
            <a:lvl4pPr>
              <a:defRPr sz="1100">
                <a:solidFill>
                  <a:schemeClr val="tx2"/>
                </a:solidFill>
              </a:defRPr>
            </a:lvl4pPr>
            <a:lvl5pPr>
              <a:defRPr sz="105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51" name="Text Placeholder 24">
            <a:extLst>
              <a:ext uri="{FF2B5EF4-FFF2-40B4-BE49-F238E27FC236}">
                <a16:creationId xmlns:a16="http://schemas.microsoft.com/office/drawing/2014/main" id="{FC1018ED-EA2D-4699-8CDF-421605AD871C}"/>
              </a:ext>
            </a:extLst>
          </p:cNvPr>
          <p:cNvSpPr>
            <a:spLocks noGrp="1"/>
          </p:cNvSpPr>
          <p:nvPr>
            <p:ph type="body" sz="quarter" idx="36" hasCustomPrompt="1"/>
          </p:nvPr>
        </p:nvSpPr>
        <p:spPr>
          <a:xfrm>
            <a:off x="6402915" y="1647825"/>
            <a:ext cx="742950" cy="742950"/>
          </a:xfrm>
          <a:ln>
            <a:solidFill>
              <a:schemeClr val="accent1"/>
            </a:solidFill>
          </a:ln>
        </p:spPr>
        <p:txBody>
          <a:bodyPr anchor="ctr"/>
          <a:lstStyle>
            <a:lvl1pPr algn="ctr">
              <a:defRPr sz="2800" b="1">
                <a:solidFill>
                  <a:schemeClr val="accent3"/>
                </a:solidFill>
              </a:defRPr>
            </a:lvl1pPr>
          </a:lstStyle>
          <a:p>
            <a:pPr lvl="0"/>
            <a:r>
              <a:rPr lang="en-US"/>
              <a:t>XX</a:t>
            </a:r>
          </a:p>
        </p:txBody>
      </p:sp>
      <p:sp>
        <p:nvSpPr>
          <p:cNvPr id="54" name="Text Placeholder 40">
            <a:extLst>
              <a:ext uri="{FF2B5EF4-FFF2-40B4-BE49-F238E27FC236}">
                <a16:creationId xmlns:a16="http://schemas.microsoft.com/office/drawing/2014/main" id="{9D64C149-E82C-43EE-8733-E2A8EE4B4DF3}"/>
              </a:ext>
            </a:extLst>
          </p:cNvPr>
          <p:cNvSpPr>
            <a:spLocks noGrp="1"/>
          </p:cNvSpPr>
          <p:nvPr>
            <p:ph type="body" sz="quarter" idx="38" hasCustomPrompt="1"/>
          </p:nvPr>
        </p:nvSpPr>
        <p:spPr>
          <a:xfrm>
            <a:off x="7194443" y="1702697"/>
            <a:ext cx="3759200" cy="281890"/>
          </a:xfrm>
        </p:spPr>
        <p:txBody>
          <a:bodyPr anchor="ctr"/>
          <a:lstStyle>
            <a:lvl1pPr>
              <a:defRPr sz="1600" b="1">
                <a:solidFill>
                  <a:schemeClr val="accent1"/>
                </a:solidFill>
              </a:defRPr>
            </a:lvl1pPr>
          </a:lstStyle>
          <a:p>
            <a:pPr lvl="0"/>
            <a:r>
              <a:rPr lang="en-US"/>
              <a:t>Click to insert section header</a:t>
            </a:r>
          </a:p>
        </p:txBody>
      </p:sp>
      <p:sp>
        <p:nvSpPr>
          <p:cNvPr id="55" name="Text Placeholder 34">
            <a:extLst>
              <a:ext uri="{FF2B5EF4-FFF2-40B4-BE49-F238E27FC236}">
                <a16:creationId xmlns:a16="http://schemas.microsoft.com/office/drawing/2014/main" id="{D2E4DB72-96AF-41F7-9458-12B29D5DB83E}"/>
              </a:ext>
            </a:extLst>
          </p:cNvPr>
          <p:cNvSpPr>
            <a:spLocks noGrp="1"/>
          </p:cNvSpPr>
          <p:nvPr>
            <p:ph type="body" sz="quarter" idx="39" hasCustomPrompt="1"/>
          </p:nvPr>
        </p:nvSpPr>
        <p:spPr>
          <a:xfrm>
            <a:off x="7194443" y="1950510"/>
            <a:ext cx="3759200" cy="406400"/>
          </a:xfrm>
        </p:spPr>
        <p:txBody>
          <a:bodyPr/>
          <a:lstStyle>
            <a:lvl1pPr>
              <a:defRPr sz="1400">
                <a:solidFill>
                  <a:schemeClr val="tx2"/>
                </a:solidFill>
              </a:defRPr>
            </a:lvl1pPr>
            <a:lvl2pPr>
              <a:defRPr sz="1400">
                <a:solidFill>
                  <a:schemeClr val="tx2"/>
                </a:solidFill>
              </a:defRPr>
            </a:lvl2pPr>
            <a:lvl3pPr>
              <a:defRPr sz="1200">
                <a:solidFill>
                  <a:schemeClr val="tx2"/>
                </a:solidFill>
              </a:defRPr>
            </a:lvl3pPr>
            <a:lvl4pPr>
              <a:defRPr sz="1100">
                <a:solidFill>
                  <a:schemeClr val="tx2"/>
                </a:solidFill>
              </a:defRPr>
            </a:lvl4pPr>
            <a:lvl5pPr>
              <a:defRPr sz="105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56" name="Text Placeholder 24">
            <a:extLst>
              <a:ext uri="{FF2B5EF4-FFF2-40B4-BE49-F238E27FC236}">
                <a16:creationId xmlns:a16="http://schemas.microsoft.com/office/drawing/2014/main" id="{C1305558-80E0-4F65-87E6-6E351186DF24}"/>
              </a:ext>
            </a:extLst>
          </p:cNvPr>
          <p:cNvSpPr>
            <a:spLocks noGrp="1"/>
          </p:cNvSpPr>
          <p:nvPr>
            <p:ph type="body" sz="quarter" idx="40" hasCustomPrompt="1"/>
          </p:nvPr>
        </p:nvSpPr>
        <p:spPr>
          <a:xfrm>
            <a:off x="6408207" y="2681497"/>
            <a:ext cx="742950" cy="742950"/>
          </a:xfrm>
          <a:ln>
            <a:solidFill>
              <a:schemeClr val="accent1"/>
            </a:solidFill>
          </a:ln>
        </p:spPr>
        <p:txBody>
          <a:bodyPr anchor="ctr"/>
          <a:lstStyle>
            <a:lvl1pPr algn="ctr">
              <a:defRPr sz="2800" b="1">
                <a:solidFill>
                  <a:schemeClr val="accent3"/>
                </a:solidFill>
              </a:defRPr>
            </a:lvl1pPr>
          </a:lstStyle>
          <a:p>
            <a:pPr lvl="0"/>
            <a:r>
              <a:rPr lang="en-US"/>
              <a:t>XX</a:t>
            </a:r>
          </a:p>
        </p:txBody>
      </p:sp>
      <p:sp>
        <p:nvSpPr>
          <p:cNvPr id="59" name="Text Placeholder 40">
            <a:extLst>
              <a:ext uri="{FF2B5EF4-FFF2-40B4-BE49-F238E27FC236}">
                <a16:creationId xmlns:a16="http://schemas.microsoft.com/office/drawing/2014/main" id="{D46D5A9E-81C0-4D2F-A846-CB8573C03EAB}"/>
              </a:ext>
            </a:extLst>
          </p:cNvPr>
          <p:cNvSpPr>
            <a:spLocks noGrp="1"/>
          </p:cNvSpPr>
          <p:nvPr>
            <p:ph type="body" sz="quarter" idx="42" hasCustomPrompt="1"/>
          </p:nvPr>
        </p:nvSpPr>
        <p:spPr>
          <a:xfrm>
            <a:off x="7199735" y="2736369"/>
            <a:ext cx="3759200" cy="281890"/>
          </a:xfrm>
        </p:spPr>
        <p:txBody>
          <a:bodyPr anchor="ctr"/>
          <a:lstStyle>
            <a:lvl1pPr>
              <a:defRPr sz="1600" b="1">
                <a:solidFill>
                  <a:schemeClr val="accent1"/>
                </a:solidFill>
              </a:defRPr>
            </a:lvl1pPr>
          </a:lstStyle>
          <a:p>
            <a:pPr lvl="0"/>
            <a:r>
              <a:rPr lang="en-US"/>
              <a:t>Click to insert section header</a:t>
            </a:r>
          </a:p>
        </p:txBody>
      </p:sp>
      <p:sp>
        <p:nvSpPr>
          <p:cNvPr id="60" name="Text Placeholder 34">
            <a:extLst>
              <a:ext uri="{FF2B5EF4-FFF2-40B4-BE49-F238E27FC236}">
                <a16:creationId xmlns:a16="http://schemas.microsoft.com/office/drawing/2014/main" id="{54B80F2C-F0FD-4E25-811A-9283D82DAF51}"/>
              </a:ext>
            </a:extLst>
          </p:cNvPr>
          <p:cNvSpPr>
            <a:spLocks noGrp="1"/>
          </p:cNvSpPr>
          <p:nvPr>
            <p:ph type="body" sz="quarter" idx="43" hasCustomPrompt="1"/>
          </p:nvPr>
        </p:nvSpPr>
        <p:spPr>
          <a:xfrm>
            <a:off x="7199735" y="2984182"/>
            <a:ext cx="3759200" cy="406400"/>
          </a:xfrm>
        </p:spPr>
        <p:txBody>
          <a:bodyPr/>
          <a:lstStyle>
            <a:lvl1pPr>
              <a:defRPr sz="1400">
                <a:solidFill>
                  <a:schemeClr val="tx2"/>
                </a:solidFill>
              </a:defRPr>
            </a:lvl1pPr>
            <a:lvl2pPr>
              <a:defRPr sz="1400">
                <a:solidFill>
                  <a:schemeClr val="tx2"/>
                </a:solidFill>
              </a:defRPr>
            </a:lvl2pPr>
            <a:lvl3pPr>
              <a:defRPr sz="1200">
                <a:solidFill>
                  <a:schemeClr val="tx2"/>
                </a:solidFill>
              </a:defRPr>
            </a:lvl3pPr>
            <a:lvl4pPr>
              <a:defRPr sz="1100">
                <a:solidFill>
                  <a:schemeClr val="tx2"/>
                </a:solidFill>
              </a:defRPr>
            </a:lvl4pPr>
            <a:lvl5pPr>
              <a:defRPr sz="105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61" name="Text Placeholder 24">
            <a:extLst>
              <a:ext uri="{FF2B5EF4-FFF2-40B4-BE49-F238E27FC236}">
                <a16:creationId xmlns:a16="http://schemas.microsoft.com/office/drawing/2014/main" id="{4739CDE3-6CE1-44C7-90CB-DF720300FF0D}"/>
              </a:ext>
            </a:extLst>
          </p:cNvPr>
          <p:cNvSpPr>
            <a:spLocks noGrp="1"/>
          </p:cNvSpPr>
          <p:nvPr>
            <p:ph type="body" sz="quarter" idx="44" hasCustomPrompt="1"/>
          </p:nvPr>
        </p:nvSpPr>
        <p:spPr>
          <a:xfrm>
            <a:off x="6413499" y="3715169"/>
            <a:ext cx="742950" cy="742950"/>
          </a:xfrm>
          <a:ln>
            <a:solidFill>
              <a:schemeClr val="accent1"/>
            </a:solidFill>
          </a:ln>
        </p:spPr>
        <p:txBody>
          <a:bodyPr anchor="ctr"/>
          <a:lstStyle>
            <a:lvl1pPr algn="ctr">
              <a:defRPr sz="2800" b="1">
                <a:solidFill>
                  <a:schemeClr val="accent3"/>
                </a:solidFill>
              </a:defRPr>
            </a:lvl1pPr>
          </a:lstStyle>
          <a:p>
            <a:pPr lvl="0"/>
            <a:r>
              <a:rPr lang="en-US"/>
              <a:t>XX</a:t>
            </a:r>
          </a:p>
        </p:txBody>
      </p:sp>
      <p:sp>
        <p:nvSpPr>
          <p:cNvPr id="64" name="Text Placeholder 40">
            <a:extLst>
              <a:ext uri="{FF2B5EF4-FFF2-40B4-BE49-F238E27FC236}">
                <a16:creationId xmlns:a16="http://schemas.microsoft.com/office/drawing/2014/main" id="{37EFE857-5A7B-4AC3-A29E-F91040E537DA}"/>
              </a:ext>
            </a:extLst>
          </p:cNvPr>
          <p:cNvSpPr>
            <a:spLocks noGrp="1"/>
          </p:cNvSpPr>
          <p:nvPr>
            <p:ph type="body" sz="quarter" idx="46" hasCustomPrompt="1"/>
          </p:nvPr>
        </p:nvSpPr>
        <p:spPr>
          <a:xfrm>
            <a:off x="7205027" y="3770041"/>
            <a:ext cx="3759200" cy="281890"/>
          </a:xfrm>
        </p:spPr>
        <p:txBody>
          <a:bodyPr anchor="ctr"/>
          <a:lstStyle>
            <a:lvl1pPr>
              <a:defRPr sz="1600" b="1">
                <a:solidFill>
                  <a:schemeClr val="accent1"/>
                </a:solidFill>
              </a:defRPr>
            </a:lvl1pPr>
          </a:lstStyle>
          <a:p>
            <a:pPr lvl="0"/>
            <a:r>
              <a:rPr lang="en-US"/>
              <a:t>Click to insert section header</a:t>
            </a:r>
          </a:p>
        </p:txBody>
      </p:sp>
      <p:sp>
        <p:nvSpPr>
          <p:cNvPr id="65" name="Text Placeholder 34">
            <a:extLst>
              <a:ext uri="{FF2B5EF4-FFF2-40B4-BE49-F238E27FC236}">
                <a16:creationId xmlns:a16="http://schemas.microsoft.com/office/drawing/2014/main" id="{DEA8EC19-2532-459D-8C73-11D0DCA049F4}"/>
              </a:ext>
            </a:extLst>
          </p:cNvPr>
          <p:cNvSpPr>
            <a:spLocks noGrp="1"/>
          </p:cNvSpPr>
          <p:nvPr>
            <p:ph type="body" sz="quarter" idx="47" hasCustomPrompt="1"/>
          </p:nvPr>
        </p:nvSpPr>
        <p:spPr>
          <a:xfrm>
            <a:off x="7205027" y="4017854"/>
            <a:ext cx="3759200" cy="406400"/>
          </a:xfrm>
        </p:spPr>
        <p:txBody>
          <a:bodyPr/>
          <a:lstStyle>
            <a:lvl1pPr>
              <a:defRPr sz="1400">
                <a:solidFill>
                  <a:schemeClr val="tx2"/>
                </a:solidFill>
              </a:defRPr>
            </a:lvl1pPr>
            <a:lvl2pPr>
              <a:defRPr sz="1400">
                <a:solidFill>
                  <a:schemeClr val="tx2"/>
                </a:solidFill>
              </a:defRPr>
            </a:lvl2pPr>
            <a:lvl3pPr>
              <a:defRPr sz="1200">
                <a:solidFill>
                  <a:schemeClr val="tx2"/>
                </a:solidFill>
              </a:defRPr>
            </a:lvl3pPr>
            <a:lvl4pPr>
              <a:defRPr sz="1100">
                <a:solidFill>
                  <a:schemeClr val="tx2"/>
                </a:solidFill>
              </a:defRPr>
            </a:lvl4pPr>
            <a:lvl5pPr>
              <a:defRPr sz="105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66" name="Text Placeholder 24">
            <a:extLst>
              <a:ext uri="{FF2B5EF4-FFF2-40B4-BE49-F238E27FC236}">
                <a16:creationId xmlns:a16="http://schemas.microsoft.com/office/drawing/2014/main" id="{E6569E10-EA2E-4BDC-B764-706A0E496630}"/>
              </a:ext>
            </a:extLst>
          </p:cNvPr>
          <p:cNvSpPr>
            <a:spLocks noGrp="1"/>
          </p:cNvSpPr>
          <p:nvPr>
            <p:ph type="body" sz="quarter" idx="48" hasCustomPrompt="1"/>
          </p:nvPr>
        </p:nvSpPr>
        <p:spPr>
          <a:xfrm>
            <a:off x="6418791" y="4748841"/>
            <a:ext cx="742950" cy="742950"/>
          </a:xfrm>
          <a:ln>
            <a:solidFill>
              <a:schemeClr val="accent1"/>
            </a:solidFill>
          </a:ln>
        </p:spPr>
        <p:txBody>
          <a:bodyPr anchor="ctr"/>
          <a:lstStyle>
            <a:lvl1pPr algn="ctr">
              <a:defRPr sz="2800" b="1">
                <a:solidFill>
                  <a:schemeClr val="accent3"/>
                </a:solidFill>
              </a:defRPr>
            </a:lvl1pPr>
          </a:lstStyle>
          <a:p>
            <a:pPr lvl="0"/>
            <a:r>
              <a:rPr lang="en-US"/>
              <a:t>XX</a:t>
            </a:r>
          </a:p>
        </p:txBody>
      </p:sp>
      <p:sp>
        <p:nvSpPr>
          <p:cNvPr id="69" name="Text Placeholder 40">
            <a:extLst>
              <a:ext uri="{FF2B5EF4-FFF2-40B4-BE49-F238E27FC236}">
                <a16:creationId xmlns:a16="http://schemas.microsoft.com/office/drawing/2014/main" id="{1F8463EB-6682-4227-8190-F841CF88C1CA}"/>
              </a:ext>
            </a:extLst>
          </p:cNvPr>
          <p:cNvSpPr>
            <a:spLocks noGrp="1"/>
          </p:cNvSpPr>
          <p:nvPr>
            <p:ph type="body" sz="quarter" idx="50" hasCustomPrompt="1"/>
          </p:nvPr>
        </p:nvSpPr>
        <p:spPr>
          <a:xfrm>
            <a:off x="7210319" y="4803713"/>
            <a:ext cx="3759200" cy="281890"/>
          </a:xfrm>
        </p:spPr>
        <p:txBody>
          <a:bodyPr anchor="ctr"/>
          <a:lstStyle>
            <a:lvl1pPr>
              <a:defRPr sz="1600" b="1">
                <a:solidFill>
                  <a:schemeClr val="accent1"/>
                </a:solidFill>
              </a:defRPr>
            </a:lvl1pPr>
          </a:lstStyle>
          <a:p>
            <a:pPr lvl="0"/>
            <a:r>
              <a:rPr lang="en-US"/>
              <a:t>Click to insert section header</a:t>
            </a:r>
          </a:p>
        </p:txBody>
      </p:sp>
      <p:sp>
        <p:nvSpPr>
          <p:cNvPr id="70" name="Text Placeholder 34">
            <a:extLst>
              <a:ext uri="{FF2B5EF4-FFF2-40B4-BE49-F238E27FC236}">
                <a16:creationId xmlns:a16="http://schemas.microsoft.com/office/drawing/2014/main" id="{76615C5B-851D-4A47-A2E8-DF5D2AE25F0C}"/>
              </a:ext>
            </a:extLst>
          </p:cNvPr>
          <p:cNvSpPr>
            <a:spLocks noGrp="1"/>
          </p:cNvSpPr>
          <p:nvPr>
            <p:ph type="body" sz="quarter" idx="51" hasCustomPrompt="1"/>
          </p:nvPr>
        </p:nvSpPr>
        <p:spPr>
          <a:xfrm>
            <a:off x="7210319" y="5051526"/>
            <a:ext cx="3759200" cy="406400"/>
          </a:xfrm>
        </p:spPr>
        <p:txBody>
          <a:bodyPr/>
          <a:lstStyle>
            <a:lvl1pPr>
              <a:defRPr sz="1400">
                <a:solidFill>
                  <a:schemeClr val="tx2"/>
                </a:solidFill>
              </a:defRPr>
            </a:lvl1pPr>
            <a:lvl2pPr>
              <a:defRPr sz="1400">
                <a:solidFill>
                  <a:schemeClr val="tx2"/>
                </a:solidFill>
              </a:defRPr>
            </a:lvl2pPr>
            <a:lvl3pPr>
              <a:defRPr sz="1200">
                <a:solidFill>
                  <a:schemeClr val="tx2"/>
                </a:solidFill>
              </a:defRPr>
            </a:lvl3pPr>
            <a:lvl4pPr>
              <a:defRPr sz="1100">
                <a:solidFill>
                  <a:schemeClr val="tx2"/>
                </a:solidFill>
              </a:defRPr>
            </a:lvl4pPr>
            <a:lvl5pPr>
              <a:defRPr sz="105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71" name="Text Placeholder 43">
            <a:extLst>
              <a:ext uri="{FF2B5EF4-FFF2-40B4-BE49-F238E27FC236}">
                <a16:creationId xmlns:a16="http://schemas.microsoft.com/office/drawing/2014/main" id="{4767FECE-C4CA-4341-80D8-D2242483D746}"/>
              </a:ext>
            </a:extLst>
          </p:cNvPr>
          <p:cNvSpPr>
            <a:spLocks noGrp="1"/>
          </p:cNvSpPr>
          <p:nvPr>
            <p:ph type="body" sz="quarter" idx="52" hasCustomPrompt="1"/>
          </p:nvPr>
        </p:nvSpPr>
        <p:spPr>
          <a:xfrm>
            <a:off x="1057275" y="1647824"/>
            <a:ext cx="138113" cy="138113"/>
          </a:xfrm>
          <a:custGeom>
            <a:avLst/>
            <a:gdLst>
              <a:gd name="connsiteX0" fmla="*/ 0 w 272115"/>
              <a:gd name="connsiteY0" fmla="*/ 0 h 272115"/>
              <a:gd name="connsiteX1" fmla="*/ 272115 w 272115"/>
              <a:gd name="connsiteY1" fmla="*/ 0 h 272115"/>
              <a:gd name="connsiteX2" fmla="*/ 0 w 272115"/>
              <a:gd name="connsiteY2" fmla="*/ 272115 h 272115"/>
            </a:gdLst>
            <a:ahLst/>
            <a:cxnLst>
              <a:cxn ang="0">
                <a:pos x="connsiteX0" y="connsiteY0"/>
              </a:cxn>
              <a:cxn ang="0">
                <a:pos x="connsiteX1" y="connsiteY1"/>
              </a:cxn>
              <a:cxn ang="0">
                <a:pos x="connsiteX2" y="connsiteY2"/>
              </a:cxn>
            </a:cxnLst>
            <a:rect l="l" t="t" r="r" b="b"/>
            <a:pathLst>
              <a:path w="272115" h="272115">
                <a:moveTo>
                  <a:pt x="0" y="0"/>
                </a:moveTo>
                <a:lnTo>
                  <a:pt x="272115" y="0"/>
                </a:lnTo>
                <a:lnTo>
                  <a:pt x="0" y="272115"/>
                </a:lnTo>
                <a:close/>
              </a:path>
            </a:pathLst>
          </a:custGeom>
          <a:solidFill>
            <a:schemeClr val="accent1"/>
          </a:solidFill>
        </p:spPr>
        <p:txBody>
          <a:bodyPr wrap="square">
            <a:noAutofit/>
          </a:bodyPr>
          <a:lstStyle/>
          <a:p>
            <a:pPr lvl="0"/>
            <a:r>
              <a:rPr lang="en-US"/>
              <a:t> </a:t>
            </a:r>
          </a:p>
        </p:txBody>
      </p:sp>
      <p:sp>
        <p:nvSpPr>
          <p:cNvPr id="72" name="Text Placeholder 43">
            <a:extLst>
              <a:ext uri="{FF2B5EF4-FFF2-40B4-BE49-F238E27FC236}">
                <a16:creationId xmlns:a16="http://schemas.microsoft.com/office/drawing/2014/main" id="{C9924F5D-0876-4D1F-82DD-769FBA139D9D}"/>
              </a:ext>
            </a:extLst>
          </p:cNvPr>
          <p:cNvSpPr>
            <a:spLocks noGrp="1"/>
          </p:cNvSpPr>
          <p:nvPr>
            <p:ph type="body" sz="quarter" idx="53" hasCustomPrompt="1"/>
          </p:nvPr>
        </p:nvSpPr>
        <p:spPr>
          <a:xfrm>
            <a:off x="1062567" y="2681496"/>
            <a:ext cx="138113" cy="138113"/>
          </a:xfrm>
          <a:custGeom>
            <a:avLst/>
            <a:gdLst>
              <a:gd name="connsiteX0" fmla="*/ 0 w 272115"/>
              <a:gd name="connsiteY0" fmla="*/ 0 h 272115"/>
              <a:gd name="connsiteX1" fmla="*/ 272115 w 272115"/>
              <a:gd name="connsiteY1" fmla="*/ 0 h 272115"/>
              <a:gd name="connsiteX2" fmla="*/ 0 w 272115"/>
              <a:gd name="connsiteY2" fmla="*/ 272115 h 272115"/>
            </a:gdLst>
            <a:ahLst/>
            <a:cxnLst>
              <a:cxn ang="0">
                <a:pos x="connsiteX0" y="connsiteY0"/>
              </a:cxn>
              <a:cxn ang="0">
                <a:pos x="connsiteX1" y="connsiteY1"/>
              </a:cxn>
              <a:cxn ang="0">
                <a:pos x="connsiteX2" y="connsiteY2"/>
              </a:cxn>
            </a:cxnLst>
            <a:rect l="l" t="t" r="r" b="b"/>
            <a:pathLst>
              <a:path w="272115" h="272115">
                <a:moveTo>
                  <a:pt x="0" y="0"/>
                </a:moveTo>
                <a:lnTo>
                  <a:pt x="272115" y="0"/>
                </a:lnTo>
                <a:lnTo>
                  <a:pt x="0" y="272115"/>
                </a:lnTo>
                <a:close/>
              </a:path>
            </a:pathLst>
          </a:custGeom>
          <a:solidFill>
            <a:schemeClr val="accent1"/>
          </a:solidFill>
        </p:spPr>
        <p:txBody>
          <a:bodyPr wrap="square">
            <a:noAutofit/>
          </a:bodyPr>
          <a:lstStyle/>
          <a:p>
            <a:pPr lvl="0"/>
            <a:r>
              <a:rPr lang="en-US"/>
              <a:t> </a:t>
            </a:r>
          </a:p>
        </p:txBody>
      </p:sp>
      <p:sp>
        <p:nvSpPr>
          <p:cNvPr id="73" name="Text Placeholder 43">
            <a:extLst>
              <a:ext uri="{FF2B5EF4-FFF2-40B4-BE49-F238E27FC236}">
                <a16:creationId xmlns:a16="http://schemas.microsoft.com/office/drawing/2014/main" id="{5DAFA42B-9676-4425-A96B-3AF0CF6A6600}"/>
              </a:ext>
            </a:extLst>
          </p:cNvPr>
          <p:cNvSpPr>
            <a:spLocks noGrp="1"/>
          </p:cNvSpPr>
          <p:nvPr>
            <p:ph type="body" sz="quarter" idx="54" hasCustomPrompt="1"/>
          </p:nvPr>
        </p:nvSpPr>
        <p:spPr>
          <a:xfrm>
            <a:off x="1067859" y="3715168"/>
            <a:ext cx="138113" cy="138113"/>
          </a:xfrm>
          <a:custGeom>
            <a:avLst/>
            <a:gdLst>
              <a:gd name="connsiteX0" fmla="*/ 0 w 272115"/>
              <a:gd name="connsiteY0" fmla="*/ 0 h 272115"/>
              <a:gd name="connsiteX1" fmla="*/ 272115 w 272115"/>
              <a:gd name="connsiteY1" fmla="*/ 0 h 272115"/>
              <a:gd name="connsiteX2" fmla="*/ 0 w 272115"/>
              <a:gd name="connsiteY2" fmla="*/ 272115 h 272115"/>
            </a:gdLst>
            <a:ahLst/>
            <a:cxnLst>
              <a:cxn ang="0">
                <a:pos x="connsiteX0" y="connsiteY0"/>
              </a:cxn>
              <a:cxn ang="0">
                <a:pos x="connsiteX1" y="connsiteY1"/>
              </a:cxn>
              <a:cxn ang="0">
                <a:pos x="connsiteX2" y="connsiteY2"/>
              </a:cxn>
            </a:cxnLst>
            <a:rect l="l" t="t" r="r" b="b"/>
            <a:pathLst>
              <a:path w="272115" h="272115">
                <a:moveTo>
                  <a:pt x="0" y="0"/>
                </a:moveTo>
                <a:lnTo>
                  <a:pt x="272115" y="0"/>
                </a:lnTo>
                <a:lnTo>
                  <a:pt x="0" y="272115"/>
                </a:lnTo>
                <a:close/>
              </a:path>
            </a:pathLst>
          </a:custGeom>
          <a:solidFill>
            <a:schemeClr val="accent1"/>
          </a:solidFill>
        </p:spPr>
        <p:txBody>
          <a:bodyPr wrap="square">
            <a:noAutofit/>
          </a:bodyPr>
          <a:lstStyle/>
          <a:p>
            <a:pPr lvl="0"/>
            <a:r>
              <a:rPr lang="en-US"/>
              <a:t> </a:t>
            </a:r>
          </a:p>
        </p:txBody>
      </p:sp>
      <p:sp>
        <p:nvSpPr>
          <p:cNvPr id="74" name="Text Placeholder 43">
            <a:extLst>
              <a:ext uri="{FF2B5EF4-FFF2-40B4-BE49-F238E27FC236}">
                <a16:creationId xmlns:a16="http://schemas.microsoft.com/office/drawing/2014/main" id="{8D9F4510-6AED-4F85-BDB9-6ADA7743038C}"/>
              </a:ext>
            </a:extLst>
          </p:cNvPr>
          <p:cNvSpPr>
            <a:spLocks noGrp="1"/>
          </p:cNvSpPr>
          <p:nvPr>
            <p:ph type="body" sz="quarter" idx="55" hasCustomPrompt="1"/>
          </p:nvPr>
        </p:nvSpPr>
        <p:spPr>
          <a:xfrm>
            <a:off x="1073151" y="4748840"/>
            <a:ext cx="138113" cy="138113"/>
          </a:xfrm>
          <a:custGeom>
            <a:avLst/>
            <a:gdLst>
              <a:gd name="connsiteX0" fmla="*/ 0 w 272115"/>
              <a:gd name="connsiteY0" fmla="*/ 0 h 272115"/>
              <a:gd name="connsiteX1" fmla="*/ 272115 w 272115"/>
              <a:gd name="connsiteY1" fmla="*/ 0 h 272115"/>
              <a:gd name="connsiteX2" fmla="*/ 0 w 272115"/>
              <a:gd name="connsiteY2" fmla="*/ 272115 h 272115"/>
            </a:gdLst>
            <a:ahLst/>
            <a:cxnLst>
              <a:cxn ang="0">
                <a:pos x="connsiteX0" y="connsiteY0"/>
              </a:cxn>
              <a:cxn ang="0">
                <a:pos x="connsiteX1" y="connsiteY1"/>
              </a:cxn>
              <a:cxn ang="0">
                <a:pos x="connsiteX2" y="connsiteY2"/>
              </a:cxn>
            </a:cxnLst>
            <a:rect l="l" t="t" r="r" b="b"/>
            <a:pathLst>
              <a:path w="272115" h="272115">
                <a:moveTo>
                  <a:pt x="0" y="0"/>
                </a:moveTo>
                <a:lnTo>
                  <a:pt x="272115" y="0"/>
                </a:lnTo>
                <a:lnTo>
                  <a:pt x="0" y="272115"/>
                </a:lnTo>
                <a:close/>
              </a:path>
            </a:pathLst>
          </a:custGeom>
          <a:solidFill>
            <a:schemeClr val="accent1"/>
          </a:solidFill>
        </p:spPr>
        <p:txBody>
          <a:bodyPr wrap="square">
            <a:noAutofit/>
          </a:bodyPr>
          <a:lstStyle/>
          <a:p>
            <a:pPr lvl="0"/>
            <a:r>
              <a:rPr lang="en-US"/>
              <a:t> </a:t>
            </a:r>
          </a:p>
        </p:txBody>
      </p:sp>
      <p:sp>
        <p:nvSpPr>
          <p:cNvPr id="75" name="Text Placeholder 43">
            <a:extLst>
              <a:ext uri="{FF2B5EF4-FFF2-40B4-BE49-F238E27FC236}">
                <a16:creationId xmlns:a16="http://schemas.microsoft.com/office/drawing/2014/main" id="{46B18147-D536-4616-B040-5A1BF92DAF6B}"/>
              </a:ext>
            </a:extLst>
          </p:cNvPr>
          <p:cNvSpPr>
            <a:spLocks noGrp="1"/>
          </p:cNvSpPr>
          <p:nvPr>
            <p:ph type="body" sz="quarter" idx="56" hasCustomPrompt="1"/>
          </p:nvPr>
        </p:nvSpPr>
        <p:spPr>
          <a:xfrm>
            <a:off x="6402915" y="1647824"/>
            <a:ext cx="138113" cy="138113"/>
          </a:xfrm>
          <a:custGeom>
            <a:avLst/>
            <a:gdLst>
              <a:gd name="connsiteX0" fmla="*/ 0 w 272115"/>
              <a:gd name="connsiteY0" fmla="*/ 0 h 272115"/>
              <a:gd name="connsiteX1" fmla="*/ 272115 w 272115"/>
              <a:gd name="connsiteY1" fmla="*/ 0 h 272115"/>
              <a:gd name="connsiteX2" fmla="*/ 0 w 272115"/>
              <a:gd name="connsiteY2" fmla="*/ 272115 h 272115"/>
            </a:gdLst>
            <a:ahLst/>
            <a:cxnLst>
              <a:cxn ang="0">
                <a:pos x="connsiteX0" y="connsiteY0"/>
              </a:cxn>
              <a:cxn ang="0">
                <a:pos x="connsiteX1" y="connsiteY1"/>
              </a:cxn>
              <a:cxn ang="0">
                <a:pos x="connsiteX2" y="connsiteY2"/>
              </a:cxn>
            </a:cxnLst>
            <a:rect l="l" t="t" r="r" b="b"/>
            <a:pathLst>
              <a:path w="272115" h="272115">
                <a:moveTo>
                  <a:pt x="0" y="0"/>
                </a:moveTo>
                <a:lnTo>
                  <a:pt x="272115" y="0"/>
                </a:lnTo>
                <a:lnTo>
                  <a:pt x="0" y="272115"/>
                </a:lnTo>
                <a:close/>
              </a:path>
            </a:pathLst>
          </a:custGeom>
          <a:solidFill>
            <a:schemeClr val="accent1"/>
          </a:solidFill>
        </p:spPr>
        <p:txBody>
          <a:bodyPr wrap="square">
            <a:noAutofit/>
          </a:bodyPr>
          <a:lstStyle/>
          <a:p>
            <a:pPr lvl="0"/>
            <a:r>
              <a:rPr lang="en-US"/>
              <a:t> </a:t>
            </a:r>
          </a:p>
        </p:txBody>
      </p:sp>
      <p:sp>
        <p:nvSpPr>
          <p:cNvPr id="76" name="Text Placeholder 43">
            <a:extLst>
              <a:ext uri="{FF2B5EF4-FFF2-40B4-BE49-F238E27FC236}">
                <a16:creationId xmlns:a16="http://schemas.microsoft.com/office/drawing/2014/main" id="{63ED5499-671D-4C2E-9698-525ABE5A7704}"/>
              </a:ext>
            </a:extLst>
          </p:cNvPr>
          <p:cNvSpPr>
            <a:spLocks noGrp="1"/>
          </p:cNvSpPr>
          <p:nvPr>
            <p:ph type="body" sz="quarter" idx="57" hasCustomPrompt="1"/>
          </p:nvPr>
        </p:nvSpPr>
        <p:spPr>
          <a:xfrm>
            <a:off x="6408207" y="2681496"/>
            <a:ext cx="138113" cy="138113"/>
          </a:xfrm>
          <a:custGeom>
            <a:avLst/>
            <a:gdLst>
              <a:gd name="connsiteX0" fmla="*/ 0 w 272115"/>
              <a:gd name="connsiteY0" fmla="*/ 0 h 272115"/>
              <a:gd name="connsiteX1" fmla="*/ 272115 w 272115"/>
              <a:gd name="connsiteY1" fmla="*/ 0 h 272115"/>
              <a:gd name="connsiteX2" fmla="*/ 0 w 272115"/>
              <a:gd name="connsiteY2" fmla="*/ 272115 h 272115"/>
            </a:gdLst>
            <a:ahLst/>
            <a:cxnLst>
              <a:cxn ang="0">
                <a:pos x="connsiteX0" y="connsiteY0"/>
              </a:cxn>
              <a:cxn ang="0">
                <a:pos x="connsiteX1" y="connsiteY1"/>
              </a:cxn>
              <a:cxn ang="0">
                <a:pos x="connsiteX2" y="connsiteY2"/>
              </a:cxn>
            </a:cxnLst>
            <a:rect l="l" t="t" r="r" b="b"/>
            <a:pathLst>
              <a:path w="272115" h="272115">
                <a:moveTo>
                  <a:pt x="0" y="0"/>
                </a:moveTo>
                <a:lnTo>
                  <a:pt x="272115" y="0"/>
                </a:lnTo>
                <a:lnTo>
                  <a:pt x="0" y="272115"/>
                </a:lnTo>
                <a:close/>
              </a:path>
            </a:pathLst>
          </a:custGeom>
          <a:solidFill>
            <a:schemeClr val="accent1"/>
          </a:solidFill>
        </p:spPr>
        <p:txBody>
          <a:bodyPr wrap="square">
            <a:noAutofit/>
          </a:bodyPr>
          <a:lstStyle/>
          <a:p>
            <a:pPr lvl="0"/>
            <a:r>
              <a:rPr lang="en-US"/>
              <a:t> </a:t>
            </a:r>
          </a:p>
        </p:txBody>
      </p:sp>
      <p:sp>
        <p:nvSpPr>
          <p:cNvPr id="77" name="Text Placeholder 43">
            <a:extLst>
              <a:ext uri="{FF2B5EF4-FFF2-40B4-BE49-F238E27FC236}">
                <a16:creationId xmlns:a16="http://schemas.microsoft.com/office/drawing/2014/main" id="{4000CFA9-E7D3-4D1E-B9A5-32C17F3A7A41}"/>
              </a:ext>
            </a:extLst>
          </p:cNvPr>
          <p:cNvSpPr>
            <a:spLocks noGrp="1"/>
          </p:cNvSpPr>
          <p:nvPr>
            <p:ph type="body" sz="quarter" idx="58" hasCustomPrompt="1"/>
          </p:nvPr>
        </p:nvSpPr>
        <p:spPr>
          <a:xfrm>
            <a:off x="6413499" y="3715168"/>
            <a:ext cx="138113" cy="138113"/>
          </a:xfrm>
          <a:custGeom>
            <a:avLst/>
            <a:gdLst>
              <a:gd name="connsiteX0" fmla="*/ 0 w 272115"/>
              <a:gd name="connsiteY0" fmla="*/ 0 h 272115"/>
              <a:gd name="connsiteX1" fmla="*/ 272115 w 272115"/>
              <a:gd name="connsiteY1" fmla="*/ 0 h 272115"/>
              <a:gd name="connsiteX2" fmla="*/ 0 w 272115"/>
              <a:gd name="connsiteY2" fmla="*/ 272115 h 272115"/>
            </a:gdLst>
            <a:ahLst/>
            <a:cxnLst>
              <a:cxn ang="0">
                <a:pos x="connsiteX0" y="connsiteY0"/>
              </a:cxn>
              <a:cxn ang="0">
                <a:pos x="connsiteX1" y="connsiteY1"/>
              </a:cxn>
              <a:cxn ang="0">
                <a:pos x="connsiteX2" y="connsiteY2"/>
              </a:cxn>
            </a:cxnLst>
            <a:rect l="l" t="t" r="r" b="b"/>
            <a:pathLst>
              <a:path w="272115" h="272115">
                <a:moveTo>
                  <a:pt x="0" y="0"/>
                </a:moveTo>
                <a:lnTo>
                  <a:pt x="272115" y="0"/>
                </a:lnTo>
                <a:lnTo>
                  <a:pt x="0" y="272115"/>
                </a:lnTo>
                <a:close/>
              </a:path>
            </a:pathLst>
          </a:custGeom>
          <a:solidFill>
            <a:schemeClr val="accent1"/>
          </a:solidFill>
        </p:spPr>
        <p:txBody>
          <a:bodyPr wrap="square">
            <a:noAutofit/>
          </a:bodyPr>
          <a:lstStyle/>
          <a:p>
            <a:pPr lvl="0"/>
            <a:r>
              <a:rPr lang="en-US"/>
              <a:t> </a:t>
            </a:r>
          </a:p>
        </p:txBody>
      </p:sp>
      <p:sp>
        <p:nvSpPr>
          <p:cNvPr id="78" name="Text Placeholder 43">
            <a:extLst>
              <a:ext uri="{FF2B5EF4-FFF2-40B4-BE49-F238E27FC236}">
                <a16:creationId xmlns:a16="http://schemas.microsoft.com/office/drawing/2014/main" id="{30DF7B2E-BC25-4EB1-9EE3-70B47B0B7627}"/>
              </a:ext>
            </a:extLst>
          </p:cNvPr>
          <p:cNvSpPr>
            <a:spLocks noGrp="1"/>
          </p:cNvSpPr>
          <p:nvPr>
            <p:ph type="body" sz="quarter" idx="59" hasCustomPrompt="1"/>
          </p:nvPr>
        </p:nvSpPr>
        <p:spPr>
          <a:xfrm>
            <a:off x="6418791" y="4748840"/>
            <a:ext cx="138113" cy="138113"/>
          </a:xfrm>
          <a:custGeom>
            <a:avLst/>
            <a:gdLst>
              <a:gd name="connsiteX0" fmla="*/ 0 w 272115"/>
              <a:gd name="connsiteY0" fmla="*/ 0 h 272115"/>
              <a:gd name="connsiteX1" fmla="*/ 272115 w 272115"/>
              <a:gd name="connsiteY1" fmla="*/ 0 h 272115"/>
              <a:gd name="connsiteX2" fmla="*/ 0 w 272115"/>
              <a:gd name="connsiteY2" fmla="*/ 272115 h 272115"/>
            </a:gdLst>
            <a:ahLst/>
            <a:cxnLst>
              <a:cxn ang="0">
                <a:pos x="connsiteX0" y="connsiteY0"/>
              </a:cxn>
              <a:cxn ang="0">
                <a:pos x="connsiteX1" y="connsiteY1"/>
              </a:cxn>
              <a:cxn ang="0">
                <a:pos x="connsiteX2" y="connsiteY2"/>
              </a:cxn>
            </a:cxnLst>
            <a:rect l="l" t="t" r="r" b="b"/>
            <a:pathLst>
              <a:path w="272115" h="272115">
                <a:moveTo>
                  <a:pt x="0" y="0"/>
                </a:moveTo>
                <a:lnTo>
                  <a:pt x="272115" y="0"/>
                </a:lnTo>
                <a:lnTo>
                  <a:pt x="0" y="272115"/>
                </a:lnTo>
                <a:close/>
              </a:path>
            </a:pathLst>
          </a:custGeom>
          <a:solidFill>
            <a:schemeClr val="accent1"/>
          </a:solidFill>
        </p:spPr>
        <p:txBody>
          <a:bodyPr wrap="square">
            <a:noAutofit/>
          </a:bodyPr>
          <a:lstStyle/>
          <a:p>
            <a:pPr lvl="0"/>
            <a:r>
              <a:rPr lang="en-US"/>
              <a:t> </a:t>
            </a:r>
          </a:p>
        </p:txBody>
      </p:sp>
      <p:sp>
        <p:nvSpPr>
          <p:cNvPr id="84" name="Freeform: Shape 83">
            <a:extLst>
              <a:ext uri="{FF2B5EF4-FFF2-40B4-BE49-F238E27FC236}">
                <a16:creationId xmlns:a16="http://schemas.microsoft.com/office/drawing/2014/main" id="{FA3EBE4F-1199-4BD2-A66F-8776B18CACEC}"/>
              </a:ext>
            </a:extLst>
          </p:cNvPr>
          <p:cNvSpPr/>
          <p:nvPr userDrawn="1"/>
        </p:nvSpPr>
        <p:spPr>
          <a:xfrm>
            <a:off x="223837" y="223838"/>
            <a:ext cx="11744326" cy="6262686"/>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dirty="0">
              <a:solidFill>
                <a:schemeClr val="tx1"/>
              </a:solidFill>
            </a:endParaRPr>
          </a:p>
        </p:txBody>
      </p:sp>
      <p:sp>
        <p:nvSpPr>
          <p:cNvPr id="2" name="Title 1">
            <a:extLst>
              <a:ext uri="{FF2B5EF4-FFF2-40B4-BE49-F238E27FC236}">
                <a16:creationId xmlns:a16="http://schemas.microsoft.com/office/drawing/2014/main" id="{B8A70C86-D09E-453A-B409-A44FEBAD92A5}"/>
              </a:ext>
            </a:extLst>
          </p:cNvPr>
          <p:cNvSpPr>
            <a:spLocks noGrp="1"/>
          </p:cNvSpPr>
          <p:nvPr>
            <p:ph type="title" hasCustomPrompt="1"/>
          </p:nvPr>
        </p:nvSpPr>
        <p:spPr>
          <a:xfrm>
            <a:off x="1089027" y="706279"/>
            <a:ext cx="10013946" cy="406241"/>
          </a:xfrm>
        </p:spPr>
        <p:txBody>
          <a:bodyPr/>
          <a:lstStyle>
            <a:lvl1pPr algn="ctr">
              <a:defRPr>
                <a:solidFill>
                  <a:schemeClr val="accent1"/>
                </a:solidFill>
              </a:defRPr>
            </a:lvl1pPr>
          </a:lstStyle>
          <a:p>
            <a:r>
              <a:rPr lang="en-US"/>
              <a:t>Click to insert title</a:t>
            </a:r>
          </a:p>
        </p:txBody>
      </p:sp>
      <p:sp>
        <p:nvSpPr>
          <p:cNvPr id="52" name="Footer Placeholder 4">
            <a:extLst>
              <a:ext uri="{FF2B5EF4-FFF2-40B4-BE49-F238E27FC236}">
                <a16:creationId xmlns:a16="http://schemas.microsoft.com/office/drawing/2014/main" id="{2D18C6B3-82D3-4D6F-9001-BDEADB3C6BC1}"/>
              </a:ext>
            </a:extLst>
          </p:cNvPr>
          <p:cNvSpPr>
            <a:spLocks noGrp="1"/>
          </p:cNvSpPr>
          <p:nvPr>
            <p:ph type="ftr" sz="quarter" idx="3"/>
          </p:nvPr>
        </p:nvSpPr>
        <p:spPr>
          <a:xfrm>
            <a:off x="4648200" y="6534150"/>
            <a:ext cx="5169569" cy="263525"/>
          </a:xfrm>
          <a:prstGeom prst="rect">
            <a:avLst/>
          </a:prstGeom>
        </p:spPr>
        <p:txBody>
          <a:bodyPr vert="horz" wrap="square" lIns="91440" tIns="45720" rIns="91440" bIns="45720" rtlCol="0" anchor="ctr">
            <a:noAutofit/>
          </a:bodyPr>
          <a:lstStyle>
            <a:lvl1pPr algn="r">
              <a:lnSpc>
                <a:spcPct val="90000"/>
              </a:lnSpc>
              <a:spcAft>
                <a:spcPts val="600"/>
              </a:spcAft>
              <a:defRPr sz="600">
                <a:solidFill>
                  <a:schemeClr val="tx1"/>
                </a:solidFill>
              </a:defRPr>
            </a:lvl1pPr>
          </a:lstStyle>
          <a:p>
            <a:endParaRPr lang="en-US" sz="600" noProof="0" dirty="0"/>
          </a:p>
        </p:txBody>
      </p:sp>
      <p:pic>
        <p:nvPicPr>
          <p:cNvPr id="47" name="Graphic 46">
            <a:extLst>
              <a:ext uri="{FF2B5EF4-FFF2-40B4-BE49-F238E27FC236}">
                <a16:creationId xmlns:a16="http://schemas.microsoft.com/office/drawing/2014/main" id="{53A26248-662E-45DD-8B67-7D36ABCADF2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3838" y="6586537"/>
            <a:ext cx="1852404" cy="171450"/>
          </a:xfrm>
          <a:prstGeom prst="rect">
            <a:avLst/>
          </a:prstGeom>
        </p:spPr>
      </p:pic>
    </p:spTree>
    <p:extLst>
      <p:ext uri="{BB962C8B-B14F-4D97-AF65-F5344CB8AC3E}">
        <p14:creationId xmlns:p14="http://schemas.microsoft.com/office/powerpoint/2010/main" val="15794219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1_Section Divider Blue">
    <p:bg>
      <p:bgPr>
        <a:solidFill>
          <a:schemeClr val="accent1"/>
        </a:solid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904D09A-4AE1-41F7-8585-54F9D1A47C7F}"/>
              </a:ext>
            </a:extLst>
          </p:cNvPr>
          <p:cNvSpPr>
            <a:spLocks noGrp="1"/>
          </p:cNvSpPr>
          <p:nvPr>
            <p:ph type="sldNum" sz="quarter" idx="12"/>
          </p:nvPr>
        </p:nvSpPr>
        <p:spPr/>
        <p:txBody>
          <a:bodyPr/>
          <a:lstStyle/>
          <a:p>
            <a:fld id="{5034EE70-12A8-400F-8E3D-398CDD8B315D}" type="slidenum">
              <a:rPr lang="en-US" smtClean="0"/>
              <a:pPr/>
              <a:t>‹#›</a:t>
            </a:fld>
            <a:endParaRPr lang="en-US" dirty="0"/>
          </a:p>
        </p:txBody>
      </p:sp>
      <p:sp>
        <p:nvSpPr>
          <p:cNvPr id="3" name="TextBox 2">
            <a:extLst>
              <a:ext uri="{FF2B5EF4-FFF2-40B4-BE49-F238E27FC236}">
                <a16:creationId xmlns:a16="http://schemas.microsoft.com/office/drawing/2014/main" id="{A620CC65-5F5F-4582-A5A5-D44EC1973F93}"/>
              </a:ext>
            </a:extLst>
          </p:cNvPr>
          <p:cNvSpPr txBox="1"/>
          <p:nvPr userDrawn="1"/>
        </p:nvSpPr>
        <p:spPr>
          <a:xfrm>
            <a:off x="9817769" y="6576218"/>
            <a:ext cx="1771776" cy="171450"/>
          </a:xfrm>
          <a:prstGeom prst="rect">
            <a:avLst/>
          </a:prstGeom>
          <a:noFill/>
        </p:spPr>
        <p:txBody>
          <a:bodyPr wrap="square" rtlCol="0">
            <a:noAutofit/>
          </a:bodyPr>
          <a:lstStyle/>
          <a:p>
            <a:pPr algn="ctr">
              <a:lnSpc>
                <a:spcPct val="90000"/>
              </a:lnSpc>
              <a:spcAft>
                <a:spcPts val="600"/>
              </a:spcAft>
            </a:pPr>
            <a:r>
              <a:rPr lang="en-US" sz="700" cap="all" spc="10" baseline="0" dirty="0"/>
              <a:t>Proprietary and Confidential</a:t>
            </a:r>
          </a:p>
        </p:txBody>
      </p:sp>
      <p:sp>
        <p:nvSpPr>
          <p:cNvPr id="48" name="Freeform: Shape 47">
            <a:extLst>
              <a:ext uri="{FF2B5EF4-FFF2-40B4-BE49-F238E27FC236}">
                <a16:creationId xmlns:a16="http://schemas.microsoft.com/office/drawing/2014/main" id="{26C273D4-A6FC-457D-9CF0-4B9F15AFF060}"/>
              </a:ext>
            </a:extLst>
          </p:cNvPr>
          <p:cNvSpPr/>
          <p:nvPr userDrawn="1"/>
        </p:nvSpPr>
        <p:spPr>
          <a:xfrm>
            <a:off x="223837" y="223838"/>
            <a:ext cx="11744326" cy="6262686"/>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dirty="0">
              <a:solidFill>
                <a:schemeClr val="tx1"/>
              </a:solidFill>
            </a:endParaRPr>
          </a:p>
        </p:txBody>
      </p:sp>
      <p:sp>
        <p:nvSpPr>
          <p:cNvPr id="52" name="Text Placeholder 11">
            <a:extLst>
              <a:ext uri="{FF2B5EF4-FFF2-40B4-BE49-F238E27FC236}">
                <a16:creationId xmlns:a16="http://schemas.microsoft.com/office/drawing/2014/main" id="{D6A15B74-A9C9-4C63-9B40-9DA5D7790AF6}"/>
              </a:ext>
            </a:extLst>
          </p:cNvPr>
          <p:cNvSpPr>
            <a:spLocks noGrp="1"/>
          </p:cNvSpPr>
          <p:nvPr>
            <p:ph type="body" sz="quarter" idx="15" hasCustomPrompt="1"/>
          </p:nvPr>
        </p:nvSpPr>
        <p:spPr>
          <a:xfrm>
            <a:off x="5325600" y="87312"/>
            <a:ext cx="1540800" cy="274637"/>
          </a:xfrm>
          <a:solidFill>
            <a:schemeClr val="accent1"/>
          </a:solidFill>
          <a:ln>
            <a:solidFill>
              <a:schemeClr val="tx1"/>
            </a:solidFill>
          </a:ln>
        </p:spPr>
        <p:txBody>
          <a:bodyPr anchor="ctr"/>
          <a:lstStyle>
            <a:lvl1pPr algn="ctr">
              <a:defRPr sz="1050" b="1" cap="all" baseline="0">
                <a:solidFill>
                  <a:schemeClr val="tx1"/>
                </a:solidFill>
              </a:defRPr>
            </a:lvl1pPr>
          </a:lstStyle>
          <a:p>
            <a:pPr lvl="0"/>
            <a:r>
              <a:rPr lang="en-US"/>
              <a:t>Section XX</a:t>
            </a:r>
          </a:p>
        </p:txBody>
      </p:sp>
      <p:sp>
        <p:nvSpPr>
          <p:cNvPr id="53" name="Text Placeholder 5">
            <a:extLst>
              <a:ext uri="{FF2B5EF4-FFF2-40B4-BE49-F238E27FC236}">
                <a16:creationId xmlns:a16="http://schemas.microsoft.com/office/drawing/2014/main" id="{F2C44CF4-4F6D-434A-A853-C64DFA3F1157}"/>
              </a:ext>
            </a:extLst>
          </p:cNvPr>
          <p:cNvSpPr>
            <a:spLocks noGrp="1"/>
          </p:cNvSpPr>
          <p:nvPr>
            <p:ph type="body" sz="quarter" idx="21" hasCustomPrompt="1"/>
          </p:nvPr>
        </p:nvSpPr>
        <p:spPr>
          <a:xfrm>
            <a:off x="3307080" y="1828800"/>
            <a:ext cx="5577840" cy="3200400"/>
          </a:xfrm>
          <a:ln>
            <a:solidFill>
              <a:schemeClr val="tx1"/>
            </a:solidFill>
          </a:ln>
        </p:spPr>
        <p:txBody>
          <a:bodyPr/>
          <a:lstStyle>
            <a:lvl1pPr>
              <a:defRPr/>
            </a:lvl1pPr>
          </a:lstStyle>
          <a:p>
            <a:pPr lvl="0"/>
            <a:r>
              <a:rPr lang="en-US"/>
              <a:t> </a:t>
            </a:r>
          </a:p>
        </p:txBody>
      </p:sp>
      <p:sp>
        <p:nvSpPr>
          <p:cNvPr id="2" name="Title 1">
            <a:extLst>
              <a:ext uri="{FF2B5EF4-FFF2-40B4-BE49-F238E27FC236}">
                <a16:creationId xmlns:a16="http://schemas.microsoft.com/office/drawing/2014/main" id="{844F0621-2390-4957-AD47-60FDBAA34491}"/>
              </a:ext>
            </a:extLst>
          </p:cNvPr>
          <p:cNvSpPr>
            <a:spLocks noGrp="1"/>
          </p:cNvSpPr>
          <p:nvPr>
            <p:ph type="title" hasCustomPrompt="1"/>
          </p:nvPr>
        </p:nvSpPr>
        <p:spPr>
          <a:xfrm>
            <a:off x="3429000" y="2232661"/>
            <a:ext cx="5334000" cy="2392678"/>
          </a:xfrm>
        </p:spPr>
        <p:txBody>
          <a:bodyPr anchor="ctr"/>
          <a:lstStyle>
            <a:lvl1pPr algn="ctr">
              <a:defRPr sz="2800" b="1"/>
            </a:lvl1pPr>
          </a:lstStyle>
          <a:p>
            <a:r>
              <a:rPr lang="en-US"/>
              <a:t>Click to insert subsection name</a:t>
            </a:r>
          </a:p>
        </p:txBody>
      </p:sp>
      <p:sp>
        <p:nvSpPr>
          <p:cNvPr id="24" name="Footer Placeholder 4">
            <a:extLst>
              <a:ext uri="{FF2B5EF4-FFF2-40B4-BE49-F238E27FC236}">
                <a16:creationId xmlns:a16="http://schemas.microsoft.com/office/drawing/2014/main" id="{438017C0-CFD2-453B-B9A4-C14E0D283357}"/>
              </a:ext>
            </a:extLst>
          </p:cNvPr>
          <p:cNvSpPr>
            <a:spLocks noGrp="1"/>
          </p:cNvSpPr>
          <p:nvPr>
            <p:ph type="ftr" sz="quarter" idx="3"/>
          </p:nvPr>
        </p:nvSpPr>
        <p:spPr>
          <a:xfrm>
            <a:off x="4648200" y="6534150"/>
            <a:ext cx="5169569" cy="263525"/>
          </a:xfrm>
          <a:prstGeom prst="rect">
            <a:avLst/>
          </a:prstGeom>
        </p:spPr>
        <p:txBody>
          <a:bodyPr vert="horz" wrap="square" lIns="91440" tIns="45720" rIns="91440" bIns="45720" rtlCol="0" anchor="ctr">
            <a:noAutofit/>
          </a:bodyPr>
          <a:lstStyle>
            <a:lvl1pPr algn="r">
              <a:lnSpc>
                <a:spcPct val="90000"/>
              </a:lnSpc>
              <a:spcAft>
                <a:spcPts val="600"/>
              </a:spcAft>
              <a:defRPr sz="600">
                <a:solidFill>
                  <a:schemeClr val="tx1"/>
                </a:solidFill>
              </a:defRPr>
            </a:lvl1pPr>
          </a:lstStyle>
          <a:p>
            <a:endParaRPr lang="en-US" sz="600" noProof="0" dirty="0"/>
          </a:p>
        </p:txBody>
      </p:sp>
      <p:grpSp>
        <p:nvGrpSpPr>
          <p:cNvPr id="9" name="Graphic 46">
            <a:extLst>
              <a:ext uri="{FF2B5EF4-FFF2-40B4-BE49-F238E27FC236}">
                <a16:creationId xmlns:a16="http://schemas.microsoft.com/office/drawing/2014/main" id="{5EDFA97A-C4E3-4FE7-B405-0A4E6A872766}"/>
              </a:ext>
            </a:extLst>
          </p:cNvPr>
          <p:cNvGrpSpPr/>
          <p:nvPr userDrawn="1"/>
        </p:nvGrpSpPr>
        <p:grpSpPr>
          <a:xfrm>
            <a:off x="223838" y="6586537"/>
            <a:ext cx="1852878" cy="171636"/>
            <a:chOff x="223838" y="6586537"/>
            <a:chExt cx="1852878" cy="171636"/>
          </a:xfrm>
          <a:solidFill>
            <a:srgbClr val="E2E2E3"/>
          </a:solidFill>
        </p:grpSpPr>
        <p:sp>
          <p:nvSpPr>
            <p:cNvPr id="10" name="Freeform: Shape 9">
              <a:extLst>
                <a:ext uri="{FF2B5EF4-FFF2-40B4-BE49-F238E27FC236}">
                  <a16:creationId xmlns:a16="http://schemas.microsoft.com/office/drawing/2014/main" id="{3D8D0115-D38A-4622-A693-EB969C164619}"/>
                </a:ext>
              </a:extLst>
            </p:cNvPr>
            <p:cNvSpPr/>
            <p:nvPr/>
          </p:nvSpPr>
          <p:spPr>
            <a:xfrm>
              <a:off x="1015600" y="6590823"/>
              <a:ext cx="114610" cy="163250"/>
            </a:xfrm>
            <a:custGeom>
              <a:avLst/>
              <a:gdLst>
                <a:gd name="connsiteX0" fmla="*/ 97913 w 114610"/>
                <a:gd name="connsiteY0" fmla="*/ 163250 h 163250"/>
                <a:gd name="connsiteX1" fmla="*/ 114611 w 114610"/>
                <a:gd name="connsiteY1" fmla="*/ 163250 h 163250"/>
                <a:gd name="connsiteX2" fmla="*/ 114611 w 114610"/>
                <a:gd name="connsiteY2" fmla="*/ 0 h 163250"/>
                <a:gd name="connsiteX3" fmla="*/ 97913 w 114610"/>
                <a:gd name="connsiteY3" fmla="*/ 0 h 163250"/>
                <a:gd name="connsiteX4" fmla="*/ 97913 w 114610"/>
                <a:gd name="connsiteY4" fmla="*/ 73351 h 163250"/>
                <a:gd name="connsiteX5" fmla="*/ 16698 w 114610"/>
                <a:gd name="connsiteY5" fmla="*/ 73351 h 163250"/>
                <a:gd name="connsiteX6" fmla="*/ 16698 w 114610"/>
                <a:gd name="connsiteY6" fmla="*/ 0 h 163250"/>
                <a:gd name="connsiteX7" fmla="*/ 0 w 114610"/>
                <a:gd name="connsiteY7" fmla="*/ 0 h 163250"/>
                <a:gd name="connsiteX8" fmla="*/ 0 w 114610"/>
                <a:gd name="connsiteY8" fmla="*/ 163250 h 163250"/>
                <a:gd name="connsiteX9" fmla="*/ 16698 w 114610"/>
                <a:gd name="connsiteY9" fmla="*/ 163250 h 163250"/>
                <a:gd name="connsiteX10" fmla="*/ 16698 w 114610"/>
                <a:gd name="connsiteY10" fmla="*/ 89937 h 163250"/>
                <a:gd name="connsiteX11" fmla="*/ 97913 w 114610"/>
                <a:gd name="connsiteY11" fmla="*/ 89937 h 163250"/>
                <a:gd name="connsiteX12" fmla="*/ 97913 w 114610"/>
                <a:gd name="connsiteY12" fmla="*/ 16325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610" h="163250">
                  <a:moveTo>
                    <a:pt x="97913" y="163250"/>
                  </a:moveTo>
                  <a:lnTo>
                    <a:pt x="114611" y="163250"/>
                  </a:lnTo>
                  <a:lnTo>
                    <a:pt x="114611" y="0"/>
                  </a:lnTo>
                  <a:lnTo>
                    <a:pt x="97913" y="0"/>
                  </a:lnTo>
                  <a:lnTo>
                    <a:pt x="97913" y="73351"/>
                  </a:lnTo>
                  <a:lnTo>
                    <a:pt x="16698" y="73351"/>
                  </a:lnTo>
                  <a:lnTo>
                    <a:pt x="16698" y="0"/>
                  </a:lnTo>
                  <a:lnTo>
                    <a:pt x="0" y="0"/>
                  </a:lnTo>
                  <a:lnTo>
                    <a:pt x="0" y="163250"/>
                  </a:lnTo>
                  <a:lnTo>
                    <a:pt x="16698" y="163250"/>
                  </a:lnTo>
                  <a:lnTo>
                    <a:pt x="16698" y="89937"/>
                  </a:lnTo>
                  <a:lnTo>
                    <a:pt x="97913" y="89937"/>
                  </a:lnTo>
                  <a:lnTo>
                    <a:pt x="97913" y="163250"/>
                  </a:lnTo>
                  <a:close/>
                </a:path>
              </a:pathLst>
            </a:custGeom>
            <a:solidFill>
              <a:srgbClr val="E2E2E3"/>
            </a:solidFill>
            <a:ln w="3718" cap="flat">
              <a:noFill/>
              <a:prstDash val="solid"/>
              <a:miter/>
            </a:ln>
          </p:spPr>
          <p:txBody>
            <a:bodyPr rtlCol="0" anchor="ctr"/>
            <a:lstStyle/>
            <a:p>
              <a:endParaRPr lang="en-US" dirty="0"/>
            </a:p>
          </p:txBody>
        </p:sp>
        <p:sp>
          <p:nvSpPr>
            <p:cNvPr id="11" name="Freeform: Shape 10">
              <a:extLst>
                <a:ext uri="{FF2B5EF4-FFF2-40B4-BE49-F238E27FC236}">
                  <a16:creationId xmlns:a16="http://schemas.microsoft.com/office/drawing/2014/main" id="{340CAB7D-BB9C-4ECD-86FE-9467F3529243}"/>
                </a:ext>
              </a:extLst>
            </p:cNvPr>
            <p:cNvSpPr/>
            <p:nvPr/>
          </p:nvSpPr>
          <p:spPr>
            <a:xfrm>
              <a:off x="1158761" y="6590823"/>
              <a:ext cx="16809" cy="163250"/>
            </a:xfrm>
            <a:custGeom>
              <a:avLst/>
              <a:gdLst>
                <a:gd name="connsiteX0" fmla="*/ 0 w 16809"/>
                <a:gd name="connsiteY0" fmla="*/ 0 h 163250"/>
                <a:gd name="connsiteX1" fmla="*/ 16810 w 16809"/>
                <a:gd name="connsiteY1" fmla="*/ 0 h 163250"/>
                <a:gd name="connsiteX2" fmla="*/ 16810 w 16809"/>
                <a:gd name="connsiteY2" fmla="*/ 163250 h 163250"/>
                <a:gd name="connsiteX3" fmla="*/ 0 w 16809"/>
                <a:gd name="connsiteY3" fmla="*/ 163250 h 163250"/>
              </a:gdLst>
              <a:ahLst/>
              <a:cxnLst>
                <a:cxn ang="0">
                  <a:pos x="connsiteX0" y="connsiteY0"/>
                </a:cxn>
                <a:cxn ang="0">
                  <a:pos x="connsiteX1" y="connsiteY1"/>
                </a:cxn>
                <a:cxn ang="0">
                  <a:pos x="connsiteX2" y="connsiteY2"/>
                </a:cxn>
                <a:cxn ang="0">
                  <a:pos x="connsiteX3" y="connsiteY3"/>
                </a:cxn>
              </a:cxnLst>
              <a:rect l="l" t="t" r="r" b="b"/>
              <a:pathLst>
                <a:path w="16809" h="163250">
                  <a:moveTo>
                    <a:pt x="0" y="0"/>
                  </a:moveTo>
                  <a:lnTo>
                    <a:pt x="16810" y="0"/>
                  </a:lnTo>
                  <a:lnTo>
                    <a:pt x="16810" y="163250"/>
                  </a:lnTo>
                  <a:lnTo>
                    <a:pt x="0" y="163250"/>
                  </a:lnTo>
                  <a:close/>
                </a:path>
              </a:pathLst>
            </a:custGeom>
            <a:solidFill>
              <a:srgbClr val="E2E2E3"/>
            </a:solidFill>
            <a:ln w="3718" cap="flat">
              <a:noFill/>
              <a:prstDash val="solid"/>
              <a:miter/>
            </a:ln>
          </p:spPr>
          <p:txBody>
            <a:bodyPr rtlCol="0" anchor="ctr"/>
            <a:lstStyle/>
            <a:p>
              <a:endParaRPr lang="en-US" dirty="0"/>
            </a:p>
          </p:txBody>
        </p:sp>
        <p:sp>
          <p:nvSpPr>
            <p:cNvPr id="12" name="Freeform: Shape 11">
              <a:extLst>
                <a:ext uri="{FF2B5EF4-FFF2-40B4-BE49-F238E27FC236}">
                  <a16:creationId xmlns:a16="http://schemas.microsoft.com/office/drawing/2014/main" id="{A66EB911-1072-4E96-B30F-1D9A39294A5A}"/>
                </a:ext>
              </a:extLst>
            </p:cNvPr>
            <p:cNvSpPr/>
            <p:nvPr/>
          </p:nvSpPr>
          <p:spPr>
            <a:xfrm>
              <a:off x="1197184" y="6589704"/>
              <a:ext cx="165642" cy="165862"/>
            </a:xfrm>
            <a:custGeom>
              <a:avLst/>
              <a:gdLst>
                <a:gd name="connsiteX0" fmla="*/ 24343 w 165642"/>
                <a:gd name="connsiteY0" fmla="*/ 141596 h 165862"/>
                <a:gd name="connsiteX1" fmla="*/ 114652 w 165642"/>
                <a:gd name="connsiteY1" fmla="*/ 159859 h 165862"/>
                <a:gd name="connsiteX2" fmla="*/ 141600 w 165642"/>
                <a:gd name="connsiteY2" fmla="*/ 141558 h 165862"/>
                <a:gd name="connsiteX3" fmla="*/ 160869 w 165642"/>
                <a:gd name="connsiteY3" fmla="*/ 110996 h 165862"/>
                <a:gd name="connsiteX4" fmla="*/ 165640 w 165642"/>
                <a:gd name="connsiteY4" fmla="*/ 81514 h 165862"/>
                <a:gd name="connsiteX5" fmla="*/ 91283 w 165642"/>
                <a:gd name="connsiteY5" fmla="*/ 81514 h 165862"/>
                <a:gd name="connsiteX6" fmla="*/ 91283 w 165642"/>
                <a:gd name="connsiteY6" fmla="*/ 96720 h 165862"/>
                <a:gd name="connsiteX7" fmla="*/ 149352 w 165642"/>
                <a:gd name="connsiteY7" fmla="*/ 96720 h 165862"/>
                <a:gd name="connsiteX8" fmla="*/ 142606 w 165642"/>
                <a:gd name="connsiteY8" fmla="*/ 110996 h 165862"/>
                <a:gd name="connsiteX9" fmla="*/ 133623 w 165642"/>
                <a:gd name="connsiteY9" fmla="*/ 124935 h 165862"/>
                <a:gd name="connsiteX10" fmla="*/ 121547 w 165642"/>
                <a:gd name="connsiteY10" fmla="*/ 136415 h 165862"/>
                <a:gd name="connsiteX11" fmla="*/ 103471 w 165642"/>
                <a:gd name="connsiteY11" fmla="*/ 145621 h 165862"/>
                <a:gd name="connsiteX12" fmla="*/ 57962 w 165642"/>
                <a:gd name="connsiteY12" fmla="*/ 143944 h 165862"/>
                <a:gd name="connsiteX13" fmla="*/ 36717 w 165642"/>
                <a:gd name="connsiteY13" fmla="*/ 129445 h 165862"/>
                <a:gd name="connsiteX14" fmla="*/ 22330 w 165642"/>
                <a:gd name="connsiteY14" fmla="*/ 108163 h 165862"/>
                <a:gd name="connsiteX15" fmla="*/ 22330 w 165642"/>
                <a:gd name="connsiteY15" fmla="*/ 57734 h 165862"/>
                <a:gd name="connsiteX16" fmla="*/ 36717 w 165642"/>
                <a:gd name="connsiteY16" fmla="*/ 36452 h 165862"/>
                <a:gd name="connsiteX17" fmla="*/ 58036 w 165642"/>
                <a:gd name="connsiteY17" fmla="*/ 21916 h 165862"/>
                <a:gd name="connsiteX18" fmla="*/ 83232 w 165642"/>
                <a:gd name="connsiteY18" fmla="*/ 17034 h 165862"/>
                <a:gd name="connsiteX19" fmla="*/ 108391 w 165642"/>
                <a:gd name="connsiteY19" fmla="*/ 21916 h 165862"/>
                <a:gd name="connsiteX20" fmla="*/ 122106 w 165642"/>
                <a:gd name="connsiteY20" fmla="*/ 29818 h 165862"/>
                <a:gd name="connsiteX21" fmla="*/ 134145 w 165642"/>
                <a:gd name="connsiteY21" fmla="*/ 17704 h 165862"/>
                <a:gd name="connsiteX22" fmla="*/ 129374 w 165642"/>
                <a:gd name="connsiteY22" fmla="*/ 14275 h 165862"/>
                <a:gd name="connsiteX23" fmla="*/ 114988 w 165642"/>
                <a:gd name="connsiteY23" fmla="*/ 6448 h 165862"/>
                <a:gd name="connsiteX24" fmla="*/ 99520 w 165642"/>
                <a:gd name="connsiteY24" fmla="*/ 1640 h 165862"/>
                <a:gd name="connsiteX25" fmla="*/ 82934 w 165642"/>
                <a:gd name="connsiteY25" fmla="*/ 0 h 165862"/>
                <a:gd name="connsiteX26" fmla="*/ 76001 w 165642"/>
                <a:gd name="connsiteY26" fmla="*/ 0 h 165862"/>
                <a:gd name="connsiteX27" fmla="*/ 51104 w 165642"/>
                <a:gd name="connsiteY27" fmla="*/ 5889 h 165862"/>
                <a:gd name="connsiteX28" fmla="*/ 24306 w 165642"/>
                <a:gd name="connsiteY28" fmla="*/ 24264 h 165862"/>
                <a:gd name="connsiteX29" fmla="*/ 6042 w 165642"/>
                <a:gd name="connsiteY29" fmla="*/ 51137 h 165862"/>
                <a:gd name="connsiteX30" fmla="*/ 4 w 165642"/>
                <a:gd name="connsiteY30" fmla="*/ 83042 h 165862"/>
                <a:gd name="connsiteX31" fmla="*/ 6042 w 165642"/>
                <a:gd name="connsiteY31" fmla="*/ 114909 h 165862"/>
                <a:gd name="connsiteX32" fmla="*/ 24268 w 165642"/>
                <a:gd name="connsiteY32" fmla="*/ 141707 h 16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65642" h="165862">
                  <a:moveTo>
                    <a:pt x="24343" y="141596"/>
                  </a:moveTo>
                  <a:cubicBezTo>
                    <a:pt x="48141" y="165094"/>
                    <a:pt x="83594" y="172264"/>
                    <a:pt x="114652" y="159859"/>
                  </a:cubicBezTo>
                  <a:cubicBezTo>
                    <a:pt x="124719" y="155530"/>
                    <a:pt x="133866" y="149319"/>
                    <a:pt x="141600" y="141558"/>
                  </a:cubicBezTo>
                  <a:cubicBezTo>
                    <a:pt x="150347" y="133035"/>
                    <a:pt x="156948" y="122562"/>
                    <a:pt x="160869" y="110996"/>
                  </a:cubicBezTo>
                  <a:cubicBezTo>
                    <a:pt x="164108" y="101507"/>
                    <a:pt x="165722" y="91539"/>
                    <a:pt x="165640" y="81514"/>
                  </a:cubicBezTo>
                  <a:lnTo>
                    <a:pt x="91283" y="81514"/>
                  </a:lnTo>
                  <a:lnTo>
                    <a:pt x="91283" y="96720"/>
                  </a:lnTo>
                  <a:lnTo>
                    <a:pt x="149352" y="96720"/>
                  </a:lnTo>
                  <a:lnTo>
                    <a:pt x="142606" y="110996"/>
                  </a:lnTo>
                  <a:cubicBezTo>
                    <a:pt x="140217" y="116006"/>
                    <a:pt x="137198" y="120690"/>
                    <a:pt x="133623" y="124935"/>
                  </a:cubicBezTo>
                  <a:cubicBezTo>
                    <a:pt x="130083" y="129240"/>
                    <a:pt x="126027" y="133095"/>
                    <a:pt x="121547" y="136415"/>
                  </a:cubicBezTo>
                  <a:cubicBezTo>
                    <a:pt x="116076" y="140470"/>
                    <a:pt x="109967" y="143582"/>
                    <a:pt x="103471" y="145621"/>
                  </a:cubicBezTo>
                  <a:cubicBezTo>
                    <a:pt x="88569" y="150385"/>
                    <a:pt x="72472" y="149792"/>
                    <a:pt x="57962" y="143944"/>
                  </a:cubicBezTo>
                  <a:cubicBezTo>
                    <a:pt x="49975" y="140595"/>
                    <a:pt x="42748" y="135663"/>
                    <a:pt x="36717" y="129445"/>
                  </a:cubicBezTo>
                  <a:cubicBezTo>
                    <a:pt x="30597" y="123344"/>
                    <a:pt x="25711" y="116117"/>
                    <a:pt x="22330" y="108163"/>
                  </a:cubicBezTo>
                  <a:cubicBezTo>
                    <a:pt x="15819" y="91984"/>
                    <a:pt x="15819" y="73913"/>
                    <a:pt x="22330" y="57734"/>
                  </a:cubicBezTo>
                  <a:cubicBezTo>
                    <a:pt x="25729" y="49791"/>
                    <a:pt x="30612" y="42568"/>
                    <a:pt x="36717" y="36452"/>
                  </a:cubicBezTo>
                  <a:cubicBezTo>
                    <a:pt x="42792" y="30244"/>
                    <a:pt x="50038" y="25303"/>
                    <a:pt x="58036" y="21916"/>
                  </a:cubicBezTo>
                  <a:cubicBezTo>
                    <a:pt x="66013" y="18581"/>
                    <a:pt x="74589" y="16919"/>
                    <a:pt x="83232" y="17034"/>
                  </a:cubicBezTo>
                  <a:cubicBezTo>
                    <a:pt x="91861" y="16956"/>
                    <a:pt x="100418" y="18617"/>
                    <a:pt x="108391" y="21916"/>
                  </a:cubicBezTo>
                  <a:cubicBezTo>
                    <a:pt x="113251" y="24012"/>
                    <a:pt x="117854" y="26664"/>
                    <a:pt x="122106" y="29818"/>
                  </a:cubicBezTo>
                  <a:lnTo>
                    <a:pt x="134145" y="17704"/>
                  </a:lnTo>
                  <a:cubicBezTo>
                    <a:pt x="132356" y="16363"/>
                    <a:pt x="130791" y="15244"/>
                    <a:pt x="129374" y="14275"/>
                  </a:cubicBezTo>
                  <a:cubicBezTo>
                    <a:pt x="124820" y="11246"/>
                    <a:pt x="120004" y="8627"/>
                    <a:pt x="114988" y="6448"/>
                  </a:cubicBezTo>
                  <a:cubicBezTo>
                    <a:pt x="110001" y="4347"/>
                    <a:pt x="104820" y="2737"/>
                    <a:pt x="99520" y="1640"/>
                  </a:cubicBezTo>
                  <a:cubicBezTo>
                    <a:pt x="94060" y="534"/>
                    <a:pt x="88502" y="-15"/>
                    <a:pt x="82934" y="0"/>
                  </a:cubicBezTo>
                  <a:lnTo>
                    <a:pt x="76001" y="0"/>
                  </a:lnTo>
                  <a:cubicBezTo>
                    <a:pt x="67440" y="610"/>
                    <a:pt x="59032" y="2598"/>
                    <a:pt x="51104" y="5889"/>
                  </a:cubicBezTo>
                  <a:cubicBezTo>
                    <a:pt x="41022" y="10138"/>
                    <a:pt x="31902" y="16389"/>
                    <a:pt x="24306" y="24264"/>
                  </a:cubicBezTo>
                  <a:cubicBezTo>
                    <a:pt x="16490" y="31918"/>
                    <a:pt x="10284" y="41054"/>
                    <a:pt x="6042" y="51137"/>
                  </a:cubicBezTo>
                  <a:cubicBezTo>
                    <a:pt x="1965" y="61275"/>
                    <a:pt x="-89" y="72114"/>
                    <a:pt x="4" y="83042"/>
                  </a:cubicBezTo>
                  <a:cubicBezTo>
                    <a:pt x="-107" y="93959"/>
                    <a:pt x="1946" y="104789"/>
                    <a:pt x="6042" y="114909"/>
                  </a:cubicBezTo>
                  <a:cubicBezTo>
                    <a:pt x="10206" y="125003"/>
                    <a:pt x="16411" y="134126"/>
                    <a:pt x="24268" y="141707"/>
                  </a:cubicBezTo>
                </a:path>
              </a:pathLst>
            </a:custGeom>
            <a:solidFill>
              <a:srgbClr val="E2E2E3"/>
            </a:solidFill>
            <a:ln w="3718" cap="flat">
              <a:noFill/>
              <a:prstDash val="solid"/>
              <a:miter/>
            </a:ln>
          </p:spPr>
          <p:txBody>
            <a:bodyPr rtlCol="0" anchor="ctr"/>
            <a:lstStyle/>
            <a:p>
              <a:endParaRPr lang="en-US" dirty="0"/>
            </a:p>
          </p:txBody>
        </p:sp>
        <p:sp>
          <p:nvSpPr>
            <p:cNvPr id="13" name="Freeform: Shape 12">
              <a:extLst>
                <a:ext uri="{FF2B5EF4-FFF2-40B4-BE49-F238E27FC236}">
                  <a16:creationId xmlns:a16="http://schemas.microsoft.com/office/drawing/2014/main" id="{2A80C8F6-3521-46E9-B946-3ECA62CACD15}"/>
                </a:ext>
              </a:extLst>
            </p:cNvPr>
            <p:cNvSpPr/>
            <p:nvPr/>
          </p:nvSpPr>
          <p:spPr>
            <a:xfrm>
              <a:off x="1384590" y="6590823"/>
              <a:ext cx="114573" cy="163250"/>
            </a:xfrm>
            <a:custGeom>
              <a:avLst/>
              <a:gdLst>
                <a:gd name="connsiteX0" fmla="*/ 97876 w 114573"/>
                <a:gd name="connsiteY0" fmla="*/ 163250 h 163250"/>
                <a:gd name="connsiteX1" fmla="*/ 114573 w 114573"/>
                <a:gd name="connsiteY1" fmla="*/ 163250 h 163250"/>
                <a:gd name="connsiteX2" fmla="*/ 114573 w 114573"/>
                <a:gd name="connsiteY2" fmla="*/ 0 h 163250"/>
                <a:gd name="connsiteX3" fmla="*/ 97876 w 114573"/>
                <a:gd name="connsiteY3" fmla="*/ 0 h 163250"/>
                <a:gd name="connsiteX4" fmla="*/ 97876 w 114573"/>
                <a:gd name="connsiteY4" fmla="*/ 73351 h 163250"/>
                <a:gd name="connsiteX5" fmla="*/ 16660 w 114573"/>
                <a:gd name="connsiteY5" fmla="*/ 73351 h 163250"/>
                <a:gd name="connsiteX6" fmla="*/ 16660 w 114573"/>
                <a:gd name="connsiteY6" fmla="*/ 0 h 163250"/>
                <a:gd name="connsiteX7" fmla="*/ 0 w 114573"/>
                <a:gd name="connsiteY7" fmla="*/ 0 h 163250"/>
                <a:gd name="connsiteX8" fmla="*/ 0 w 114573"/>
                <a:gd name="connsiteY8" fmla="*/ 163250 h 163250"/>
                <a:gd name="connsiteX9" fmla="*/ 16660 w 114573"/>
                <a:gd name="connsiteY9" fmla="*/ 163250 h 163250"/>
                <a:gd name="connsiteX10" fmla="*/ 16660 w 114573"/>
                <a:gd name="connsiteY10" fmla="*/ 89937 h 163250"/>
                <a:gd name="connsiteX11" fmla="*/ 97876 w 114573"/>
                <a:gd name="connsiteY11" fmla="*/ 89937 h 163250"/>
                <a:gd name="connsiteX12" fmla="*/ 97876 w 114573"/>
                <a:gd name="connsiteY12" fmla="*/ 16325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573" h="163250">
                  <a:moveTo>
                    <a:pt x="97876" y="163250"/>
                  </a:moveTo>
                  <a:lnTo>
                    <a:pt x="114573" y="163250"/>
                  </a:lnTo>
                  <a:lnTo>
                    <a:pt x="114573" y="0"/>
                  </a:lnTo>
                  <a:lnTo>
                    <a:pt x="97876" y="0"/>
                  </a:lnTo>
                  <a:lnTo>
                    <a:pt x="97876" y="73351"/>
                  </a:lnTo>
                  <a:lnTo>
                    <a:pt x="16660" y="73351"/>
                  </a:lnTo>
                  <a:lnTo>
                    <a:pt x="16660" y="0"/>
                  </a:lnTo>
                  <a:lnTo>
                    <a:pt x="0" y="0"/>
                  </a:lnTo>
                  <a:lnTo>
                    <a:pt x="0" y="163250"/>
                  </a:lnTo>
                  <a:lnTo>
                    <a:pt x="16660" y="163250"/>
                  </a:lnTo>
                  <a:lnTo>
                    <a:pt x="16660" y="89937"/>
                  </a:lnTo>
                  <a:lnTo>
                    <a:pt x="97876" y="89937"/>
                  </a:lnTo>
                  <a:lnTo>
                    <a:pt x="97876" y="163250"/>
                  </a:lnTo>
                  <a:close/>
                </a:path>
              </a:pathLst>
            </a:custGeom>
            <a:solidFill>
              <a:srgbClr val="E2E2E3"/>
            </a:solidFill>
            <a:ln w="3718" cap="flat">
              <a:noFill/>
              <a:prstDash val="solid"/>
              <a:miter/>
            </a:ln>
          </p:spPr>
          <p:txBody>
            <a:bodyPr rtlCol="0" anchor="ctr"/>
            <a:lstStyle/>
            <a:p>
              <a:endParaRPr lang="en-US" dirty="0"/>
            </a:p>
          </p:txBody>
        </p:sp>
        <p:sp>
          <p:nvSpPr>
            <p:cNvPr id="14" name="Freeform: Shape 13">
              <a:extLst>
                <a:ext uri="{FF2B5EF4-FFF2-40B4-BE49-F238E27FC236}">
                  <a16:creationId xmlns:a16="http://schemas.microsoft.com/office/drawing/2014/main" id="{695B833C-1A5D-4A1E-869E-6C9740257CA6}"/>
                </a:ext>
              </a:extLst>
            </p:cNvPr>
            <p:cNvSpPr/>
            <p:nvPr/>
          </p:nvSpPr>
          <p:spPr>
            <a:xfrm>
              <a:off x="1527751" y="6590823"/>
              <a:ext cx="90346" cy="163250"/>
            </a:xfrm>
            <a:custGeom>
              <a:avLst/>
              <a:gdLst>
                <a:gd name="connsiteX0" fmla="*/ 16810 w 90346"/>
                <a:gd name="connsiteY0" fmla="*/ 0 h 163250"/>
                <a:gd name="connsiteX1" fmla="*/ 0 w 90346"/>
                <a:gd name="connsiteY1" fmla="*/ 0 h 163250"/>
                <a:gd name="connsiteX2" fmla="*/ 0 w 90346"/>
                <a:gd name="connsiteY2" fmla="*/ 163250 h 163250"/>
                <a:gd name="connsiteX3" fmla="*/ 90347 w 90346"/>
                <a:gd name="connsiteY3" fmla="*/ 163250 h 163250"/>
                <a:gd name="connsiteX4" fmla="*/ 90347 w 90346"/>
                <a:gd name="connsiteY4" fmla="*/ 146813 h 163250"/>
                <a:gd name="connsiteX5" fmla="*/ 16810 w 90346"/>
                <a:gd name="connsiteY5" fmla="*/ 146813 h 163250"/>
                <a:gd name="connsiteX6" fmla="*/ 16810 w 90346"/>
                <a:gd name="connsiteY6" fmla="*/ 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346" h="163250">
                  <a:moveTo>
                    <a:pt x="16810" y="0"/>
                  </a:moveTo>
                  <a:lnTo>
                    <a:pt x="0" y="0"/>
                  </a:lnTo>
                  <a:lnTo>
                    <a:pt x="0" y="163250"/>
                  </a:lnTo>
                  <a:lnTo>
                    <a:pt x="90347" y="163250"/>
                  </a:lnTo>
                  <a:lnTo>
                    <a:pt x="90347" y="146813"/>
                  </a:lnTo>
                  <a:lnTo>
                    <a:pt x="16810" y="146813"/>
                  </a:lnTo>
                  <a:lnTo>
                    <a:pt x="16810" y="0"/>
                  </a:lnTo>
                  <a:close/>
                </a:path>
              </a:pathLst>
            </a:custGeom>
            <a:solidFill>
              <a:srgbClr val="E2E2E3"/>
            </a:solidFill>
            <a:ln w="3718"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1A4D68BA-AD47-4A87-9921-18B4F738AD16}"/>
                </a:ext>
              </a:extLst>
            </p:cNvPr>
            <p:cNvSpPr/>
            <p:nvPr/>
          </p:nvSpPr>
          <p:spPr>
            <a:xfrm>
              <a:off x="1640796" y="6593991"/>
              <a:ext cx="136563" cy="160268"/>
            </a:xfrm>
            <a:custGeom>
              <a:avLst/>
              <a:gdLst>
                <a:gd name="connsiteX0" fmla="*/ 36191 w 136563"/>
                <a:gd name="connsiteY0" fmla="*/ 119866 h 160268"/>
                <a:gd name="connsiteX1" fmla="*/ 37943 w 136563"/>
                <a:gd name="connsiteY1" fmla="*/ 115803 h 160268"/>
                <a:gd name="connsiteX2" fmla="*/ 51696 w 136563"/>
                <a:gd name="connsiteY2" fmla="*/ 81700 h 160268"/>
                <a:gd name="connsiteX3" fmla="*/ 65673 w 136563"/>
                <a:gd name="connsiteY3" fmla="*/ 47223 h 160268"/>
                <a:gd name="connsiteX4" fmla="*/ 68356 w 136563"/>
                <a:gd name="connsiteY4" fmla="*/ 41036 h 160268"/>
                <a:gd name="connsiteX5" fmla="*/ 71040 w 136563"/>
                <a:gd name="connsiteY5" fmla="*/ 47261 h 160268"/>
                <a:gd name="connsiteX6" fmla="*/ 84756 w 136563"/>
                <a:gd name="connsiteY6" fmla="*/ 81700 h 160268"/>
                <a:gd name="connsiteX7" fmla="*/ 98546 w 136563"/>
                <a:gd name="connsiteY7" fmla="*/ 115803 h 160268"/>
                <a:gd name="connsiteX8" fmla="*/ 100298 w 136563"/>
                <a:gd name="connsiteY8" fmla="*/ 119866 h 160268"/>
                <a:gd name="connsiteX9" fmla="*/ 118636 w 136563"/>
                <a:gd name="connsiteY9" fmla="*/ 160268 h 160268"/>
                <a:gd name="connsiteX10" fmla="*/ 136563 w 136563"/>
                <a:gd name="connsiteY10" fmla="*/ 160268 h 160268"/>
                <a:gd name="connsiteX11" fmla="*/ 68319 w 136563"/>
                <a:gd name="connsiteY11" fmla="*/ 0 h 160268"/>
                <a:gd name="connsiteX12" fmla="*/ 0 w 136563"/>
                <a:gd name="connsiteY12" fmla="*/ 160268 h 160268"/>
                <a:gd name="connsiteX13" fmla="*/ 18002 w 136563"/>
                <a:gd name="connsiteY13" fmla="*/ 160268 h 160268"/>
                <a:gd name="connsiteX14" fmla="*/ 30488 w 136563"/>
                <a:gd name="connsiteY14" fmla="*/ 132426 h 160268"/>
                <a:gd name="connsiteX15" fmla="*/ 106113 w 136563"/>
                <a:gd name="connsiteY15" fmla="*/ 132426 h 160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6563" h="160268">
                  <a:moveTo>
                    <a:pt x="36191" y="119866"/>
                  </a:moveTo>
                  <a:lnTo>
                    <a:pt x="37943" y="115803"/>
                  </a:lnTo>
                  <a:cubicBezTo>
                    <a:pt x="42452" y="105255"/>
                    <a:pt x="47074" y="93776"/>
                    <a:pt x="51696" y="81700"/>
                  </a:cubicBezTo>
                  <a:cubicBezTo>
                    <a:pt x="56318" y="69624"/>
                    <a:pt x="61088" y="57846"/>
                    <a:pt x="65673" y="47223"/>
                  </a:cubicBezTo>
                  <a:lnTo>
                    <a:pt x="68356" y="41036"/>
                  </a:lnTo>
                  <a:lnTo>
                    <a:pt x="71040" y="47261"/>
                  </a:lnTo>
                  <a:cubicBezTo>
                    <a:pt x="75550" y="57883"/>
                    <a:pt x="80171" y="69624"/>
                    <a:pt x="84756" y="81700"/>
                  </a:cubicBezTo>
                  <a:cubicBezTo>
                    <a:pt x="89340" y="93776"/>
                    <a:pt x="93925" y="105255"/>
                    <a:pt x="98546" y="115803"/>
                  </a:cubicBezTo>
                  <a:lnTo>
                    <a:pt x="100298" y="119866"/>
                  </a:lnTo>
                  <a:close/>
                  <a:moveTo>
                    <a:pt x="118636" y="160268"/>
                  </a:moveTo>
                  <a:lnTo>
                    <a:pt x="136563" y="160268"/>
                  </a:lnTo>
                  <a:lnTo>
                    <a:pt x="68319" y="0"/>
                  </a:lnTo>
                  <a:lnTo>
                    <a:pt x="0" y="160268"/>
                  </a:lnTo>
                  <a:lnTo>
                    <a:pt x="18002" y="160268"/>
                  </a:lnTo>
                  <a:lnTo>
                    <a:pt x="30488" y="132426"/>
                  </a:lnTo>
                  <a:lnTo>
                    <a:pt x="106113" y="132426"/>
                  </a:lnTo>
                  <a:close/>
                </a:path>
              </a:pathLst>
            </a:custGeom>
            <a:solidFill>
              <a:srgbClr val="E2E2E3"/>
            </a:solidFill>
            <a:ln w="3718"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9170D0B6-8376-421B-8BD3-FEFA0165CF6E}"/>
                </a:ext>
              </a:extLst>
            </p:cNvPr>
            <p:cNvSpPr/>
            <p:nvPr/>
          </p:nvSpPr>
          <p:spPr>
            <a:xfrm>
              <a:off x="1800505" y="6590487"/>
              <a:ext cx="127208" cy="164070"/>
            </a:xfrm>
            <a:custGeom>
              <a:avLst/>
              <a:gdLst>
                <a:gd name="connsiteX0" fmla="*/ 110436 w 127208"/>
                <a:gd name="connsiteY0" fmla="*/ 119120 h 164070"/>
                <a:gd name="connsiteX1" fmla="*/ 0 w 127208"/>
                <a:gd name="connsiteY1" fmla="*/ 3019 h 164070"/>
                <a:gd name="connsiteX2" fmla="*/ 0 w 127208"/>
                <a:gd name="connsiteY2" fmla="*/ 164070 h 164070"/>
                <a:gd name="connsiteX3" fmla="*/ 16810 w 127208"/>
                <a:gd name="connsiteY3" fmla="*/ 164070 h 164070"/>
                <a:gd name="connsiteX4" fmla="*/ 16810 w 127208"/>
                <a:gd name="connsiteY4" fmla="*/ 44540 h 164070"/>
                <a:gd name="connsiteX5" fmla="*/ 127208 w 127208"/>
                <a:gd name="connsiteY5" fmla="*/ 162244 h 164070"/>
                <a:gd name="connsiteX6" fmla="*/ 127208 w 127208"/>
                <a:gd name="connsiteY6" fmla="*/ 0 h 164070"/>
                <a:gd name="connsiteX7" fmla="*/ 110436 w 127208"/>
                <a:gd name="connsiteY7" fmla="*/ 0 h 164070"/>
                <a:gd name="connsiteX8" fmla="*/ 110436 w 127208"/>
                <a:gd name="connsiteY8" fmla="*/ 119120 h 16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208" h="164070">
                  <a:moveTo>
                    <a:pt x="110436" y="119120"/>
                  </a:moveTo>
                  <a:lnTo>
                    <a:pt x="0" y="3019"/>
                  </a:lnTo>
                  <a:lnTo>
                    <a:pt x="0" y="164070"/>
                  </a:lnTo>
                  <a:lnTo>
                    <a:pt x="16810" y="164070"/>
                  </a:lnTo>
                  <a:lnTo>
                    <a:pt x="16810" y="44540"/>
                  </a:lnTo>
                  <a:lnTo>
                    <a:pt x="127208" y="162244"/>
                  </a:lnTo>
                  <a:lnTo>
                    <a:pt x="127208" y="0"/>
                  </a:lnTo>
                  <a:lnTo>
                    <a:pt x="110436" y="0"/>
                  </a:lnTo>
                  <a:lnTo>
                    <a:pt x="110436" y="119120"/>
                  </a:lnTo>
                  <a:close/>
                </a:path>
              </a:pathLst>
            </a:custGeom>
            <a:solidFill>
              <a:srgbClr val="E2E2E3"/>
            </a:solidFill>
            <a:ln w="3718" cap="flat">
              <a:no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31A4239E-E1DB-4B9B-A879-C3D6F6681801}"/>
                </a:ext>
              </a:extLst>
            </p:cNvPr>
            <p:cNvSpPr/>
            <p:nvPr/>
          </p:nvSpPr>
          <p:spPr>
            <a:xfrm>
              <a:off x="1956301" y="6590935"/>
              <a:ext cx="120414" cy="163325"/>
            </a:xfrm>
            <a:custGeom>
              <a:avLst/>
              <a:gdLst>
                <a:gd name="connsiteX0" fmla="*/ 64704 w 120414"/>
                <a:gd name="connsiteY0" fmla="*/ 142080 h 163325"/>
                <a:gd name="connsiteX1" fmla="*/ 38912 w 120414"/>
                <a:gd name="connsiteY1" fmla="*/ 146478 h 163325"/>
                <a:gd name="connsiteX2" fmla="*/ 16549 w 120414"/>
                <a:gd name="connsiteY2" fmla="*/ 146478 h 163325"/>
                <a:gd name="connsiteX3" fmla="*/ 16549 w 120414"/>
                <a:gd name="connsiteY3" fmla="*/ 16474 h 163325"/>
                <a:gd name="connsiteX4" fmla="*/ 38539 w 120414"/>
                <a:gd name="connsiteY4" fmla="*/ 16474 h 163325"/>
                <a:gd name="connsiteX5" fmla="*/ 64629 w 120414"/>
                <a:gd name="connsiteY5" fmla="*/ 20872 h 163325"/>
                <a:gd name="connsiteX6" fmla="*/ 85650 w 120414"/>
                <a:gd name="connsiteY6" fmla="*/ 34476 h 163325"/>
                <a:gd name="connsiteX7" fmla="*/ 99180 w 120414"/>
                <a:gd name="connsiteY7" fmla="*/ 55535 h 163325"/>
                <a:gd name="connsiteX8" fmla="*/ 103578 w 120414"/>
                <a:gd name="connsiteY8" fmla="*/ 81625 h 163325"/>
                <a:gd name="connsiteX9" fmla="*/ 99180 w 120414"/>
                <a:gd name="connsiteY9" fmla="*/ 107715 h 163325"/>
                <a:gd name="connsiteX10" fmla="*/ 85799 w 120414"/>
                <a:gd name="connsiteY10" fmla="*/ 128811 h 163325"/>
                <a:gd name="connsiteX11" fmla="*/ 64815 w 120414"/>
                <a:gd name="connsiteY11" fmla="*/ 142266 h 163325"/>
                <a:gd name="connsiteX12" fmla="*/ 114983 w 120414"/>
                <a:gd name="connsiteY12" fmla="*/ 113492 h 163325"/>
                <a:gd name="connsiteX13" fmla="*/ 114983 w 120414"/>
                <a:gd name="connsiteY13" fmla="*/ 50130 h 163325"/>
                <a:gd name="connsiteX14" fmla="*/ 98845 w 120414"/>
                <a:gd name="connsiteY14" fmla="*/ 24040 h 163325"/>
                <a:gd name="connsiteX15" fmla="*/ 71487 w 120414"/>
                <a:gd name="connsiteY15" fmla="*/ 6187 h 163325"/>
                <a:gd name="connsiteX16" fmla="*/ 43161 w 120414"/>
                <a:gd name="connsiteY16" fmla="*/ 0 h 163325"/>
                <a:gd name="connsiteX17" fmla="*/ 0 w 120414"/>
                <a:gd name="connsiteY17" fmla="*/ 0 h 163325"/>
                <a:gd name="connsiteX18" fmla="*/ 0 w 120414"/>
                <a:gd name="connsiteY18" fmla="*/ 163325 h 163325"/>
                <a:gd name="connsiteX19" fmla="*/ 38688 w 120414"/>
                <a:gd name="connsiteY19" fmla="*/ 163325 h 163325"/>
                <a:gd name="connsiteX20" fmla="*/ 71487 w 120414"/>
                <a:gd name="connsiteY20" fmla="*/ 156989 h 163325"/>
                <a:gd name="connsiteX21" fmla="*/ 98509 w 120414"/>
                <a:gd name="connsiteY21" fmla="*/ 139322 h 163325"/>
                <a:gd name="connsiteX22" fmla="*/ 114760 w 120414"/>
                <a:gd name="connsiteY22" fmla="*/ 113232 h 16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0414" h="163325">
                  <a:moveTo>
                    <a:pt x="64704" y="142080"/>
                  </a:moveTo>
                  <a:cubicBezTo>
                    <a:pt x="56437" y="145074"/>
                    <a:pt x="47704" y="146564"/>
                    <a:pt x="38912" y="146478"/>
                  </a:cubicBezTo>
                  <a:lnTo>
                    <a:pt x="16549" y="146478"/>
                  </a:lnTo>
                  <a:lnTo>
                    <a:pt x="16549" y="16474"/>
                  </a:lnTo>
                  <a:lnTo>
                    <a:pt x="38539" y="16474"/>
                  </a:lnTo>
                  <a:cubicBezTo>
                    <a:pt x="47428" y="16361"/>
                    <a:pt x="56269" y="17850"/>
                    <a:pt x="64629" y="20872"/>
                  </a:cubicBezTo>
                  <a:cubicBezTo>
                    <a:pt x="72486" y="23938"/>
                    <a:pt x="79635" y="28566"/>
                    <a:pt x="85650" y="34476"/>
                  </a:cubicBezTo>
                  <a:cubicBezTo>
                    <a:pt x="91610" y="40450"/>
                    <a:pt x="96224" y="47630"/>
                    <a:pt x="99180" y="55535"/>
                  </a:cubicBezTo>
                  <a:cubicBezTo>
                    <a:pt x="102195" y="63898"/>
                    <a:pt x="103686" y="72735"/>
                    <a:pt x="103578" y="81625"/>
                  </a:cubicBezTo>
                  <a:cubicBezTo>
                    <a:pt x="103690" y="90516"/>
                    <a:pt x="102203" y="99353"/>
                    <a:pt x="99180" y="107715"/>
                  </a:cubicBezTo>
                  <a:cubicBezTo>
                    <a:pt x="96258" y="115613"/>
                    <a:pt x="91700" y="122803"/>
                    <a:pt x="85799" y="128811"/>
                  </a:cubicBezTo>
                  <a:cubicBezTo>
                    <a:pt x="79855" y="134752"/>
                    <a:pt x="72695" y="139342"/>
                    <a:pt x="64815" y="142266"/>
                  </a:cubicBezTo>
                  <a:moveTo>
                    <a:pt x="114983" y="113492"/>
                  </a:moveTo>
                  <a:cubicBezTo>
                    <a:pt x="122225" y="92993"/>
                    <a:pt x="122225" y="70630"/>
                    <a:pt x="114983" y="50130"/>
                  </a:cubicBezTo>
                  <a:cubicBezTo>
                    <a:pt x="111647" y="40324"/>
                    <a:pt x="106131" y="31404"/>
                    <a:pt x="98845" y="24040"/>
                  </a:cubicBezTo>
                  <a:cubicBezTo>
                    <a:pt x="91036" y="16288"/>
                    <a:pt x="81726" y="10213"/>
                    <a:pt x="71487" y="6187"/>
                  </a:cubicBezTo>
                  <a:cubicBezTo>
                    <a:pt x="62456" y="2562"/>
                    <a:pt x="52881" y="471"/>
                    <a:pt x="43161" y="0"/>
                  </a:cubicBezTo>
                  <a:lnTo>
                    <a:pt x="0" y="0"/>
                  </a:lnTo>
                  <a:lnTo>
                    <a:pt x="0" y="163325"/>
                  </a:lnTo>
                  <a:lnTo>
                    <a:pt x="38688" y="163325"/>
                  </a:lnTo>
                  <a:cubicBezTo>
                    <a:pt x="49929" y="163357"/>
                    <a:pt x="61066" y="161205"/>
                    <a:pt x="71487" y="156989"/>
                  </a:cubicBezTo>
                  <a:cubicBezTo>
                    <a:pt x="81618" y="153032"/>
                    <a:pt x="90820" y="147016"/>
                    <a:pt x="98509" y="139322"/>
                  </a:cubicBezTo>
                  <a:cubicBezTo>
                    <a:pt x="105826" y="131963"/>
                    <a:pt x="111383" y="123044"/>
                    <a:pt x="114760" y="113232"/>
                  </a:cubicBezTo>
                </a:path>
              </a:pathLst>
            </a:custGeom>
            <a:solidFill>
              <a:srgbClr val="E2E2E3"/>
            </a:solidFill>
            <a:ln w="3718" cap="flat">
              <a:noFill/>
              <a:prstDash val="solid"/>
              <a:miter/>
            </a:ln>
          </p:spPr>
          <p:txBody>
            <a:bodyPr rtlCol="0" anchor="ctr"/>
            <a:lstStyle/>
            <a:p>
              <a:endParaRPr lang="en-US" dirty="0"/>
            </a:p>
          </p:txBody>
        </p:sp>
        <p:sp>
          <p:nvSpPr>
            <p:cNvPr id="18" name="Freeform: Shape 17">
              <a:extLst>
                <a:ext uri="{FF2B5EF4-FFF2-40B4-BE49-F238E27FC236}">
                  <a16:creationId xmlns:a16="http://schemas.microsoft.com/office/drawing/2014/main" id="{1C50E4F4-CB30-4422-8BB2-07D44F5F85F5}"/>
                </a:ext>
              </a:extLst>
            </p:cNvPr>
            <p:cNvSpPr/>
            <p:nvPr/>
          </p:nvSpPr>
          <p:spPr>
            <a:xfrm>
              <a:off x="370754" y="6588754"/>
              <a:ext cx="167181" cy="167152"/>
            </a:xfrm>
            <a:custGeom>
              <a:avLst/>
              <a:gdLst>
                <a:gd name="connsiteX0" fmla="*/ 48014 w 167181"/>
                <a:gd name="connsiteY0" fmla="*/ 48062 h 167152"/>
                <a:gd name="connsiteX1" fmla="*/ 118646 w 167181"/>
                <a:gd name="connsiteY1" fmla="*/ 47877 h 167152"/>
                <a:gd name="connsiteX2" fmla="*/ 118830 w 167181"/>
                <a:gd name="connsiteY2" fmla="*/ 48062 h 167152"/>
                <a:gd name="connsiteX3" fmla="*/ 133739 w 167181"/>
                <a:gd name="connsiteY3" fmla="*/ 83544 h 167152"/>
                <a:gd name="connsiteX4" fmla="*/ 118830 w 167181"/>
                <a:gd name="connsiteY4" fmla="*/ 119027 h 167152"/>
                <a:gd name="connsiteX5" fmla="*/ 48014 w 167181"/>
                <a:gd name="connsiteY5" fmla="*/ 119027 h 167152"/>
                <a:gd name="connsiteX6" fmla="*/ 33292 w 167181"/>
                <a:gd name="connsiteY6" fmla="*/ 83507 h 167152"/>
                <a:gd name="connsiteX7" fmla="*/ 48014 w 167181"/>
                <a:gd name="connsiteY7" fmla="*/ 48024 h 167152"/>
                <a:gd name="connsiteX8" fmla="*/ 83460 w 167181"/>
                <a:gd name="connsiteY8" fmla="*/ 167108 h 167152"/>
                <a:gd name="connsiteX9" fmla="*/ 142573 w 167181"/>
                <a:gd name="connsiteY9" fmla="*/ 142806 h 167152"/>
                <a:gd name="connsiteX10" fmla="*/ 167172 w 167181"/>
                <a:gd name="connsiteY10" fmla="*/ 83693 h 167152"/>
                <a:gd name="connsiteX11" fmla="*/ 142573 w 167181"/>
                <a:gd name="connsiteY11" fmla="*/ 24543 h 167152"/>
                <a:gd name="connsiteX12" fmla="*/ 24924 w 167181"/>
                <a:gd name="connsiteY12" fmla="*/ 24189 h 167152"/>
                <a:gd name="connsiteX13" fmla="*/ 24533 w 167181"/>
                <a:gd name="connsiteY13" fmla="*/ 24580 h 167152"/>
                <a:gd name="connsiteX14" fmla="*/ 8 w 167181"/>
                <a:gd name="connsiteY14" fmla="*/ 83731 h 167152"/>
                <a:gd name="connsiteX15" fmla="*/ 24533 w 167181"/>
                <a:gd name="connsiteY15" fmla="*/ 142844 h 167152"/>
                <a:gd name="connsiteX16" fmla="*/ 83609 w 167181"/>
                <a:gd name="connsiteY16" fmla="*/ 167145 h 16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7181" h="167152">
                  <a:moveTo>
                    <a:pt x="48014" y="48062"/>
                  </a:moveTo>
                  <a:cubicBezTo>
                    <a:pt x="67467" y="28506"/>
                    <a:pt x="99090" y="28424"/>
                    <a:pt x="118646" y="47877"/>
                  </a:cubicBezTo>
                  <a:cubicBezTo>
                    <a:pt x="118707" y="47938"/>
                    <a:pt x="118769" y="48000"/>
                    <a:pt x="118830" y="48062"/>
                  </a:cubicBezTo>
                  <a:cubicBezTo>
                    <a:pt x="128486" y="57324"/>
                    <a:pt x="133882" y="70166"/>
                    <a:pt x="133739" y="83544"/>
                  </a:cubicBezTo>
                  <a:cubicBezTo>
                    <a:pt x="133931" y="96933"/>
                    <a:pt x="128527" y="109794"/>
                    <a:pt x="118830" y="119027"/>
                  </a:cubicBezTo>
                  <a:cubicBezTo>
                    <a:pt x="99245" y="138511"/>
                    <a:pt x="67599" y="138511"/>
                    <a:pt x="48014" y="119027"/>
                  </a:cubicBezTo>
                  <a:cubicBezTo>
                    <a:pt x="38418" y="109724"/>
                    <a:pt x="33090" y="96871"/>
                    <a:pt x="33292" y="83507"/>
                  </a:cubicBezTo>
                  <a:cubicBezTo>
                    <a:pt x="33145" y="70165"/>
                    <a:pt x="38464" y="57343"/>
                    <a:pt x="48014" y="48024"/>
                  </a:cubicBezTo>
                  <a:moveTo>
                    <a:pt x="83460" y="167108"/>
                  </a:moveTo>
                  <a:cubicBezTo>
                    <a:pt x="105663" y="167458"/>
                    <a:pt x="127035" y="158672"/>
                    <a:pt x="142573" y="142806"/>
                  </a:cubicBezTo>
                  <a:cubicBezTo>
                    <a:pt x="158615" y="127366"/>
                    <a:pt x="167524" y="105957"/>
                    <a:pt x="167172" y="83693"/>
                  </a:cubicBezTo>
                  <a:cubicBezTo>
                    <a:pt x="167485" y="61427"/>
                    <a:pt x="158583" y="40021"/>
                    <a:pt x="142573" y="24543"/>
                  </a:cubicBezTo>
                  <a:cubicBezTo>
                    <a:pt x="110183" y="-8042"/>
                    <a:pt x="57510" y="-8201"/>
                    <a:pt x="24924" y="24189"/>
                  </a:cubicBezTo>
                  <a:cubicBezTo>
                    <a:pt x="24793" y="24319"/>
                    <a:pt x="24663" y="24450"/>
                    <a:pt x="24533" y="24580"/>
                  </a:cubicBezTo>
                  <a:cubicBezTo>
                    <a:pt x="8591" y="40099"/>
                    <a:pt x="-276" y="61485"/>
                    <a:pt x="8" y="83731"/>
                  </a:cubicBezTo>
                  <a:cubicBezTo>
                    <a:pt x="-310" y="105972"/>
                    <a:pt x="8564" y="127360"/>
                    <a:pt x="24533" y="142844"/>
                  </a:cubicBezTo>
                  <a:cubicBezTo>
                    <a:pt x="40084" y="158666"/>
                    <a:pt x="61426" y="167445"/>
                    <a:pt x="83609" y="167145"/>
                  </a:cubicBezTo>
                </a:path>
              </a:pathLst>
            </a:custGeom>
            <a:solidFill>
              <a:srgbClr val="E2E2E3"/>
            </a:solidFill>
            <a:ln w="3718"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5364035F-3DB2-4430-8204-323C9A7574A2}"/>
                </a:ext>
              </a:extLst>
            </p:cNvPr>
            <p:cNvSpPr/>
            <p:nvPr/>
          </p:nvSpPr>
          <p:spPr>
            <a:xfrm>
              <a:off x="552052" y="6589991"/>
              <a:ext cx="121133" cy="164789"/>
            </a:xfrm>
            <a:custGeom>
              <a:avLst/>
              <a:gdLst>
                <a:gd name="connsiteX0" fmla="*/ 33321 w 121133"/>
                <a:gd name="connsiteY0" fmla="*/ 32848 h 164789"/>
                <a:gd name="connsiteX1" fmla="*/ 51957 w 121133"/>
                <a:gd name="connsiteY1" fmla="*/ 32848 h 164789"/>
                <a:gd name="connsiteX2" fmla="*/ 72382 w 121133"/>
                <a:gd name="connsiteY2" fmla="*/ 39371 h 164789"/>
                <a:gd name="connsiteX3" fmla="*/ 78941 w 121133"/>
                <a:gd name="connsiteY3" fmla="*/ 55211 h 164789"/>
                <a:gd name="connsiteX4" fmla="*/ 56914 w 121133"/>
                <a:gd name="connsiteY4" fmla="*/ 78543 h 164789"/>
                <a:gd name="connsiteX5" fmla="*/ 45732 w 121133"/>
                <a:gd name="connsiteY5" fmla="*/ 78543 h 164789"/>
                <a:gd name="connsiteX6" fmla="*/ 45732 w 121133"/>
                <a:gd name="connsiteY6" fmla="*/ 78543 h 164789"/>
                <a:gd name="connsiteX7" fmla="*/ 33321 w 121133"/>
                <a:gd name="connsiteY7" fmla="*/ 78543 h 164789"/>
                <a:gd name="connsiteX8" fmla="*/ 33321 w 121133"/>
                <a:gd name="connsiteY8" fmla="*/ 164790 h 164789"/>
                <a:gd name="connsiteX9" fmla="*/ 33321 w 121133"/>
                <a:gd name="connsiteY9" fmla="*/ 91924 h 164789"/>
                <a:gd name="connsiteX10" fmla="*/ 80656 w 121133"/>
                <a:gd name="connsiteY10" fmla="*/ 164790 h 164789"/>
                <a:gd name="connsiteX11" fmla="*/ 121133 w 121133"/>
                <a:gd name="connsiteY11" fmla="*/ 164790 h 164789"/>
                <a:gd name="connsiteX12" fmla="*/ 82818 w 121133"/>
                <a:gd name="connsiteY12" fmla="*/ 105155 h 164789"/>
                <a:gd name="connsiteX13" fmla="*/ 102423 w 121133"/>
                <a:gd name="connsiteY13" fmla="*/ 89725 h 164789"/>
                <a:gd name="connsiteX14" fmla="*/ 112859 w 121133"/>
                <a:gd name="connsiteY14" fmla="*/ 58342 h 164789"/>
                <a:gd name="connsiteX15" fmla="*/ 112859 w 121133"/>
                <a:gd name="connsiteY15" fmla="*/ 54205 h 164789"/>
                <a:gd name="connsiteX16" fmla="*/ 96906 w 121133"/>
                <a:gd name="connsiteY16" fmla="*/ 16933 h 164789"/>
                <a:gd name="connsiteX17" fmla="*/ 53746 w 121133"/>
                <a:gd name="connsiteY17" fmla="*/ 12 h 164789"/>
                <a:gd name="connsiteX18" fmla="*/ 0 w 121133"/>
                <a:gd name="connsiteY18" fmla="*/ 12 h 164789"/>
                <a:gd name="connsiteX19" fmla="*/ 0 w 121133"/>
                <a:gd name="connsiteY19" fmla="*/ 164790 h 16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133" h="164789">
                  <a:moveTo>
                    <a:pt x="33321" y="32848"/>
                  </a:moveTo>
                  <a:lnTo>
                    <a:pt x="51957" y="32848"/>
                  </a:lnTo>
                  <a:cubicBezTo>
                    <a:pt x="59325" y="32508"/>
                    <a:pt x="66575" y="34822"/>
                    <a:pt x="72382" y="39371"/>
                  </a:cubicBezTo>
                  <a:cubicBezTo>
                    <a:pt x="76586" y="43570"/>
                    <a:pt x="78945" y="49269"/>
                    <a:pt x="78941" y="55211"/>
                  </a:cubicBezTo>
                  <a:cubicBezTo>
                    <a:pt x="79296" y="67735"/>
                    <a:pt x="69437" y="78178"/>
                    <a:pt x="56914" y="78543"/>
                  </a:cubicBezTo>
                  <a:lnTo>
                    <a:pt x="45732" y="78543"/>
                  </a:lnTo>
                  <a:lnTo>
                    <a:pt x="45732" y="78543"/>
                  </a:lnTo>
                  <a:lnTo>
                    <a:pt x="33321" y="78543"/>
                  </a:lnTo>
                  <a:close/>
                  <a:moveTo>
                    <a:pt x="33321" y="164790"/>
                  </a:moveTo>
                  <a:lnTo>
                    <a:pt x="33321" y="91924"/>
                  </a:lnTo>
                  <a:lnTo>
                    <a:pt x="80656" y="164790"/>
                  </a:lnTo>
                  <a:lnTo>
                    <a:pt x="121133" y="164790"/>
                  </a:lnTo>
                  <a:lnTo>
                    <a:pt x="82818" y="105155"/>
                  </a:lnTo>
                  <a:cubicBezTo>
                    <a:pt x="90932" y="102416"/>
                    <a:pt x="97853" y="96968"/>
                    <a:pt x="102423" y="89725"/>
                  </a:cubicBezTo>
                  <a:cubicBezTo>
                    <a:pt x="109132" y="80630"/>
                    <a:pt x="112784" y="69643"/>
                    <a:pt x="112859" y="58342"/>
                  </a:cubicBezTo>
                  <a:lnTo>
                    <a:pt x="112859" y="54205"/>
                  </a:lnTo>
                  <a:cubicBezTo>
                    <a:pt x="112859" y="35979"/>
                    <a:pt x="106933" y="26810"/>
                    <a:pt x="96906" y="16933"/>
                  </a:cubicBezTo>
                  <a:cubicBezTo>
                    <a:pt x="85337" y="5785"/>
                    <a:pt x="69810" y="-303"/>
                    <a:pt x="53746" y="12"/>
                  </a:cubicBezTo>
                  <a:lnTo>
                    <a:pt x="0" y="12"/>
                  </a:lnTo>
                  <a:lnTo>
                    <a:pt x="0" y="164790"/>
                  </a:lnTo>
                  <a:close/>
                </a:path>
              </a:pathLst>
            </a:custGeom>
            <a:solidFill>
              <a:srgbClr val="E2E2E3"/>
            </a:solidFill>
            <a:ln w="3718" cap="flat">
              <a:noFill/>
              <a:prstDash val="solid"/>
              <a:miter/>
            </a:ln>
          </p:spPr>
          <p:txBody>
            <a:bodyPr rtlCol="0" anchor="ctr"/>
            <a:lstStyle/>
            <a:p>
              <a:endParaRPr lang="en-US" dirty="0"/>
            </a:p>
          </p:txBody>
        </p:sp>
        <p:sp>
          <p:nvSpPr>
            <p:cNvPr id="20" name="Freeform: Shape 19">
              <a:extLst>
                <a:ext uri="{FF2B5EF4-FFF2-40B4-BE49-F238E27FC236}">
                  <a16:creationId xmlns:a16="http://schemas.microsoft.com/office/drawing/2014/main" id="{DB8F31DC-F67C-4A7A-8EB4-2D55F7ED8544}"/>
                </a:ext>
              </a:extLst>
            </p:cNvPr>
            <p:cNvSpPr/>
            <p:nvPr/>
          </p:nvSpPr>
          <p:spPr>
            <a:xfrm>
              <a:off x="681161" y="6590003"/>
              <a:ext cx="114275" cy="164778"/>
            </a:xfrm>
            <a:custGeom>
              <a:avLst/>
              <a:gdLst>
                <a:gd name="connsiteX0" fmla="*/ 40552 w 114275"/>
                <a:gd name="connsiteY0" fmla="*/ 164778 h 164778"/>
                <a:gd name="connsiteX1" fmla="*/ 73798 w 114275"/>
                <a:gd name="connsiteY1" fmla="*/ 164778 h 164778"/>
                <a:gd name="connsiteX2" fmla="*/ 73798 w 114275"/>
                <a:gd name="connsiteY2" fmla="*/ 32836 h 164778"/>
                <a:gd name="connsiteX3" fmla="*/ 114275 w 114275"/>
                <a:gd name="connsiteY3" fmla="*/ 32836 h 164778"/>
                <a:gd name="connsiteX4" fmla="*/ 114275 w 114275"/>
                <a:gd name="connsiteY4" fmla="*/ 0 h 164778"/>
                <a:gd name="connsiteX5" fmla="*/ 0 w 114275"/>
                <a:gd name="connsiteY5" fmla="*/ 0 h 164778"/>
                <a:gd name="connsiteX6" fmla="*/ 0 w 114275"/>
                <a:gd name="connsiteY6" fmla="*/ 32836 h 164778"/>
                <a:gd name="connsiteX7" fmla="*/ 40552 w 114275"/>
                <a:gd name="connsiteY7" fmla="*/ 32836 h 164778"/>
                <a:gd name="connsiteX8" fmla="*/ 40552 w 114275"/>
                <a:gd name="connsiteY8" fmla="*/ 164778 h 16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275" h="164778">
                  <a:moveTo>
                    <a:pt x="40552" y="164778"/>
                  </a:moveTo>
                  <a:lnTo>
                    <a:pt x="73798" y="164778"/>
                  </a:lnTo>
                  <a:lnTo>
                    <a:pt x="73798" y="32836"/>
                  </a:lnTo>
                  <a:lnTo>
                    <a:pt x="114275" y="32836"/>
                  </a:lnTo>
                  <a:lnTo>
                    <a:pt x="114275" y="0"/>
                  </a:lnTo>
                  <a:lnTo>
                    <a:pt x="0" y="0"/>
                  </a:lnTo>
                  <a:lnTo>
                    <a:pt x="0" y="32836"/>
                  </a:lnTo>
                  <a:lnTo>
                    <a:pt x="40552" y="32836"/>
                  </a:lnTo>
                  <a:lnTo>
                    <a:pt x="40552" y="164778"/>
                  </a:lnTo>
                  <a:close/>
                </a:path>
              </a:pathLst>
            </a:custGeom>
            <a:solidFill>
              <a:srgbClr val="E2E2E3"/>
            </a:solidFill>
            <a:ln w="3718"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119D7DF2-B316-4A4F-8EAF-7660F2DECAB0}"/>
                </a:ext>
              </a:extLst>
            </p:cNvPr>
            <p:cNvSpPr/>
            <p:nvPr/>
          </p:nvSpPr>
          <p:spPr>
            <a:xfrm>
              <a:off x="809749" y="6590003"/>
              <a:ext cx="121095" cy="164778"/>
            </a:xfrm>
            <a:custGeom>
              <a:avLst/>
              <a:gdLst>
                <a:gd name="connsiteX0" fmla="*/ 33023 w 121095"/>
                <a:gd name="connsiteY0" fmla="*/ 98770 h 164778"/>
                <a:gd name="connsiteX1" fmla="*/ 88110 w 121095"/>
                <a:gd name="connsiteY1" fmla="*/ 98770 h 164778"/>
                <a:gd name="connsiteX2" fmla="*/ 88110 w 121095"/>
                <a:gd name="connsiteY2" fmla="*/ 164778 h 164778"/>
                <a:gd name="connsiteX3" fmla="*/ 121096 w 121095"/>
                <a:gd name="connsiteY3" fmla="*/ 164778 h 164778"/>
                <a:gd name="connsiteX4" fmla="*/ 121096 w 121095"/>
                <a:gd name="connsiteY4" fmla="*/ 0 h 164778"/>
                <a:gd name="connsiteX5" fmla="*/ 88110 w 121095"/>
                <a:gd name="connsiteY5" fmla="*/ 0 h 164778"/>
                <a:gd name="connsiteX6" fmla="*/ 88110 w 121095"/>
                <a:gd name="connsiteY6" fmla="*/ 65934 h 164778"/>
                <a:gd name="connsiteX7" fmla="*/ 33023 w 121095"/>
                <a:gd name="connsiteY7" fmla="*/ 65934 h 164778"/>
                <a:gd name="connsiteX8" fmla="*/ 33023 w 121095"/>
                <a:gd name="connsiteY8" fmla="*/ 0 h 164778"/>
                <a:gd name="connsiteX9" fmla="*/ 0 w 121095"/>
                <a:gd name="connsiteY9" fmla="*/ 0 h 164778"/>
                <a:gd name="connsiteX10" fmla="*/ 0 w 121095"/>
                <a:gd name="connsiteY10" fmla="*/ 164778 h 164778"/>
                <a:gd name="connsiteX11" fmla="*/ 33023 w 121095"/>
                <a:gd name="connsiteY11" fmla="*/ 164778 h 164778"/>
                <a:gd name="connsiteX12" fmla="*/ 33023 w 121095"/>
                <a:gd name="connsiteY12" fmla="*/ 98770 h 16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095" h="164778">
                  <a:moveTo>
                    <a:pt x="33023" y="98770"/>
                  </a:moveTo>
                  <a:lnTo>
                    <a:pt x="88110" y="98770"/>
                  </a:lnTo>
                  <a:lnTo>
                    <a:pt x="88110" y="164778"/>
                  </a:lnTo>
                  <a:lnTo>
                    <a:pt x="121096" y="164778"/>
                  </a:lnTo>
                  <a:lnTo>
                    <a:pt x="121096" y="0"/>
                  </a:lnTo>
                  <a:lnTo>
                    <a:pt x="88110" y="0"/>
                  </a:lnTo>
                  <a:lnTo>
                    <a:pt x="88110" y="65934"/>
                  </a:lnTo>
                  <a:lnTo>
                    <a:pt x="33023" y="65934"/>
                  </a:lnTo>
                  <a:lnTo>
                    <a:pt x="33023" y="0"/>
                  </a:lnTo>
                  <a:lnTo>
                    <a:pt x="0" y="0"/>
                  </a:lnTo>
                  <a:lnTo>
                    <a:pt x="0" y="164778"/>
                  </a:lnTo>
                  <a:lnTo>
                    <a:pt x="33023" y="164778"/>
                  </a:lnTo>
                  <a:lnTo>
                    <a:pt x="33023" y="98770"/>
                  </a:lnTo>
                  <a:close/>
                </a:path>
              </a:pathLst>
            </a:custGeom>
            <a:solidFill>
              <a:srgbClr val="E2E2E3"/>
            </a:solidFill>
            <a:ln w="3718"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8B36A1D3-392B-4405-AB2C-13538FAD8D61}"/>
                </a:ext>
              </a:extLst>
            </p:cNvPr>
            <p:cNvSpPr/>
            <p:nvPr/>
          </p:nvSpPr>
          <p:spPr>
            <a:xfrm>
              <a:off x="223838" y="6589593"/>
              <a:ext cx="132463" cy="168580"/>
            </a:xfrm>
            <a:custGeom>
              <a:avLst/>
              <a:gdLst>
                <a:gd name="connsiteX0" fmla="*/ 0 w 132463"/>
                <a:gd name="connsiteY0" fmla="*/ 165412 h 168580"/>
                <a:gd name="connsiteX1" fmla="*/ 33097 w 132463"/>
                <a:gd name="connsiteY1" fmla="*/ 165412 h 168580"/>
                <a:gd name="connsiteX2" fmla="*/ 33097 w 132463"/>
                <a:gd name="connsiteY2" fmla="*/ 73910 h 168580"/>
                <a:gd name="connsiteX3" fmla="*/ 132464 w 132463"/>
                <a:gd name="connsiteY3" fmla="*/ 168580 h 168580"/>
                <a:gd name="connsiteX4" fmla="*/ 132464 w 132463"/>
                <a:gd name="connsiteY4" fmla="*/ 0 h 168580"/>
                <a:gd name="connsiteX5" fmla="*/ 99255 w 132463"/>
                <a:gd name="connsiteY5" fmla="*/ 0 h 168580"/>
                <a:gd name="connsiteX6" fmla="*/ 99255 w 132463"/>
                <a:gd name="connsiteY6" fmla="*/ 91502 h 168580"/>
                <a:gd name="connsiteX7" fmla="*/ 48490 w 132463"/>
                <a:gd name="connsiteY7" fmla="*/ 43161 h 168580"/>
                <a:gd name="connsiteX8" fmla="*/ 0 w 132463"/>
                <a:gd name="connsiteY8" fmla="*/ 91651 h 168580"/>
                <a:gd name="connsiteX9" fmla="*/ 0 w 132463"/>
                <a:gd name="connsiteY9" fmla="*/ 165412 h 16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463" h="168580">
                  <a:moveTo>
                    <a:pt x="0" y="165412"/>
                  </a:moveTo>
                  <a:lnTo>
                    <a:pt x="33097" y="165412"/>
                  </a:lnTo>
                  <a:lnTo>
                    <a:pt x="33097" y="73910"/>
                  </a:lnTo>
                  <a:lnTo>
                    <a:pt x="132464" y="168580"/>
                  </a:lnTo>
                  <a:lnTo>
                    <a:pt x="132464" y="0"/>
                  </a:lnTo>
                  <a:lnTo>
                    <a:pt x="99255" y="0"/>
                  </a:lnTo>
                  <a:lnTo>
                    <a:pt x="99255" y="91502"/>
                  </a:lnTo>
                  <a:lnTo>
                    <a:pt x="48490" y="43161"/>
                  </a:lnTo>
                  <a:lnTo>
                    <a:pt x="0" y="91651"/>
                  </a:lnTo>
                  <a:lnTo>
                    <a:pt x="0" y="165412"/>
                  </a:lnTo>
                  <a:close/>
                </a:path>
              </a:pathLst>
            </a:custGeom>
            <a:solidFill>
              <a:srgbClr val="E2E2E3"/>
            </a:solidFill>
            <a:ln w="3718" cap="flat">
              <a:no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458EE651-502B-4CBD-B426-5806239E3B96}"/>
                </a:ext>
              </a:extLst>
            </p:cNvPr>
            <p:cNvSpPr/>
            <p:nvPr/>
          </p:nvSpPr>
          <p:spPr>
            <a:xfrm>
              <a:off x="223838" y="6586537"/>
              <a:ext cx="48490" cy="94707"/>
            </a:xfrm>
            <a:custGeom>
              <a:avLst/>
              <a:gdLst>
                <a:gd name="connsiteX0" fmla="*/ 0 w 48490"/>
                <a:gd name="connsiteY0" fmla="*/ 94707 h 94707"/>
                <a:gd name="connsiteX1" fmla="*/ 48490 w 48490"/>
                <a:gd name="connsiteY1" fmla="*/ 46180 h 94707"/>
                <a:gd name="connsiteX2" fmla="*/ 0 w 48490"/>
                <a:gd name="connsiteY2" fmla="*/ 0 h 94707"/>
                <a:gd name="connsiteX3" fmla="*/ 0 w 48490"/>
                <a:gd name="connsiteY3" fmla="*/ 94707 h 94707"/>
              </a:gdLst>
              <a:ahLst/>
              <a:cxnLst>
                <a:cxn ang="0">
                  <a:pos x="connsiteX0" y="connsiteY0"/>
                </a:cxn>
                <a:cxn ang="0">
                  <a:pos x="connsiteX1" y="connsiteY1"/>
                </a:cxn>
                <a:cxn ang="0">
                  <a:pos x="connsiteX2" y="connsiteY2"/>
                </a:cxn>
                <a:cxn ang="0">
                  <a:pos x="connsiteX3" y="connsiteY3"/>
                </a:cxn>
              </a:cxnLst>
              <a:rect l="l" t="t" r="r" b="b"/>
              <a:pathLst>
                <a:path w="48490" h="94707">
                  <a:moveTo>
                    <a:pt x="0" y="94707"/>
                  </a:moveTo>
                  <a:lnTo>
                    <a:pt x="48490" y="46180"/>
                  </a:lnTo>
                  <a:lnTo>
                    <a:pt x="0" y="0"/>
                  </a:lnTo>
                  <a:lnTo>
                    <a:pt x="0" y="94707"/>
                  </a:lnTo>
                  <a:close/>
                </a:path>
              </a:pathLst>
            </a:custGeom>
            <a:solidFill>
              <a:schemeClr val="accent3"/>
            </a:solidFill>
            <a:ln w="3718"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3656257702"/>
      </p:ext>
    </p:extLst>
  </p:cSld>
  <p:clrMapOvr>
    <a:overrideClrMapping bg1="dk1" tx1="lt1" bg2="dk2" tx2="lt2" accent1="accent1" accent2="accent2" accent3="accent3" accent4="accent4" accent5="accent5" accent6="accent6" hlink="hlink" folHlink="folHlink"/>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1_Section Divider Teal">
    <p:bg>
      <p:bgPr>
        <a:solidFill>
          <a:schemeClr val="accent3"/>
        </a:solid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904D09A-4AE1-41F7-8585-54F9D1A47C7F}"/>
              </a:ext>
            </a:extLst>
          </p:cNvPr>
          <p:cNvSpPr>
            <a:spLocks noGrp="1"/>
          </p:cNvSpPr>
          <p:nvPr>
            <p:ph type="sldNum" sz="quarter" idx="12"/>
          </p:nvPr>
        </p:nvSpPr>
        <p:spPr/>
        <p:txBody>
          <a:bodyPr/>
          <a:lstStyle/>
          <a:p>
            <a:fld id="{5034EE70-12A8-400F-8E3D-398CDD8B315D}" type="slidenum">
              <a:rPr lang="en-US" smtClean="0"/>
              <a:pPr/>
              <a:t>‹#›</a:t>
            </a:fld>
            <a:endParaRPr lang="en-US" dirty="0"/>
          </a:p>
        </p:txBody>
      </p:sp>
      <p:sp>
        <p:nvSpPr>
          <p:cNvPr id="3" name="TextBox 2">
            <a:extLst>
              <a:ext uri="{FF2B5EF4-FFF2-40B4-BE49-F238E27FC236}">
                <a16:creationId xmlns:a16="http://schemas.microsoft.com/office/drawing/2014/main" id="{8F0FEF4F-CB78-4E83-B032-12859ABB3DF4}"/>
              </a:ext>
            </a:extLst>
          </p:cNvPr>
          <p:cNvSpPr txBox="1"/>
          <p:nvPr userDrawn="1"/>
        </p:nvSpPr>
        <p:spPr>
          <a:xfrm>
            <a:off x="9817769" y="6576218"/>
            <a:ext cx="1771776" cy="171450"/>
          </a:xfrm>
          <a:prstGeom prst="rect">
            <a:avLst/>
          </a:prstGeom>
          <a:noFill/>
        </p:spPr>
        <p:txBody>
          <a:bodyPr wrap="square" rtlCol="0">
            <a:noAutofit/>
          </a:bodyPr>
          <a:lstStyle/>
          <a:p>
            <a:pPr algn="ctr">
              <a:lnSpc>
                <a:spcPct val="90000"/>
              </a:lnSpc>
              <a:spcAft>
                <a:spcPts val="600"/>
              </a:spcAft>
            </a:pPr>
            <a:r>
              <a:rPr lang="en-US" sz="700" cap="all" spc="10" baseline="0" dirty="0"/>
              <a:t>Proprietary and Confidential</a:t>
            </a:r>
          </a:p>
        </p:txBody>
      </p:sp>
      <p:sp>
        <p:nvSpPr>
          <p:cNvPr id="63" name="Freeform: Shape 62">
            <a:extLst>
              <a:ext uri="{FF2B5EF4-FFF2-40B4-BE49-F238E27FC236}">
                <a16:creationId xmlns:a16="http://schemas.microsoft.com/office/drawing/2014/main" id="{D86E5E74-F887-469E-BA30-D2A06C55613B}"/>
              </a:ext>
            </a:extLst>
          </p:cNvPr>
          <p:cNvSpPr/>
          <p:nvPr userDrawn="1"/>
        </p:nvSpPr>
        <p:spPr>
          <a:xfrm>
            <a:off x="223837" y="223838"/>
            <a:ext cx="11744326" cy="6262686"/>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dirty="0">
              <a:solidFill>
                <a:schemeClr val="tx1"/>
              </a:solidFill>
            </a:endParaRPr>
          </a:p>
        </p:txBody>
      </p:sp>
      <p:sp>
        <p:nvSpPr>
          <p:cNvPr id="80" name="Text Placeholder 11">
            <a:extLst>
              <a:ext uri="{FF2B5EF4-FFF2-40B4-BE49-F238E27FC236}">
                <a16:creationId xmlns:a16="http://schemas.microsoft.com/office/drawing/2014/main" id="{B9410B0D-734E-4C7E-BAA9-8C4CAD589FDD}"/>
              </a:ext>
            </a:extLst>
          </p:cNvPr>
          <p:cNvSpPr>
            <a:spLocks noGrp="1"/>
          </p:cNvSpPr>
          <p:nvPr>
            <p:ph type="body" sz="quarter" idx="15" hasCustomPrompt="1"/>
          </p:nvPr>
        </p:nvSpPr>
        <p:spPr>
          <a:xfrm>
            <a:off x="5325600" y="87312"/>
            <a:ext cx="1540800" cy="274637"/>
          </a:xfrm>
          <a:solidFill>
            <a:schemeClr val="accent3"/>
          </a:solidFill>
          <a:ln>
            <a:solidFill>
              <a:schemeClr val="tx1"/>
            </a:solidFill>
          </a:ln>
        </p:spPr>
        <p:txBody>
          <a:bodyPr anchor="ctr"/>
          <a:lstStyle>
            <a:lvl1pPr algn="ctr">
              <a:defRPr sz="1050" b="1" cap="all" baseline="0">
                <a:solidFill>
                  <a:schemeClr val="tx1"/>
                </a:solidFill>
              </a:defRPr>
            </a:lvl1pPr>
          </a:lstStyle>
          <a:p>
            <a:pPr lvl="0"/>
            <a:r>
              <a:rPr lang="en-US"/>
              <a:t>Section XX</a:t>
            </a:r>
          </a:p>
        </p:txBody>
      </p:sp>
      <p:sp>
        <p:nvSpPr>
          <p:cNvPr id="81" name="Text Placeholder 5">
            <a:extLst>
              <a:ext uri="{FF2B5EF4-FFF2-40B4-BE49-F238E27FC236}">
                <a16:creationId xmlns:a16="http://schemas.microsoft.com/office/drawing/2014/main" id="{42AF7850-2114-4493-82FE-B9DEA2D8D9A6}"/>
              </a:ext>
            </a:extLst>
          </p:cNvPr>
          <p:cNvSpPr>
            <a:spLocks noGrp="1"/>
          </p:cNvSpPr>
          <p:nvPr>
            <p:ph type="body" sz="quarter" idx="21" hasCustomPrompt="1"/>
          </p:nvPr>
        </p:nvSpPr>
        <p:spPr>
          <a:xfrm>
            <a:off x="3307080" y="1828800"/>
            <a:ext cx="5577840" cy="3200400"/>
          </a:xfrm>
          <a:ln>
            <a:solidFill>
              <a:schemeClr val="tx1"/>
            </a:solidFill>
          </a:ln>
        </p:spPr>
        <p:txBody>
          <a:bodyPr/>
          <a:lstStyle>
            <a:lvl1pPr>
              <a:defRPr/>
            </a:lvl1pPr>
          </a:lstStyle>
          <a:p>
            <a:pPr lvl="0"/>
            <a:r>
              <a:rPr lang="en-US"/>
              <a:t> </a:t>
            </a:r>
          </a:p>
        </p:txBody>
      </p:sp>
      <p:sp>
        <p:nvSpPr>
          <p:cNvPr id="2" name="Title 1">
            <a:extLst>
              <a:ext uri="{FF2B5EF4-FFF2-40B4-BE49-F238E27FC236}">
                <a16:creationId xmlns:a16="http://schemas.microsoft.com/office/drawing/2014/main" id="{844F0621-2390-4957-AD47-60FDBAA34491}"/>
              </a:ext>
            </a:extLst>
          </p:cNvPr>
          <p:cNvSpPr>
            <a:spLocks noGrp="1"/>
          </p:cNvSpPr>
          <p:nvPr>
            <p:ph type="title" hasCustomPrompt="1"/>
          </p:nvPr>
        </p:nvSpPr>
        <p:spPr>
          <a:xfrm>
            <a:off x="3429000" y="2232661"/>
            <a:ext cx="5334000" cy="2392678"/>
          </a:xfrm>
        </p:spPr>
        <p:txBody>
          <a:bodyPr anchor="ctr"/>
          <a:lstStyle>
            <a:lvl1pPr algn="ctr">
              <a:defRPr sz="2800" b="1"/>
            </a:lvl1pPr>
          </a:lstStyle>
          <a:p>
            <a:r>
              <a:rPr lang="en-US"/>
              <a:t>Click to insert subsection name</a:t>
            </a:r>
          </a:p>
        </p:txBody>
      </p:sp>
      <p:sp>
        <p:nvSpPr>
          <p:cNvPr id="24" name="Footer Placeholder 4">
            <a:extLst>
              <a:ext uri="{FF2B5EF4-FFF2-40B4-BE49-F238E27FC236}">
                <a16:creationId xmlns:a16="http://schemas.microsoft.com/office/drawing/2014/main" id="{4130C53C-2EB0-4D16-8437-DD3010730E1E}"/>
              </a:ext>
            </a:extLst>
          </p:cNvPr>
          <p:cNvSpPr>
            <a:spLocks noGrp="1"/>
          </p:cNvSpPr>
          <p:nvPr>
            <p:ph type="ftr" sz="quarter" idx="3"/>
          </p:nvPr>
        </p:nvSpPr>
        <p:spPr>
          <a:xfrm>
            <a:off x="4648200" y="6534150"/>
            <a:ext cx="5169569" cy="263525"/>
          </a:xfrm>
          <a:prstGeom prst="rect">
            <a:avLst/>
          </a:prstGeom>
        </p:spPr>
        <p:txBody>
          <a:bodyPr vert="horz" wrap="square" lIns="91440" tIns="45720" rIns="91440" bIns="45720" rtlCol="0" anchor="ctr">
            <a:noAutofit/>
          </a:bodyPr>
          <a:lstStyle>
            <a:lvl1pPr algn="r">
              <a:lnSpc>
                <a:spcPct val="90000"/>
              </a:lnSpc>
              <a:spcAft>
                <a:spcPts val="600"/>
              </a:spcAft>
              <a:defRPr sz="600">
                <a:solidFill>
                  <a:schemeClr val="tx1"/>
                </a:solidFill>
              </a:defRPr>
            </a:lvl1pPr>
          </a:lstStyle>
          <a:p>
            <a:endParaRPr lang="en-US" sz="600" noProof="0" dirty="0"/>
          </a:p>
        </p:txBody>
      </p:sp>
      <p:grpSp>
        <p:nvGrpSpPr>
          <p:cNvPr id="9" name="Graphic 46">
            <a:extLst>
              <a:ext uri="{FF2B5EF4-FFF2-40B4-BE49-F238E27FC236}">
                <a16:creationId xmlns:a16="http://schemas.microsoft.com/office/drawing/2014/main" id="{3BF0E3CE-4C5E-490A-971D-9AD2D7E17583}"/>
              </a:ext>
            </a:extLst>
          </p:cNvPr>
          <p:cNvGrpSpPr/>
          <p:nvPr userDrawn="1"/>
        </p:nvGrpSpPr>
        <p:grpSpPr>
          <a:xfrm>
            <a:off x="223838" y="6586537"/>
            <a:ext cx="1852878" cy="171636"/>
            <a:chOff x="223838" y="6586537"/>
            <a:chExt cx="1852878" cy="171636"/>
          </a:xfrm>
          <a:solidFill>
            <a:srgbClr val="E2E2E3"/>
          </a:solidFill>
        </p:grpSpPr>
        <p:sp>
          <p:nvSpPr>
            <p:cNvPr id="10" name="Freeform: Shape 9">
              <a:extLst>
                <a:ext uri="{FF2B5EF4-FFF2-40B4-BE49-F238E27FC236}">
                  <a16:creationId xmlns:a16="http://schemas.microsoft.com/office/drawing/2014/main" id="{87DEDFFD-499E-4E17-A499-D96F5795E1DF}"/>
                </a:ext>
              </a:extLst>
            </p:cNvPr>
            <p:cNvSpPr/>
            <p:nvPr/>
          </p:nvSpPr>
          <p:spPr>
            <a:xfrm>
              <a:off x="1015600" y="6590823"/>
              <a:ext cx="114610" cy="163250"/>
            </a:xfrm>
            <a:custGeom>
              <a:avLst/>
              <a:gdLst>
                <a:gd name="connsiteX0" fmla="*/ 97913 w 114610"/>
                <a:gd name="connsiteY0" fmla="*/ 163250 h 163250"/>
                <a:gd name="connsiteX1" fmla="*/ 114611 w 114610"/>
                <a:gd name="connsiteY1" fmla="*/ 163250 h 163250"/>
                <a:gd name="connsiteX2" fmla="*/ 114611 w 114610"/>
                <a:gd name="connsiteY2" fmla="*/ 0 h 163250"/>
                <a:gd name="connsiteX3" fmla="*/ 97913 w 114610"/>
                <a:gd name="connsiteY3" fmla="*/ 0 h 163250"/>
                <a:gd name="connsiteX4" fmla="*/ 97913 w 114610"/>
                <a:gd name="connsiteY4" fmla="*/ 73351 h 163250"/>
                <a:gd name="connsiteX5" fmla="*/ 16698 w 114610"/>
                <a:gd name="connsiteY5" fmla="*/ 73351 h 163250"/>
                <a:gd name="connsiteX6" fmla="*/ 16698 w 114610"/>
                <a:gd name="connsiteY6" fmla="*/ 0 h 163250"/>
                <a:gd name="connsiteX7" fmla="*/ 0 w 114610"/>
                <a:gd name="connsiteY7" fmla="*/ 0 h 163250"/>
                <a:gd name="connsiteX8" fmla="*/ 0 w 114610"/>
                <a:gd name="connsiteY8" fmla="*/ 163250 h 163250"/>
                <a:gd name="connsiteX9" fmla="*/ 16698 w 114610"/>
                <a:gd name="connsiteY9" fmla="*/ 163250 h 163250"/>
                <a:gd name="connsiteX10" fmla="*/ 16698 w 114610"/>
                <a:gd name="connsiteY10" fmla="*/ 89937 h 163250"/>
                <a:gd name="connsiteX11" fmla="*/ 97913 w 114610"/>
                <a:gd name="connsiteY11" fmla="*/ 89937 h 163250"/>
                <a:gd name="connsiteX12" fmla="*/ 97913 w 114610"/>
                <a:gd name="connsiteY12" fmla="*/ 16325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610" h="163250">
                  <a:moveTo>
                    <a:pt x="97913" y="163250"/>
                  </a:moveTo>
                  <a:lnTo>
                    <a:pt x="114611" y="163250"/>
                  </a:lnTo>
                  <a:lnTo>
                    <a:pt x="114611" y="0"/>
                  </a:lnTo>
                  <a:lnTo>
                    <a:pt x="97913" y="0"/>
                  </a:lnTo>
                  <a:lnTo>
                    <a:pt x="97913" y="73351"/>
                  </a:lnTo>
                  <a:lnTo>
                    <a:pt x="16698" y="73351"/>
                  </a:lnTo>
                  <a:lnTo>
                    <a:pt x="16698" y="0"/>
                  </a:lnTo>
                  <a:lnTo>
                    <a:pt x="0" y="0"/>
                  </a:lnTo>
                  <a:lnTo>
                    <a:pt x="0" y="163250"/>
                  </a:lnTo>
                  <a:lnTo>
                    <a:pt x="16698" y="163250"/>
                  </a:lnTo>
                  <a:lnTo>
                    <a:pt x="16698" y="89937"/>
                  </a:lnTo>
                  <a:lnTo>
                    <a:pt x="97913" y="89937"/>
                  </a:lnTo>
                  <a:lnTo>
                    <a:pt x="97913" y="163250"/>
                  </a:lnTo>
                  <a:close/>
                </a:path>
              </a:pathLst>
            </a:custGeom>
            <a:solidFill>
              <a:srgbClr val="E2E2E3"/>
            </a:solidFill>
            <a:ln w="3718" cap="flat">
              <a:noFill/>
              <a:prstDash val="solid"/>
              <a:miter/>
            </a:ln>
          </p:spPr>
          <p:txBody>
            <a:bodyPr rtlCol="0" anchor="ctr"/>
            <a:lstStyle/>
            <a:p>
              <a:endParaRPr lang="en-US" dirty="0"/>
            </a:p>
          </p:txBody>
        </p:sp>
        <p:sp>
          <p:nvSpPr>
            <p:cNvPr id="11" name="Freeform: Shape 10">
              <a:extLst>
                <a:ext uri="{FF2B5EF4-FFF2-40B4-BE49-F238E27FC236}">
                  <a16:creationId xmlns:a16="http://schemas.microsoft.com/office/drawing/2014/main" id="{8CF5608D-4673-440B-A9FD-AD2884BF2B89}"/>
                </a:ext>
              </a:extLst>
            </p:cNvPr>
            <p:cNvSpPr/>
            <p:nvPr/>
          </p:nvSpPr>
          <p:spPr>
            <a:xfrm>
              <a:off x="1158761" y="6590823"/>
              <a:ext cx="16809" cy="163250"/>
            </a:xfrm>
            <a:custGeom>
              <a:avLst/>
              <a:gdLst>
                <a:gd name="connsiteX0" fmla="*/ 0 w 16809"/>
                <a:gd name="connsiteY0" fmla="*/ 0 h 163250"/>
                <a:gd name="connsiteX1" fmla="*/ 16810 w 16809"/>
                <a:gd name="connsiteY1" fmla="*/ 0 h 163250"/>
                <a:gd name="connsiteX2" fmla="*/ 16810 w 16809"/>
                <a:gd name="connsiteY2" fmla="*/ 163250 h 163250"/>
                <a:gd name="connsiteX3" fmla="*/ 0 w 16809"/>
                <a:gd name="connsiteY3" fmla="*/ 163250 h 163250"/>
              </a:gdLst>
              <a:ahLst/>
              <a:cxnLst>
                <a:cxn ang="0">
                  <a:pos x="connsiteX0" y="connsiteY0"/>
                </a:cxn>
                <a:cxn ang="0">
                  <a:pos x="connsiteX1" y="connsiteY1"/>
                </a:cxn>
                <a:cxn ang="0">
                  <a:pos x="connsiteX2" y="connsiteY2"/>
                </a:cxn>
                <a:cxn ang="0">
                  <a:pos x="connsiteX3" y="connsiteY3"/>
                </a:cxn>
              </a:cxnLst>
              <a:rect l="l" t="t" r="r" b="b"/>
              <a:pathLst>
                <a:path w="16809" h="163250">
                  <a:moveTo>
                    <a:pt x="0" y="0"/>
                  </a:moveTo>
                  <a:lnTo>
                    <a:pt x="16810" y="0"/>
                  </a:lnTo>
                  <a:lnTo>
                    <a:pt x="16810" y="163250"/>
                  </a:lnTo>
                  <a:lnTo>
                    <a:pt x="0" y="163250"/>
                  </a:lnTo>
                  <a:close/>
                </a:path>
              </a:pathLst>
            </a:custGeom>
            <a:solidFill>
              <a:srgbClr val="E2E2E3"/>
            </a:solidFill>
            <a:ln w="3718" cap="flat">
              <a:noFill/>
              <a:prstDash val="solid"/>
              <a:miter/>
            </a:ln>
          </p:spPr>
          <p:txBody>
            <a:bodyPr rtlCol="0" anchor="ctr"/>
            <a:lstStyle/>
            <a:p>
              <a:endParaRPr lang="en-US" dirty="0"/>
            </a:p>
          </p:txBody>
        </p:sp>
        <p:sp>
          <p:nvSpPr>
            <p:cNvPr id="12" name="Freeform: Shape 11">
              <a:extLst>
                <a:ext uri="{FF2B5EF4-FFF2-40B4-BE49-F238E27FC236}">
                  <a16:creationId xmlns:a16="http://schemas.microsoft.com/office/drawing/2014/main" id="{6ED79AB6-0633-4F44-B049-192991CCFF22}"/>
                </a:ext>
              </a:extLst>
            </p:cNvPr>
            <p:cNvSpPr/>
            <p:nvPr/>
          </p:nvSpPr>
          <p:spPr>
            <a:xfrm>
              <a:off x="1197184" y="6589704"/>
              <a:ext cx="165642" cy="165862"/>
            </a:xfrm>
            <a:custGeom>
              <a:avLst/>
              <a:gdLst>
                <a:gd name="connsiteX0" fmla="*/ 24343 w 165642"/>
                <a:gd name="connsiteY0" fmla="*/ 141596 h 165862"/>
                <a:gd name="connsiteX1" fmla="*/ 114652 w 165642"/>
                <a:gd name="connsiteY1" fmla="*/ 159859 h 165862"/>
                <a:gd name="connsiteX2" fmla="*/ 141600 w 165642"/>
                <a:gd name="connsiteY2" fmla="*/ 141558 h 165862"/>
                <a:gd name="connsiteX3" fmla="*/ 160869 w 165642"/>
                <a:gd name="connsiteY3" fmla="*/ 110996 h 165862"/>
                <a:gd name="connsiteX4" fmla="*/ 165640 w 165642"/>
                <a:gd name="connsiteY4" fmla="*/ 81514 h 165862"/>
                <a:gd name="connsiteX5" fmla="*/ 91283 w 165642"/>
                <a:gd name="connsiteY5" fmla="*/ 81514 h 165862"/>
                <a:gd name="connsiteX6" fmla="*/ 91283 w 165642"/>
                <a:gd name="connsiteY6" fmla="*/ 96720 h 165862"/>
                <a:gd name="connsiteX7" fmla="*/ 149352 w 165642"/>
                <a:gd name="connsiteY7" fmla="*/ 96720 h 165862"/>
                <a:gd name="connsiteX8" fmla="*/ 142606 w 165642"/>
                <a:gd name="connsiteY8" fmla="*/ 110996 h 165862"/>
                <a:gd name="connsiteX9" fmla="*/ 133623 w 165642"/>
                <a:gd name="connsiteY9" fmla="*/ 124935 h 165862"/>
                <a:gd name="connsiteX10" fmla="*/ 121547 w 165642"/>
                <a:gd name="connsiteY10" fmla="*/ 136415 h 165862"/>
                <a:gd name="connsiteX11" fmla="*/ 103471 w 165642"/>
                <a:gd name="connsiteY11" fmla="*/ 145621 h 165862"/>
                <a:gd name="connsiteX12" fmla="*/ 57962 w 165642"/>
                <a:gd name="connsiteY12" fmla="*/ 143944 h 165862"/>
                <a:gd name="connsiteX13" fmla="*/ 36717 w 165642"/>
                <a:gd name="connsiteY13" fmla="*/ 129445 h 165862"/>
                <a:gd name="connsiteX14" fmla="*/ 22330 w 165642"/>
                <a:gd name="connsiteY14" fmla="*/ 108163 h 165862"/>
                <a:gd name="connsiteX15" fmla="*/ 22330 w 165642"/>
                <a:gd name="connsiteY15" fmla="*/ 57734 h 165862"/>
                <a:gd name="connsiteX16" fmla="*/ 36717 w 165642"/>
                <a:gd name="connsiteY16" fmla="*/ 36452 h 165862"/>
                <a:gd name="connsiteX17" fmla="*/ 58036 w 165642"/>
                <a:gd name="connsiteY17" fmla="*/ 21916 h 165862"/>
                <a:gd name="connsiteX18" fmla="*/ 83232 w 165642"/>
                <a:gd name="connsiteY18" fmla="*/ 17034 h 165862"/>
                <a:gd name="connsiteX19" fmla="*/ 108391 w 165642"/>
                <a:gd name="connsiteY19" fmla="*/ 21916 h 165862"/>
                <a:gd name="connsiteX20" fmla="*/ 122106 w 165642"/>
                <a:gd name="connsiteY20" fmla="*/ 29818 h 165862"/>
                <a:gd name="connsiteX21" fmla="*/ 134145 w 165642"/>
                <a:gd name="connsiteY21" fmla="*/ 17704 h 165862"/>
                <a:gd name="connsiteX22" fmla="*/ 129374 w 165642"/>
                <a:gd name="connsiteY22" fmla="*/ 14275 h 165862"/>
                <a:gd name="connsiteX23" fmla="*/ 114988 w 165642"/>
                <a:gd name="connsiteY23" fmla="*/ 6448 h 165862"/>
                <a:gd name="connsiteX24" fmla="*/ 99520 w 165642"/>
                <a:gd name="connsiteY24" fmla="*/ 1640 h 165862"/>
                <a:gd name="connsiteX25" fmla="*/ 82934 w 165642"/>
                <a:gd name="connsiteY25" fmla="*/ 0 h 165862"/>
                <a:gd name="connsiteX26" fmla="*/ 76001 w 165642"/>
                <a:gd name="connsiteY26" fmla="*/ 0 h 165862"/>
                <a:gd name="connsiteX27" fmla="*/ 51104 w 165642"/>
                <a:gd name="connsiteY27" fmla="*/ 5889 h 165862"/>
                <a:gd name="connsiteX28" fmla="*/ 24306 w 165642"/>
                <a:gd name="connsiteY28" fmla="*/ 24264 h 165862"/>
                <a:gd name="connsiteX29" fmla="*/ 6042 w 165642"/>
                <a:gd name="connsiteY29" fmla="*/ 51137 h 165862"/>
                <a:gd name="connsiteX30" fmla="*/ 4 w 165642"/>
                <a:gd name="connsiteY30" fmla="*/ 83042 h 165862"/>
                <a:gd name="connsiteX31" fmla="*/ 6042 w 165642"/>
                <a:gd name="connsiteY31" fmla="*/ 114909 h 165862"/>
                <a:gd name="connsiteX32" fmla="*/ 24268 w 165642"/>
                <a:gd name="connsiteY32" fmla="*/ 141707 h 16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65642" h="165862">
                  <a:moveTo>
                    <a:pt x="24343" y="141596"/>
                  </a:moveTo>
                  <a:cubicBezTo>
                    <a:pt x="48141" y="165094"/>
                    <a:pt x="83594" y="172264"/>
                    <a:pt x="114652" y="159859"/>
                  </a:cubicBezTo>
                  <a:cubicBezTo>
                    <a:pt x="124719" y="155530"/>
                    <a:pt x="133866" y="149319"/>
                    <a:pt x="141600" y="141558"/>
                  </a:cubicBezTo>
                  <a:cubicBezTo>
                    <a:pt x="150347" y="133035"/>
                    <a:pt x="156948" y="122562"/>
                    <a:pt x="160869" y="110996"/>
                  </a:cubicBezTo>
                  <a:cubicBezTo>
                    <a:pt x="164108" y="101507"/>
                    <a:pt x="165722" y="91539"/>
                    <a:pt x="165640" y="81514"/>
                  </a:cubicBezTo>
                  <a:lnTo>
                    <a:pt x="91283" y="81514"/>
                  </a:lnTo>
                  <a:lnTo>
                    <a:pt x="91283" y="96720"/>
                  </a:lnTo>
                  <a:lnTo>
                    <a:pt x="149352" y="96720"/>
                  </a:lnTo>
                  <a:lnTo>
                    <a:pt x="142606" y="110996"/>
                  </a:lnTo>
                  <a:cubicBezTo>
                    <a:pt x="140217" y="116006"/>
                    <a:pt x="137198" y="120690"/>
                    <a:pt x="133623" y="124935"/>
                  </a:cubicBezTo>
                  <a:cubicBezTo>
                    <a:pt x="130083" y="129240"/>
                    <a:pt x="126027" y="133095"/>
                    <a:pt x="121547" y="136415"/>
                  </a:cubicBezTo>
                  <a:cubicBezTo>
                    <a:pt x="116076" y="140470"/>
                    <a:pt x="109967" y="143582"/>
                    <a:pt x="103471" y="145621"/>
                  </a:cubicBezTo>
                  <a:cubicBezTo>
                    <a:pt x="88569" y="150385"/>
                    <a:pt x="72472" y="149792"/>
                    <a:pt x="57962" y="143944"/>
                  </a:cubicBezTo>
                  <a:cubicBezTo>
                    <a:pt x="49975" y="140595"/>
                    <a:pt x="42748" y="135663"/>
                    <a:pt x="36717" y="129445"/>
                  </a:cubicBezTo>
                  <a:cubicBezTo>
                    <a:pt x="30597" y="123344"/>
                    <a:pt x="25711" y="116117"/>
                    <a:pt x="22330" y="108163"/>
                  </a:cubicBezTo>
                  <a:cubicBezTo>
                    <a:pt x="15819" y="91984"/>
                    <a:pt x="15819" y="73913"/>
                    <a:pt x="22330" y="57734"/>
                  </a:cubicBezTo>
                  <a:cubicBezTo>
                    <a:pt x="25729" y="49791"/>
                    <a:pt x="30612" y="42568"/>
                    <a:pt x="36717" y="36452"/>
                  </a:cubicBezTo>
                  <a:cubicBezTo>
                    <a:pt x="42792" y="30244"/>
                    <a:pt x="50038" y="25303"/>
                    <a:pt x="58036" y="21916"/>
                  </a:cubicBezTo>
                  <a:cubicBezTo>
                    <a:pt x="66013" y="18581"/>
                    <a:pt x="74589" y="16919"/>
                    <a:pt x="83232" y="17034"/>
                  </a:cubicBezTo>
                  <a:cubicBezTo>
                    <a:pt x="91861" y="16956"/>
                    <a:pt x="100418" y="18617"/>
                    <a:pt x="108391" y="21916"/>
                  </a:cubicBezTo>
                  <a:cubicBezTo>
                    <a:pt x="113251" y="24012"/>
                    <a:pt x="117854" y="26664"/>
                    <a:pt x="122106" y="29818"/>
                  </a:cubicBezTo>
                  <a:lnTo>
                    <a:pt x="134145" y="17704"/>
                  </a:lnTo>
                  <a:cubicBezTo>
                    <a:pt x="132356" y="16363"/>
                    <a:pt x="130791" y="15244"/>
                    <a:pt x="129374" y="14275"/>
                  </a:cubicBezTo>
                  <a:cubicBezTo>
                    <a:pt x="124820" y="11246"/>
                    <a:pt x="120004" y="8627"/>
                    <a:pt x="114988" y="6448"/>
                  </a:cubicBezTo>
                  <a:cubicBezTo>
                    <a:pt x="110001" y="4347"/>
                    <a:pt x="104820" y="2737"/>
                    <a:pt x="99520" y="1640"/>
                  </a:cubicBezTo>
                  <a:cubicBezTo>
                    <a:pt x="94060" y="534"/>
                    <a:pt x="88502" y="-15"/>
                    <a:pt x="82934" y="0"/>
                  </a:cubicBezTo>
                  <a:lnTo>
                    <a:pt x="76001" y="0"/>
                  </a:lnTo>
                  <a:cubicBezTo>
                    <a:pt x="67440" y="610"/>
                    <a:pt x="59032" y="2598"/>
                    <a:pt x="51104" y="5889"/>
                  </a:cubicBezTo>
                  <a:cubicBezTo>
                    <a:pt x="41022" y="10138"/>
                    <a:pt x="31902" y="16389"/>
                    <a:pt x="24306" y="24264"/>
                  </a:cubicBezTo>
                  <a:cubicBezTo>
                    <a:pt x="16490" y="31918"/>
                    <a:pt x="10284" y="41054"/>
                    <a:pt x="6042" y="51137"/>
                  </a:cubicBezTo>
                  <a:cubicBezTo>
                    <a:pt x="1965" y="61275"/>
                    <a:pt x="-89" y="72114"/>
                    <a:pt x="4" y="83042"/>
                  </a:cubicBezTo>
                  <a:cubicBezTo>
                    <a:pt x="-107" y="93959"/>
                    <a:pt x="1946" y="104789"/>
                    <a:pt x="6042" y="114909"/>
                  </a:cubicBezTo>
                  <a:cubicBezTo>
                    <a:pt x="10206" y="125003"/>
                    <a:pt x="16411" y="134126"/>
                    <a:pt x="24268" y="141707"/>
                  </a:cubicBezTo>
                </a:path>
              </a:pathLst>
            </a:custGeom>
            <a:solidFill>
              <a:srgbClr val="E2E2E3"/>
            </a:solidFill>
            <a:ln w="3718" cap="flat">
              <a:noFill/>
              <a:prstDash val="solid"/>
              <a:miter/>
            </a:ln>
          </p:spPr>
          <p:txBody>
            <a:bodyPr rtlCol="0" anchor="ctr"/>
            <a:lstStyle/>
            <a:p>
              <a:endParaRPr lang="en-US" dirty="0"/>
            </a:p>
          </p:txBody>
        </p:sp>
        <p:sp>
          <p:nvSpPr>
            <p:cNvPr id="13" name="Freeform: Shape 12">
              <a:extLst>
                <a:ext uri="{FF2B5EF4-FFF2-40B4-BE49-F238E27FC236}">
                  <a16:creationId xmlns:a16="http://schemas.microsoft.com/office/drawing/2014/main" id="{1F5EBAB3-100C-4D2F-B63C-1A02E083B1BA}"/>
                </a:ext>
              </a:extLst>
            </p:cNvPr>
            <p:cNvSpPr/>
            <p:nvPr/>
          </p:nvSpPr>
          <p:spPr>
            <a:xfrm>
              <a:off x="1384590" y="6590823"/>
              <a:ext cx="114573" cy="163250"/>
            </a:xfrm>
            <a:custGeom>
              <a:avLst/>
              <a:gdLst>
                <a:gd name="connsiteX0" fmla="*/ 97876 w 114573"/>
                <a:gd name="connsiteY0" fmla="*/ 163250 h 163250"/>
                <a:gd name="connsiteX1" fmla="*/ 114573 w 114573"/>
                <a:gd name="connsiteY1" fmla="*/ 163250 h 163250"/>
                <a:gd name="connsiteX2" fmla="*/ 114573 w 114573"/>
                <a:gd name="connsiteY2" fmla="*/ 0 h 163250"/>
                <a:gd name="connsiteX3" fmla="*/ 97876 w 114573"/>
                <a:gd name="connsiteY3" fmla="*/ 0 h 163250"/>
                <a:gd name="connsiteX4" fmla="*/ 97876 w 114573"/>
                <a:gd name="connsiteY4" fmla="*/ 73351 h 163250"/>
                <a:gd name="connsiteX5" fmla="*/ 16660 w 114573"/>
                <a:gd name="connsiteY5" fmla="*/ 73351 h 163250"/>
                <a:gd name="connsiteX6" fmla="*/ 16660 w 114573"/>
                <a:gd name="connsiteY6" fmla="*/ 0 h 163250"/>
                <a:gd name="connsiteX7" fmla="*/ 0 w 114573"/>
                <a:gd name="connsiteY7" fmla="*/ 0 h 163250"/>
                <a:gd name="connsiteX8" fmla="*/ 0 w 114573"/>
                <a:gd name="connsiteY8" fmla="*/ 163250 h 163250"/>
                <a:gd name="connsiteX9" fmla="*/ 16660 w 114573"/>
                <a:gd name="connsiteY9" fmla="*/ 163250 h 163250"/>
                <a:gd name="connsiteX10" fmla="*/ 16660 w 114573"/>
                <a:gd name="connsiteY10" fmla="*/ 89937 h 163250"/>
                <a:gd name="connsiteX11" fmla="*/ 97876 w 114573"/>
                <a:gd name="connsiteY11" fmla="*/ 89937 h 163250"/>
                <a:gd name="connsiteX12" fmla="*/ 97876 w 114573"/>
                <a:gd name="connsiteY12" fmla="*/ 16325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573" h="163250">
                  <a:moveTo>
                    <a:pt x="97876" y="163250"/>
                  </a:moveTo>
                  <a:lnTo>
                    <a:pt x="114573" y="163250"/>
                  </a:lnTo>
                  <a:lnTo>
                    <a:pt x="114573" y="0"/>
                  </a:lnTo>
                  <a:lnTo>
                    <a:pt x="97876" y="0"/>
                  </a:lnTo>
                  <a:lnTo>
                    <a:pt x="97876" y="73351"/>
                  </a:lnTo>
                  <a:lnTo>
                    <a:pt x="16660" y="73351"/>
                  </a:lnTo>
                  <a:lnTo>
                    <a:pt x="16660" y="0"/>
                  </a:lnTo>
                  <a:lnTo>
                    <a:pt x="0" y="0"/>
                  </a:lnTo>
                  <a:lnTo>
                    <a:pt x="0" y="163250"/>
                  </a:lnTo>
                  <a:lnTo>
                    <a:pt x="16660" y="163250"/>
                  </a:lnTo>
                  <a:lnTo>
                    <a:pt x="16660" y="89937"/>
                  </a:lnTo>
                  <a:lnTo>
                    <a:pt x="97876" y="89937"/>
                  </a:lnTo>
                  <a:lnTo>
                    <a:pt x="97876" y="163250"/>
                  </a:lnTo>
                  <a:close/>
                </a:path>
              </a:pathLst>
            </a:custGeom>
            <a:solidFill>
              <a:srgbClr val="E2E2E3"/>
            </a:solidFill>
            <a:ln w="3718" cap="flat">
              <a:noFill/>
              <a:prstDash val="solid"/>
              <a:miter/>
            </a:ln>
          </p:spPr>
          <p:txBody>
            <a:bodyPr rtlCol="0" anchor="ctr"/>
            <a:lstStyle/>
            <a:p>
              <a:endParaRPr lang="en-US" dirty="0"/>
            </a:p>
          </p:txBody>
        </p:sp>
        <p:sp>
          <p:nvSpPr>
            <p:cNvPr id="14" name="Freeform: Shape 13">
              <a:extLst>
                <a:ext uri="{FF2B5EF4-FFF2-40B4-BE49-F238E27FC236}">
                  <a16:creationId xmlns:a16="http://schemas.microsoft.com/office/drawing/2014/main" id="{09EE1ACA-B25F-493E-8DAC-898533063C51}"/>
                </a:ext>
              </a:extLst>
            </p:cNvPr>
            <p:cNvSpPr/>
            <p:nvPr/>
          </p:nvSpPr>
          <p:spPr>
            <a:xfrm>
              <a:off x="1527751" y="6590823"/>
              <a:ext cx="90346" cy="163250"/>
            </a:xfrm>
            <a:custGeom>
              <a:avLst/>
              <a:gdLst>
                <a:gd name="connsiteX0" fmla="*/ 16810 w 90346"/>
                <a:gd name="connsiteY0" fmla="*/ 0 h 163250"/>
                <a:gd name="connsiteX1" fmla="*/ 0 w 90346"/>
                <a:gd name="connsiteY1" fmla="*/ 0 h 163250"/>
                <a:gd name="connsiteX2" fmla="*/ 0 w 90346"/>
                <a:gd name="connsiteY2" fmla="*/ 163250 h 163250"/>
                <a:gd name="connsiteX3" fmla="*/ 90347 w 90346"/>
                <a:gd name="connsiteY3" fmla="*/ 163250 h 163250"/>
                <a:gd name="connsiteX4" fmla="*/ 90347 w 90346"/>
                <a:gd name="connsiteY4" fmla="*/ 146813 h 163250"/>
                <a:gd name="connsiteX5" fmla="*/ 16810 w 90346"/>
                <a:gd name="connsiteY5" fmla="*/ 146813 h 163250"/>
                <a:gd name="connsiteX6" fmla="*/ 16810 w 90346"/>
                <a:gd name="connsiteY6" fmla="*/ 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346" h="163250">
                  <a:moveTo>
                    <a:pt x="16810" y="0"/>
                  </a:moveTo>
                  <a:lnTo>
                    <a:pt x="0" y="0"/>
                  </a:lnTo>
                  <a:lnTo>
                    <a:pt x="0" y="163250"/>
                  </a:lnTo>
                  <a:lnTo>
                    <a:pt x="90347" y="163250"/>
                  </a:lnTo>
                  <a:lnTo>
                    <a:pt x="90347" y="146813"/>
                  </a:lnTo>
                  <a:lnTo>
                    <a:pt x="16810" y="146813"/>
                  </a:lnTo>
                  <a:lnTo>
                    <a:pt x="16810" y="0"/>
                  </a:lnTo>
                  <a:close/>
                </a:path>
              </a:pathLst>
            </a:custGeom>
            <a:solidFill>
              <a:srgbClr val="E2E2E3"/>
            </a:solidFill>
            <a:ln w="3718"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33269916-6152-4D77-8CB4-3F9D7D5EDF59}"/>
                </a:ext>
              </a:extLst>
            </p:cNvPr>
            <p:cNvSpPr/>
            <p:nvPr/>
          </p:nvSpPr>
          <p:spPr>
            <a:xfrm>
              <a:off x="1640796" y="6593991"/>
              <a:ext cx="136563" cy="160268"/>
            </a:xfrm>
            <a:custGeom>
              <a:avLst/>
              <a:gdLst>
                <a:gd name="connsiteX0" fmla="*/ 36191 w 136563"/>
                <a:gd name="connsiteY0" fmla="*/ 119866 h 160268"/>
                <a:gd name="connsiteX1" fmla="*/ 37943 w 136563"/>
                <a:gd name="connsiteY1" fmla="*/ 115803 h 160268"/>
                <a:gd name="connsiteX2" fmla="*/ 51696 w 136563"/>
                <a:gd name="connsiteY2" fmla="*/ 81700 h 160268"/>
                <a:gd name="connsiteX3" fmla="*/ 65673 w 136563"/>
                <a:gd name="connsiteY3" fmla="*/ 47223 h 160268"/>
                <a:gd name="connsiteX4" fmla="*/ 68356 w 136563"/>
                <a:gd name="connsiteY4" fmla="*/ 41036 h 160268"/>
                <a:gd name="connsiteX5" fmla="*/ 71040 w 136563"/>
                <a:gd name="connsiteY5" fmla="*/ 47261 h 160268"/>
                <a:gd name="connsiteX6" fmla="*/ 84756 w 136563"/>
                <a:gd name="connsiteY6" fmla="*/ 81700 h 160268"/>
                <a:gd name="connsiteX7" fmla="*/ 98546 w 136563"/>
                <a:gd name="connsiteY7" fmla="*/ 115803 h 160268"/>
                <a:gd name="connsiteX8" fmla="*/ 100298 w 136563"/>
                <a:gd name="connsiteY8" fmla="*/ 119866 h 160268"/>
                <a:gd name="connsiteX9" fmla="*/ 118636 w 136563"/>
                <a:gd name="connsiteY9" fmla="*/ 160268 h 160268"/>
                <a:gd name="connsiteX10" fmla="*/ 136563 w 136563"/>
                <a:gd name="connsiteY10" fmla="*/ 160268 h 160268"/>
                <a:gd name="connsiteX11" fmla="*/ 68319 w 136563"/>
                <a:gd name="connsiteY11" fmla="*/ 0 h 160268"/>
                <a:gd name="connsiteX12" fmla="*/ 0 w 136563"/>
                <a:gd name="connsiteY12" fmla="*/ 160268 h 160268"/>
                <a:gd name="connsiteX13" fmla="*/ 18002 w 136563"/>
                <a:gd name="connsiteY13" fmla="*/ 160268 h 160268"/>
                <a:gd name="connsiteX14" fmla="*/ 30488 w 136563"/>
                <a:gd name="connsiteY14" fmla="*/ 132426 h 160268"/>
                <a:gd name="connsiteX15" fmla="*/ 106113 w 136563"/>
                <a:gd name="connsiteY15" fmla="*/ 132426 h 160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6563" h="160268">
                  <a:moveTo>
                    <a:pt x="36191" y="119866"/>
                  </a:moveTo>
                  <a:lnTo>
                    <a:pt x="37943" y="115803"/>
                  </a:lnTo>
                  <a:cubicBezTo>
                    <a:pt x="42452" y="105255"/>
                    <a:pt x="47074" y="93776"/>
                    <a:pt x="51696" y="81700"/>
                  </a:cubicBezTo>
                  <a:cubicBezTo>
                    <a:pt x="56318" y="69624"/>
                    <a:pt x="61088" y="57846"/>
                    <a:pt x="65673" y="47223"/>
                  </a:cubicBezTo>
                  <a:lnTo>
                    <a:pt x="68356" y="41036"/>
                  </a:lnTo>
                  <a:lnTo>
                    <a:pt x="71040" y="47261"/>
                  </a:lnTo>
                  <a:cubicBezTo>
                    <a:pt x="75550" y="57883"/>
                    <a:pt x="80171" y="69624"/>
                    <a:pt x="84756" y="81700"/>
                  </a:cubicBezTo>
                  <a:cubicBezTo>
                    <a:pt x="89340" y="93776"/>
                    <a:pt x="93925" y="105255"/>
                    <a:pt x="98546" y="115803"/>
                  </a:cubicBezTo>
                  <a:lnTo>
                    <a:pt x="100298" y="119866"/>
                  </a:lnTo>
                  <a:close/>
                  <a:moveTo>
                    <a:pt x="118636" y="160268"/>
                  </a:moveTo>
                  <a:lnTo>
                    <a:pt x="136563" y="160268"/>
                  </a:lnTo>
                  <a:lnTo>
                    <a:pt x="68319" y="0"/>
                  </a:lnTo>
                  <a:lnTo>
                    <a:pt x="0" y="160268"/>
                  </a:lnTo>
                  <a:lnTo>
                    <a:pt x="18002" y="160268"/>
                  </a:lnTo>
                  <a:lnTo>
                    <a:pt x="30488" y="132426"/>
                  </a:lnTo>
                  <a:lnTo>
                    <a:pt x="106113" y="132426"/>
                  </a:lnTo>
                  <a:close/>
                </a:path>
              </a:pathLst>
            </a:custGeom>
            <a:solidFill>
              <a:srgbClr val="E2E2E3"/>
            </a:solidFill>
            <a:ln w="3718"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69E2862C-2164-4F5F-BCA4-57F0819A3522}"/>
                </a:ext>
              </a:extLst>
            </p:cNvPr>
            <p:cNvSpPr/>
            <p:nvPr/>
          </p:nvSpPr>
          <p:spPr>
            <a:xfrm>
              <a:off x="1800505" y="6590487"/>
              <a:ext cx="127208" cy="164070"/>
            </a:xfrm>
            <a:custGeom>
              <a:avLst/>
              <a:gdLst>
                <a:gd name="connsiteX0" fmla="*/ 110436 w 127208"/>
                <a:gd name="connsiteY0" fmla="*/ 119120 h 164070"/>
                <a:gd name="connsiteX1" fmla="*/ 0 w 127208"/>
                <a:gd name="connsiteY1" fmla="*/ 3019 h 164070"/>
                <a:gd name="connsiteX2" fmla="*/ 0 w 127208"/>
                <a:gd name="connsiteY2" fmla="*/ 164070 h 164070"/>
                <a:gd name="connsiteX3" fmla="*/ 16810 w 127208"/>
                <a:gd name="connsiteY3" fmla="*/ 164070 h 164070"/>
                <a:gd name="connsiteX4" fmla="*/ 16810 w 127208"/>
                <a:gd name="connsiteY4" fmla="*/ 44540 h 164070"/>
                <a:gd name="connsiteX5" fmla="*/ 127208 w 127208"/>
                <a:gd name="connsiteY5" fmla="*/ 162244 h 164070"/>
                <a:gd name="connsiteX6" fmla="*/ 127208 w 127208"/>
                <a:gd name="connsiteY6" fmla="*/ 0 h 164070"/>
                <a:gd name="connsiteX7" fmla="*/ 110436 w 127208"/>
                <a:gd name="connsiteY7" fmla="*/ 0 h 164070"/>
                <a:gd name="connsiteX8" fmla="*/ 110436 w 127208"/>
                <a:gd name="connsiteY8" fmla="*/ 119120 h 16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208" h="164070">
                  <a:moveTo>
                    <a:pt x="110436" y="119120"/>
                  </a:moveTo>
                  <a:lnTo>
                    <a:pt x="0" y="3019"/>
                  </a:lnTo>
                  <a:lnTo>
                    <a:pt x="0" y="164070"/>
                  </a:lnTo>
                  <a:lnTo>
                    <a:pt x="16810" y="164070"/>
                  </a:lnTo>
                  <a:lnTo>
                    <a:pt x="16810" y="44540"/>
                  </a:lnTo>
                  <a:lnTo>
                    <a:pt x="127208" y="162244"/>
                  </a:lnTo>
                  <a:lnTo>
                    <a:pt x="127208" y="0"/>
                  </a:lnTo>
                  <a:lnTo>
                    <a:pt x="110436" y="0"/>
                  </a:lnTo>
                  <a:lnTo>
                    <a:pt x="110436" y="119120"/>
                  </a:lnTo>
                  <a:close/>
                </a:path>
              </a:pathLst>
            </a:custGeom>
            <a:solidFill>
              <a:srgbClr val="E2E2E3"/>
            </a:solidFill>
            <a:ln w="3718" cap="flat">
              <a:no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1A260ADA-7A65-4B91-8F8A-558E74C72908}"/>
                </a:ext>
              </a:extLst>
            </p:cNvPr>
            <p:cNvSpPr/>
            <p:nvPr/>
          </p:nvSpPr>
          <p:spPr>
            <a:xfrm>
              <a:off x="1956301" y="6590935"/>
              <a:ext cx="120414" cy="163325"/>
            </a:xfrm>
            <a:custGeom>
              <a:avLst/>
              <a:gdLst>
                <a:gd name="connsiteX0" fmla="*/ 64704 w 120414"/>
                <a:gd name="connsiteY0" fmla="*/ 142080 h 163325"/>
                <a:gd name="connsiteX1" fmla="*/ 38912 w 120414"/>
                <a:gd name="connsiteY1" fmla="*/ 146478 h 163325"/>
                <a:gd name="connsiteX2" fmla="*/ 16549 w 120414"/>
                <a:gd name="connsiteY2" fmla="*/ 146478 h 163325"/>
                <a:gd name="connsiteX3" fmla="*/ 16549 w 120414"/>
                <a:gd name="connsiteY3" fmla="*/ 16474 h 163325"/>
                <a:gd name="connsiteX4" fmla="*/ 38539 w 120414"/>
                <a:gd name="connsiteY4" fmla="*/ 16474 h 163325"/>
                <a:gd name="connsiteX5" fmla="*/ 64629 w 120414"/>
                <a:gd name="connsiteY5" fmla="*/ 20872 h 163325"/>
                <a:gd name="connsiteX6" fmla="*/ 85650 w 120414"/>
                <a:gd name="connsiteY6" fmla="*/ 34476 h 163325"/>
                <a:gd name="connsiteX7" fmla="*/ 99180 w 120414"/>
                <a:gd name="connsiteY7" fmla="*/ 55535 h 163325"/>
                <a:gd name="connsiteX8" fmla="*/ 103578 w 120414"/>
                <a:gd name="connsiteY8" fmla="*/ 81625 h 163325"/>
                <a:gd name="connsiteX9" fmla="*/ 99180 w 120414"/>
                <a:gd name="connsiteY9" fmla="*/ 107715 h 163325"/>
                <a:gd name="connsiteX10" fmla="*/ 85799 w 120414"/>
                <a:gd name="connsiteY10" fmla="*/ 128811 h 163325"/>
                <a:gd name="connsiteX11" fmla="*/ 64815 w 120414"/>
                <a:gd name="connsiteY11" fmla="*/ 142266 h 163325"/>
                <a:gd name="connsiteX12" fmla="*/ 114983 w 120414"/>
                <a:gd name="connsiteY12" fmla="*/ 113492 h 163325"/>
                <a:gd name="connsiteX13" fmla="*/ 114983 w 120414"/>
                <a:gd name="connsiteY13" fmla="*/ 50130 h 163325"/>
                <a:gd name="connsiteX14" fmla="*/ 98845 w 120414"/>
                <a:gd name="connsiteY14" fmla="*/ 24040 h 163325"/>
                <a:gd name="connsiteX15" fmla="*/ 71487 w 120414"/>
                <a:gd name="connsiteY15" fmla="*/ 6187 h 163325"/>
                <a:gd name="connsiteX16" fmla="*/ 43161 w 120414"/>
                <a:gd name="connsiteY16" fmla="*/ 0 h 163325"/>
                <a:gd name="connsiteX17" fmla="*/ 0 w 120414"/>
                <a:gd name="connsiteY17" fmla="*/ 0 h 163325"/>
                <a:gd name="connsiteX18" fmla="*/ 0 w 120414"/>
                <a:gd name="connsiteY18" fmla="*/ 163325 h 163325"/>
                <a:gd name="connsiteX19" fmla="*/ 38688 w 120414"/>
                <a:gd name="connsiteY19" fmla="*/ 163325 h 163325"/>
                <a:gd name="connsiteX20" fmla="*/ 71487 w 120414"/>
                <a:gd name="connsiteY20" fmla="*/ 156989 h 163325"/>
                <a:gd name="connsiteX21" fmla="*/ 98509 w 120414"/>
                <a:gd name="connsiteY21" fmla="*/ 139322 h 163325"/>
                <a:gd name="connsiteX22" fmla="*/ 114760 w 120414"/>
                <a:gd name="connsiteY22" fmla="*/ 113232 h 16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0414" h="163325">
                  <a:moveTo>
                    <a:pt x="64704" y="142080"/>
                  </a:moveTo>
                  <a:cubicBezTo>
                    <a:pt x="56437" y="145074"/>
                    <a:pt x="47704" y="146564"/>
                    <a:pt x="38912" y="146478"/>
                  </a:cubicBezTo>
                  <a:lnTo>
                    <a:pt x="16549" y="146478"/>
                  </a:lnTo>
                  <a:lnTo>
                    <a:pt x="16549" y="16474"/>
                  </a:lnTo>
                  <a:lnTo>
                    <a:pt x="38539" y="16474"/>
                  </a:lnTo>
                  <a:cubicBezTo>
                    <a:pt x="47428" y="16361"/>
                    <a:pt x="56269" y="17850"/>
                    <a:pt x="64629" y="20872"/>
                  </a:cubicBezTo>
                  <a:cubicBezTo>
                    <a:pt x="72486" y="23938"/>
                    <a:pt x="79635" y="28566"/>
                    <a:pt x="85650" y="34476"/>
                  </a:cubicBezTo>
                  <a:cubicBezTo>
                    <a:pt x="91610" y="40450"/>
                    <a:pt x="96224" y="47630"/>
                    <a:pt x="99180" y="55535"/>
                  </a:cubicBezTo>
                  <a:cubicBezTo>
                    <a:pt x="102195" y="63898"/>
                    <a:pt x="103686" y="72735"/>
                    <a:pt x="103578" y="81625"/>
                  </a:cubicBezTo>
                  <a:cubicBezTo>
                    <a:pt x="103690" y="90516"/>
                    <a:pt x="102203" y="99353"/>
                    <a:pt x="99180" y="107715"/>
                  </a:cubicBezTo>
                  <a:cubicBezTo>
                    <a:pt x="96258" y="115613"/>
                    <a:pt x="91700" y="122803"/>
                    <a:pt x="85799" y="128811"/>
                  </a:cubicBezTo>
                  <a:cubicBezTo>
                    <a:pt x="79855" y="134752"/>
                    <a:pt x="72695" y="139342"/>
                    <a:pt x="64815" y="142266"/>
                  </a:cubicBezTo>
                  <a:moveTo>
                    <a:pt x="114983" y="113492"/>
                  </a:moveTo>
                  <a:cubicBezTo>
                    <a:pt x="122225" y="92993"/>
                    <a:pt x="122225" y="70630"/>
                    <a:pt x="114983" y="50130"/>
                  </a:cubicBezTo>
                  <a:cubicBezTo>
                    <a:pt x="111647" y="40324"/>
                    <a:pt x="106131" y="31404"/>
                    <a:pt x="98845" y="24040"/>
                  </a:cubicBezTo>
                  <a:cubicBezTo>
                    <a:pt x="91036" y="16288"/>
                    <a:pt x="81726" y="10213"/>
                    <a:pt x="71487" y="6187"/>
                  </a:cubicBezTo>
                  <a:cubicBezTo>
                    <a:pt x="62456" y="2562"/>
                    <a:pt x="52881" y="471"/>
                    <a:pt x="43161" y="0"/>
                  </a:cubicBezTo>
                  <a:lnTo>
                    <a:pt x="0" y="0"/>
                  </a:lnTo>
                  <a:lnTo>
                    <a:pt x="0" y="163325"/>
                  </a:lnTo>
                  <a:lnTo>
                    <a:pt x="38688" y="163325"/>
                  </a:lnTo>
                  <a:cubicBezTo>
                    <a:pt x="49929" y="163357"/>
                    <a:pt x="61066" y="161205"/>
                    <a:pt x="71487" y="156989"/>
                  </a:cubicBezTo>
                  <a:cubicBezTo>
                    <a:pt x="81618" y="153032"/>
                    <a:pt x="90820" y="147016"/>
                    <a:pt x="98509" y="139322"/>
                  </a:cubicBezTo>
                  <a:cubicBezTo>
                    <a:pt x="105826" y="131963"/>
                    <a:pt x="111383" y="123044"/>
                    <a:pt x="114760" y="113232"/>
                  </a:cubicBezTo>
                </a:path>
              </a:pathLst>
            </a:custGeom>
            <a:solidFill>
              <a:srgbClr val="E2E2E3"/>
            </a:solidFill>
            <a:ln w="3718" cap="flat">
              <a:noFill/>
              <a:prstDash val="solid"/>
              <a:miter/>
            </a:ln>
          </p:spPr>
          <p:txBody>
            <a:bodyPr rtlCol="0" anchor="ctr"/>
            <a:lstStyle/>
            <a:p>
              <a:endParaRPr lang="en-US" dirty="0"/>
            </a:p>
          </p:txBody>
        </p:sp>
        <p:sp>
          <p:nvSpPr>
            <p:cNvPr id="18" name="Freeform: Shape 17">
              <a:extLst>
                <a:ext uri="{FF2B5EF4-FFF2-40B4-BE49-F238E27FC236}">
                  <a16:creationId xmlns:a16="http://schemas.microsoft.com/office/drawing/2014/main" id="{3F6F7AFB-CA83-47B3-A5D4-E7EA4F7BBFA0}"/>
                </a:ext>
              </a:extLst>
            </p:cNvPr>
            <p:cNvSpPr/>
            <p:nvPr/>
          </p:nvSpPr>
          <p:spPr>
            <a:xfrm>
              <a:off x="370754" y="6588754"/>
              <a:ext cx="167181" cy="167152"/>
            </a:xfrm>
            <a:custGeom>
              <a:avLst/>
              <a:gdLst>
                <a:gd name="connsiteX0" fmla="*/ 48014 w 167181"/>
                <a:gd name="connsiteY0" fmla="*/ 48062 h 167152"/>
                <a:gd name="connsiteX1" fmla="*/ 118646 w 167181"/>
                <a:gd name="connsiteY1" fmla="*/ 47877 h 167152"/>
                <a:gd name="connsiteX2" fmla="*/ 118830 w 167181"/>
                <a:gd name="connsiteY2" fmla="*/ 48062 h 167152"/>
                <a:gd name="connsiteX3" fmla="*/ 133739 w 167181"/>
                <a:gd name="connsiteY3" fmla="*/ 83544 h 167152"/>
                <a:gd name="connsiteX4" fmla="*/ 118830 w 167181"/>
                <a:gd name="connsiteY4" fmla="*/ 119027 h 167152"/>
                <a:gd name="connsiteX5" fmla="*/ 48014 w 167181"/>
                <a:gd name="connsiteY5" fmla="*/ 119027 h 167152"/>
                <a:gd name="connsiteX6" fmla="*/ 33292 w 167181"/>
                <a:gd name="connsiteY6" fmla="*/ 83507 h 167152"/>
                <a:gd name="connsiteX7" fmla="*/ 48014 w 167181"/>
                <a:gd name="connsiteY7" fmla="*/ 48024 h 167152"/>
                <a:gd name="connsiteX8" fmla="*/ 83460 w 167181"/>
                <a:gd name="connsiteY8" fmla="*/ 167108 h 167152"/>
                <a:gd name="connsiteX9" fmla="*/ 142573 w 167181"/>
                <a:gd name="connsiteY9" fmla="*/ 142806 h 167152"/>
                <a:gd name="connsiteX10" fmla="*/ 167172 w 167181"/>
                <a:gd name="connsiteY10" fmla="*/ 83693 h 167152"/>
                <a:gd name="connsiteX11" fmla="*/ 142573 w 167181"/>
                <a:gd name="connsiteY11" fmla="*/ 24543 h 167152"/>
                <a:gd name="connsiteX12" fmla="*/ 24924 w 167181"/>
                <a:gd name="connsiteY12" fmla="*/ 24189 h 167152"/>
                <a:gd name="connsiteX13" fmla="*/ 24533 w 167181"/>
                <a:gd name="connsiteY13" fmla="*/ 24580 h 167152"/>
                <a:gd name="connsiteX14" fmla="*/ 8 w 167181"/>
                <a:gd name="connsiteY14" fmla="*/ 83731 h 167152"/>
                <a:gd name="connsiteX15" fmla="*/ 24533 w 167181"/>
                <a:gd name="connsiteY15" fmla="*/ 142844 h 167152"/>
                <a:gd name="connsiteX16" fmla="*/ 83609 w 167181"/>
                <a:gd name="connsiteY16" fmla="*/ 167145 h 16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7181" h="167152">
                  <a:moveTo>
                    <a:pt x="48014" y="48062"/>
                  </a:moveTo>
                  <a:cubicBezTo>
                    <a:pt x="67467" y="28506"/>
                    <a:pt x="99090" y="28424"/>
                    <a:pt x="118646" y="47877"/>
                  </a:cubicBezTo>
                  <a:cubicBezTo>
                    <a:pt x="118707" y="47938"/>
                    <a:pt x="118769" y="48000"/>
                    <a:pt x="118830" y="48062"/>
                  </a:cubicBezTo>
                  <a:cubicBezTo>
                    <a:pt x="128486" y="57324"/>
                    <a:pt x="133882" y="70166"/>
                    <a:pt x="133739" y="83544"/>
                  </a:cubicBezTo>
                  <a:cubicBezTo>
                    <a:pt x="133931" y="96933"/>
                    <a:pt x="128527" y="109794"/>
                    <a:pt x="118830" y="119027"/>
                  </a:cubicBezTo>
                  <a:cubicBezTo>
                    <a:pt x="99245" y="138511"/>
                    <a:pt x="67599" y="138511"/>
                    <a:pt x="48014" y="119027"/>
                  </a:cubicBezTo>
                  <a:cubicBezTo>
                    <a:pt x="38418" y="109724"/>
                    <a:pt x="33090" y="96871"/>
                    <a:pt x="33292" y="83507"/>
                  </a:cubicBezTo>
                  <a:cubicBezTo>
                    <a:pt x="33145" y="70165"/>
                    <a:pt x="38464" y="57343"/>
                    <a:pt x="48014" y="48024"/>
                  </a:cubicBezTo>
                  <a:moveTo>
                    <a:pt x="83460" y="167108"/>
                  </a:moveTo>
                  <a:cubicBezTo>
                    <a:pt x="105663" y="167458"/>
                    <a:pt x="127035" y="158672"/>
                    <a:pt x="142573" y="142806"/>
                  </a:cubicBezTo>
                  <a:cubicBezTo>
                    <a:pt x="158615" y="127366"/>
                    <a:pt x="167524" y="105957"/>
                    <a:pt x="167172" y="83693"/>
                  </a:cubicBezTo>
                  <a:cubicBezTo>
                    <a:pt x="167485" y="61427"/>
                    <a:pt x="158583" y="40021"/>
                    <a:pt x="142573" y="24543"/>
                  </a:cubicBezTo>
                  <a:cubicBezTo>
                    <a:pt x="110183" y="-8042"/>
                    <a:pt x="57510" y="-8201"/>
                    <a:pt x="24924" y="24189"/>
                  </a:cubicBezTo>
                  <a:cubicBezTo>
                    <a:pt x="24793" y="24319"/>
                    <a:pt x="24663" y="24450"/>
                    <a:pt x="24533" y="24580"/>
                  </a:cubicBezTo>
                  <a:cubicBezTo>
                    <a:pt x="8591" y="40099"/>
                    <a:pt x="-276" y="61485"/>
                    <a:pt x="8" y="83731"/>
                  </a:cubicBezTo>
                  <a:cubicBezTo>
                    <a:pt x="-310" y="105972"/>
                    <a:pt x="8564" y="127360"/>
                    <a:pt x="24533" y="142844"/>
                  </a:cubicBezTo>
                  <a:cubicBezTo>
                    <a:pt x="40084" y="158666"/>
                    <a:pt x="61426" y="167445"/>
                    <a:pt x="83609" y="167145"/>
                  </a:cubicBezTo>
                </a:path>
              </a:pathLst>
            </a:custGeom>
            <a:solidFill>
              <a:srgbClr val="E2E2E3"/>
            </a:solidFill>
            <a:ln w="3718"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5F869C8D-9226-44FE-8107-1AB0E4150E13}"/>
                </a:ext>
              </a:extLst>
            </p:cNvPr>
            <p:cNvSpPr/>
            <p:nvPr/>
          </p:nvSpPr>
          <p:spPr>
            <a:xfrm>
              <a:off x="552052" y="6589991"/>
              <a:ext cx="121133" cy="164789"/>
            </a:xfrm>
            <a:custGeom>
              <a:avLst/>
              <a:gdLst>
                <a:gd name="connsiteX0" fmla="*/ 33321 w 121133"/>
                <a:gd name="connsiteY0" fmla="*/ 32848 h 164789"/>
                <a:gd name="connsiteX1" fmla="*/ 51957 w 121133"/>
                <a:gd name="connsiteY1" fmla="*/ 32848 h 164789"/>
                <a:gd name="connsiteX2" fmla="*/ 72382 w 121133"/>
                <a:gd name="connsiteY2" fmla="*/ 39371 h 164789"/>
                <a:gd name="connsiteX3" fmla="*/ 78941 w 121133"/>
                <a:gd name="connsiteY3" fmla="*/ 55211 h 164789"/>
                <a:gd name="connsiteX4" fmla="*/ 56914 w 121133"/>
                <a:gd name="connsiteY4" fmla="*/ 78543 h 164789"/>
                <a:gd name="connsiteX5" fmla="*/ 45732 w 121133"/>
                <a:gd name="connsiteY5" fmla="*/ 78543 h 164789"/>
                <a:gd name="connsiteX6" fmla="*/ 45732 w 121133"/>
                <a:gd name="connsiteY6" fmla="*/ 78543 h 164789"/>
                <a:gd name="connsiteX7" fmla="*/ 33321 w 121133"/>
                <a:gd name="connsiteY7" fmla="*/ 78543 h 164789"/>
                <a:gd name="connsiteX8" fmla="*/ 33321 w 121133"/>
                <a:gd name="connsiteY8" fmla="*/ 164790 h 164789"/>
                <a:gd name="connsiteX9" fmla="*/ 33321 w 121133"/>
                <a:gd name="connsiteY9" fmla="*/ 91924 h 164789"/>
                <a:gd name="connsiteX10" fmla="*/ 80656 w 121133"/>
                <a:gd name="connsiteY10" fmla="*/ 164790 h 164789"/>
                <a:gd name="connsiteX11" fmla="*/ 121133 w 121133"/>
                <a:gd name="connsiteY11" fmla="*/ 164790 h 164789"/>
                <a:gd name="connsiteX12" fmla="*/ 82818 w 121133"/>
                <a:gd name="connsiteY12" fmla="*/ 105155 h 164789"/>
                <a:gd name="connsiteX13" fmla="*/ 102423 w 121133"/>
                <a:gd name="connsiteY13" fmla="*/ 89725 h 164789"/>
                <a:gd name="connsiteX14" fmla="*/ 112859 w 121133"/>
                <a:gd name="connsiteY14" fmla="*/ 58342 h 164789"/>
                <a:gd name="connsiteX15" fmla="*/ 112859 w 121133"/>
                <a:gd name="connsiteY15" fmla="*/ 54205 h 164789"/>
                <a:gd name="connsiteX16" fmla="*/ 96906 w 121133"/>
                <a:gd name="connsiteY16" fmla="*/ 16933 h 164789"/>
                <a:gd name="connsiteX17" fmla="*/ 53746 w 121133"/>
                <a:gd name="connsiteY17" fmla="*/ 12 h 164789"/>
                <a:gd name="connsiteX18" fmla="*/ 0 w 121133"/>
                <a:gd name="connsiteY18" fmla="*/ 12 h 164789"/>
                <a:gd name="connsiteX19" fmla="*/ 0 w 121133"/>
                <a:gd name="connsiteY19" fmla="*/ 164790 h 16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133" h="164789">
                  <a:moveTo>
                    <a:pt x="33321" y="32848"/>
                  </a:moveTo>
                  <a:lnTo>
                    <a:pt x="51957" y="32848"/>
                  </a:lnTo>
                  <a:cubicBezTo>
                    <a:pt x="59325" y="32508"/>
                    <a:pt x="66575" y="34822"/>
                    <a:pt x="72382" y="39371"/>
                  </a:cubicBezTo>
                  <a:cubicBezTo>
                    <a:pt x="76586" y="43570"/>
                    <a:pt x="78945" y="49269"/>
                    <a:pt x="78941" y="55211"/>
                  </a:cubicBezTo>
                  <a:cubicBezTo>
                    <a:pt x="79296" y="67735"/>
                    <a:pt x="69437" y="78178"/>
                    <a:pt x="56914" y="78543"/>
                  </a:cubicBezTo>
                  <a:lnTo>
                    <a:pt x="45732" y="78543"/>
                  </a:lnTo>
                  <a:lnTo>
                    <a:pt x="45732" y="78543"/>
                  </a:lnTo>
                  <a:lnTo>
                    <a:pt x="33321" y="78543"/>
                  </a:lnTo>
                  <a:close/>
                  <a:moveTo>
                    <a:pt x="33321" y="164790"/>
                  </a:moveTo>
                  <a:lnTo>
                    <a:pt x="33321" y="91924"/>
                  </a:lnTo>
                  <a:lnTo>
                    <a:pt x="80656" y="164790"/>
                  </a:lnTo>
                  <a:lnTo>
                    <a:pt x="121133" y="164790"/>
                  </a:lnTo>
                  <a:lnTo>
                    <a:pt x="82818" y="105155"/>
                  </a:lnTo>
                  <a:cubicBezTo>
                    <a:pt x="90932" y="102416"/>
                    <a:pt x="97853" y="96968"/>
                    <a:pt x="102423" y="89725"/>
                  </a:cubicBezTo>
                  <a:cubicBezTo>
                    <a:pt x="109132" y="80630"/>
                    <a:pt x="112784" y="69643"/>
                    <a:pt x="112859" y="58342"/>
                  </a:cubicBezTo>
                  <a:lnTo>
                    <a:pt x="112859" y="54205"/>
                  </a:lnTo>
                  <a:cubicBezTo>
                    <a:pt x="112859" y="35979"/>
                    <a:pt x="106933" y="26810"/>
                    <a:pt x="96906" y="16933"/>
                  </a:cubicBezTo>
                  <a:cubicBezTo>
                    <a:pt x="85337" y="5785"/>
                    <a:pt x="69810" y="-303"/>
                    <a:pt x="53746" y="12"/>
                  </a:cubicBezTo>
                  <a:lnTo>
                    <a:pt x="0" y="12"/>
                  </a:lnTo>
                  <a:lnTo>
                    <a:pt x="0" y="164790"/>
                  </a:lnTo>
                  <a:close/>
                </a:path>
              </a:pathLst>
            </a:custGeom>
            <a:solidFill>
              <a:srgbClr val="E2E2E3"/>
            </a:solidFill>
            <a:ln w="3718" cap="flat">
              <a:noFill/>
              <a:prstDash val="solid"/>
              <a:miter/>
            </a:ln>
          </p:spPr>
          <p:txBody>
            <a:bodyPr rtlCol="0" anchor="ctr"/>
            <a:lstStyle/>
            <a:p>
              <a:endParaRPr lang="en-US" dirty="0"/>
            </a:p>
          </p:txBody>
        </p:sp>
        <p:sp>
          <p:nvSpPr>
            <p:cNvPr id="20" name="Freeform: Shape 19">
              <a:extLst>
                <a:ext uri="{FF2B5EF4-FFF2-40B4-BE49-F238E27FC236}">
                  <a16:creationId xmlns:a16="http://schemas.microsoft.com/office/drawing/2014/main" id="{0659F869-45C5-4242-B15C-092032C97CFD}"/>
                </a:ext>
              </a:extLst>
            </p:cNvPr>
            <p:cNvSpPr/>
            <p:nvPr/>
          </p:nvSpPr>
          <p:spPr>
            <a:xfrm>
              <a:off x="681161" y="6590003"/>
              <a:ext cx="114275" cy="164778"/>
            </a:xfrm>
            <a:custGeom>
              <a:avLst/>
              <a:gdLst>
                <a:gd name="connsiteX0" fmla="*/ 40552 w 114275"/>
                <a:gd name="connsiteY0" fmla="*/ 164778 h 164778"/>
                <a:gd name="connsiteX1" fmla="*/ 73798 w 114275"/>
                <a:gd name="connsiteY1" fmla="*/ 164778 h 164778"/>
                <a:gd name="connsiteX2" fmla="*/ 73798 w 114275"/>
                <a:gd name="connsiteY2" fmla="*/ 32836 h 164778"/>
                <a:gd name="connsiteX3" fmla="*/ 114275 w 114275"/>
                <a:gd name="connsiteY3" fmla="*/ 32836 h 164778"/>
                <a:gd name="connsiteX4" fmla="*/ 114275 w 114275"/>
                <a:gd name="connsiteY4" fmla="*/ 0 h 164778"/>
                <a:gd name="connsiteX5" fmla="*/ 0 w 114275"/>
                <a:gd name="connsiteY5" fmla="*/ 0 h 164778"/>
                <a:gd name="connsiteX6" fmla="*/ 0 w 114275"/>
                <a:gd name="connsiteY6" fmla="*/ 32836 h 164778"/>
                <a:gd name="connsiteX7" fmla="*/ 40552 w 114275"/>
                <a:gd name="connsiteY7" fmla="*/ 32836 h 164778"/>
                <a:gd name="connsiteX8" fmla="*/ 40552 w 114275"/>
                <a:gd name="connsiteY8" fmla="*/ 164778 h 16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275" h="164778">
                  <a:moveTo>
                    <a:pt x="40552" y="164778"/>
                  </a:moveTo>
                  <a:lnTo>
                    <a:pt x="73798" y="164778"/>
                  </a:lnTo>
                  <a:lnTo>
                    <a:pt x="73798" y="32836"/>
                  </a:lnTo>
                  <a:lnTo>
                    <a:pt x="114275" y="32836"/>
                  </a:lnTo>
                  <a:lnTo>
                    <a:pt x="114275" y="0"/>
                  </a:lnTo>
                  <a:lnTo>
                    <a:pt x="0" y="0"/>
                  </a:lnTo>
                  <a:lnTo>
                    <a:pt x="0" y="32836"/>
                  </a:lnTo>
                  <a:lnTo>
                    <a:pt x="40552" y="32836"/>
                  </a:lnTo>
                  <a:lnTo>
                    <a:pt x="40552" y="164778"/>
                  </a:lnTo>
                  <a:close/>
                </a:path>
              </a:pathLst>
            </a:custGeom>
            <a:solidFill>
              <a:srgbClr val="E2E2E3"/>
            </a:solidFill>
            <a:ln w="3718"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DA45E0F5-ED93-4246-834F-76E2DBE40C87}"/>
                </a:ext>
              </a:extLst>
            </p:cNvPr>
            <p:cNvSpPr/>
            <p:nvPr/>
          </p:nvSpPr>
          <p:spPr>
            <a:xfrm>
              <a:off x="809749" y="6590003"/>
              <a:ext cx="121095" cy="164778"/>
            </a:xfrm>
            <a:custGeom>
              <a:avLst/>
              <a:gdLst>
                <a:gd name="connsiteX0" fmla="*/ 33023 w 121095"/>
                <a:gd name="connsiteY0" fmla="*/ 98770 h 164778"/>
                <a:gd name="connsiteX1" fmla="*/ 88110 w 121095"/>
                <a:gd name="connsiteY1" fmla="*/ 98770 h 164778"/>
                <a:gd name="connsiteX2" fmla="*/ 88110 w 121095"/>
                <a:gd name="connsiteY2" fmla="*/ 164778 h 164778"/>
                <a:gd name="connsiteX3" fmla="*/ 121096 w 121095"/>
                <a:gd name="connsiteY3" fmla="*/ 164778 h 164778"/>
                <a:gd name="connsiteX4" fmla="*/ 121096 w 121095"/>
                <a:gd name="connsiteY4" fmla="*/ 0 h 164778"/>
                <a:gd name="connsiteX5" fmla="*/ 88110 w 121095"/>
                <a:gd name="connsiteY5" fmla="*/ 0 h 164778"/>
                <a:gd name="connsiteX6" fmla="*/ 88110 w 121095"/>
                <a:gd name="connsiteY6" fmla="*/ 65934 h 164778"/>
                <a:gd name="connsiteX7" fmla="*/ 33023 w 121095"/>
                <a:gd name="connsiteY7" fmla="*/ 65934 h 164778"/>
                <a:gd name="connsiteX8" fmla="*/ 33023 w 121095"/>
                <a:gd name="connsiteY8" fmla="*/ 0 h 164778"/>
                <a:gd name="connsiteX9" fmla="*/ 0 w 121095"/>
                <a:gd name="connsiteY9" fmla="*/ 0 h 164778"/>
                <a:gd name="connsiteX10" fmla="*/ 0 w 121095"/>
                <a:gd name="connsiteY10" fmla="*/ 164778 h 164778"/>
                <a:gd name="connsiteX11" fmla="*/ 33023 w 121095"/>
                <a:gd name="connsiteY11" fmla="*/ 164778 h 164778"/>
                <a:gd name="connsiteX12" fmla="*/ 33023 w 121095"/>
                <a:gd name="connsiteY12" fmla="*/ 98770 h 16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095" h="164778">
                  <a:moveTo>
                    <a:pt x="33023" y="98770"/>
                  </a:moveTo>
                  <a:lnTo>
                    <a:pt x="88110" y="98770"/>
                  </a:lnTo>
                  <a:lnTo>
                    <a:pt x="88110" y="164778"/>
                  </a:lnTo>
                  <a:lnTo>
                    <a:pt x="121096" y="164778"/>
                  </a:lnTo>
                  <a:lnTo>
                    <a:pt x="121096" y="0"/>
                  </a:lnTo>
                  <a:lnTo>
                    <a:pt x="88110" y="0"/>
                  </a:lnTo>
                  <a:lnTo>
                    <a:pt x="88110" y="65934"/>
                  </a:lnTo>
                  <a:lnTo>
                    <a:pt x="33023" y="65934"/>
                  </a:lnTo>
                  <a:lnTo>
                    <a:pt x="33023" y="0"/>
                  </a:lnTo>
                  <a:lnTo>
                    <a:pt x="0" y="0"/>
                  </a:lnTo>
                  <a:lnTo>
                    <a:pt x="0" y="164778"/>
                  </a:lnTo>
                  <a:lnTo>
                    <a:pt x="33023" y="164778"/>
                  </a:lnTo>
                  <a:lnTo>
                    <a:pt x="33023" y="98770"/>
                  </a:lnTo>
                  <a:close/>
                </a:path>
              </a:pathLst>
            </a:custGeom>
            <a:solidFill>
              <a:srgbClr val="E2E2E3"/>
            </a:solidFill>
            <a:ln w="3718"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B08F3565-6E0C-463D-8A2A-10F2F4B145BA}"/>
                </a:ext>
              </a:extLst>
            </p:cNvPr>
            <p:cNvSpPr/>
            <p:nvPr/>
          </p:nvSpPr>
          <p:spPr>
            <a:xfrm>
              <a:off x="223838" y="6589593"/>
              <a:ext cx="132463" cy="168580"/>
            </a:xfrm>
            <a:custGeom>
              <a:avLst/>
              <a:gdLst>
                <a:gd name="connsiteX0" fmla="*/ 0 w 132463"/>
                <a:gd name="connsiteY0" fmla="*/ 165412 h 168580"/>
                <a:gd name="connsiteX1" fmla="*/ 33097 w 132463"/>
                <a:gd name="connsiteY1" fmla="*/ 165412 h 168580"/>
                <a:gd name="connsiteX2" fmla="*/ 33097 w 132463"/>
                <a:gd name="connsiteY2" fmla="*/ 73910 h 168580"/>
                <a:gd name="connsiteX3" fmla="*/ 132464 w 132463"/>
                <a:gd name="connsiteY3" fmla="*/ 168580 h 168580"/>
                <a:gd name="connsiteX4" fmla="*/ 132464 w 132463"/>
                <a:gd name="connsiteY4" fmla="*/ 0 h 168580"/>
                <a:gd name="connsiteX5" fmla="*/ 99255 w 132463"/>
                <a:gd name="connsiteY5" fmla="*/ 0 h 168580"/>
                <a:gd name="connsiteX6" fmla="*/ 99255 w 132463"/>
                <a:gd name="connsiteY6" fmla="*/ 91502 h 168580"/>
                <a:gd name="connsiteX7" fmla="*/ 48490 w 132463"/>
                <a:gd name="connsiteY7" fmla="*/ 43161 h 168580"/>
                <a:gd name="connsiteX8" fmla="*/ 0 w 132463"/>
                <a:gd name="connsiteY8" fmla="*/ 91651 h 168580"/>
                <a:gd name="connsiteX9" fmla="*/ 0 w 132463"/>
                <a:gd name="connsiteY9" fmla="*/ 165412 h 16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463" h="168580">
                  <a:moveTo>
                    <a:pt x="0" y="165412"/>
                  </a:moveTo>
                  <a:lnTo>
                    <a:pt x="33097" y="165412"/>
                  </a:lnTo>
                  <a:lnTo>
                    <a:pt x="33097" y="73910"/>
                  </a:lnTo>
                  <a:lnTo>
                    <a:pt x="132464" y="168580"/>
                  </a:lnTo>
                  <a:lnTo>
                    <a:pt x="132464" y="0"/>
                  </a:lnTo>
                  <a:lnTo>
                    <a:pt x="99255" y="0"/>
                  </a:lnTo>
                  <a:lnTo>
                    <a:pt x="99255" y="91502"/>
                  </a:lnTo>
                  <a:lnTo>
                    <a:pt x="48490" y="43161"/>
                  </a:lnTo>
                  <a:lnTo>
                    <a:pt x="0" y="91651"/>
                  </a:lnTo>
                  <a:lnTo>
                    <a:pt x="0" y="165412"/>
                  </a:lnTo>
                  <a:close/>
                </a:path>
              </a:pathLst>
            </a:custGeom>
            <a:solidFill>
              <a:srgbClr val="E2E2E3"/>
            </a:solidFill>
            <a:ln w="3718" cap="flat">
              <a:no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7B435177-3496-45CC-905C-49D5D94BF29F}"/>
                </a:ext>
              </a:extLst>
            </p:cNvPr>
            <p:cNvSpPr/>
            <p:nvPr/>
          </p:nvSpPr>
          <p:spPr>
            <a:xfrm>
              <a:off x="223838" y="6586537"/>
              <a:ext cx="48490" cy="94707"/>
            </a:xfrm>
            <a:custGeom>
              <a:avLst/>
              <a:gdLst>
                <a:gd name="connsiteX0" fmla="*/ 0 w 48490"/>
                <a:gd name="connsiteY0" fmla="*/ 94707 h 94707"/>
                <a:gd name="connsiteX1" fmla="*/ 48490 w 48490"/>
                <a:gd name="connsiteY1" fmla="*/ 46180 h 94707"/>
                <a:gd name="connsiteX2" fmla="*/ 0 w 48490"/>
                <a:gd name="connsiteY2" fmla="*/ 0 h 94707"/>
                <a:gd name="connsiteX3" fmla="*/ 0 w 48490"/>
                <a:gd name="connsiteY3" fmla="*/ 94707 h 94707"/>
              </a:gdLst>
              <a:ahLst/>
              <a:cxnLst>
                <a:cxn ang="0">
                  <a:pos x="connsiteX0" y="connsiteY0"/>
                </a:cxn>
                <a:cxn ang="0">
                  <a:pos x="connsiteX1" y="connsiteY1"/>
                </a:cxn>
                <a:cxn ang="0">
                  <a:pos x="connsiteX2" y="connsiteY2"/>
                </a:cxn>
                <a:cxn ang="0">
                  <a:pos x="connsiteX3" y="connsiteY3"/>
                </a:cxn>
              </a:cxnLst>
              <a:rect l="l" t="t" r="r" b="b"/>
              <a:pathLst>
                <a:path w="48490" h="94707">
                  <a:moveTo>
                    <a:pt x="0" y="94707"/>
                  </a:moveTo>
                  <a:lnTo>
                    <a:pt x="48490" y="46180"/>
                  </a:lnTo>
                  <a:lnTo>
                    <a:pt x="0" y="0"/>
                  </a:lnTo>
                  <a:lnTo>
                    <a:pt x="0" y="94707"/>
                  </a:lnTo>
                  <a:close/>
                </a:path>
              </a:pathLst>
            </a:custGeom>
            <a:solidFill>
              <a:srgbClr val="E2E2E3"/>
            </a:solidFill>
            <a:ln w="3718"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808627706"/>
      </p:ext>
    </p:extLst>
  </p:cSld>
  <p:clrMapOvr>
    <a:overrideClrMapping bg1="dk1" tx1="lt1" bg2="dk2" tx2="lt2" accent1="accent1" accent2="accent2" accent3="accent3" accent4="accent4" accent5="accent5" accent6="accent6" hlink="hlink" folHlink="folHlink"/>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1_Section Divider Grey">
    <p:bg>
      <p:bgPr>
        <a:solidFill>
          <a:schemeClr val="accent4"/>
        </a:solid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904D09A-4AE1-41F7-8585-54F9D1A47C7F}"/>
              </a:ext>
            </a:extLst>
          </p:cNvPr>
          <p:cNvSpPr>
            <a:spLocks noGrp="1"/>
          </p:cNvSpPr>
          <p:nvPr>
            <p:ph type="sldNum" sz="quarter" idx="12"/>
          </p:nvPr>
        </p:nvSpPr>
        <p:spPr/>
        <p:txBody>
          <a:bodyPr/>
          <a:lstStyle/>
          <a:p>
            <a:fld id="{5034EE70-12A8-400F-8E3D-398CDD8B315D}" type="slidenum">
              <a:rPr lang="en-US" smtClean="0"/>
              <a:pPr/>
              <a:t>‹#›</a:t>
            </a:fld>
            <a:endParaRPr lang="en-US" dirty="0"/>
          </a:p>
        </p:txBody>
      </p:sp>
      <p:sp>
        <p:nvSpPr>
          <p:cNvPr id="3" name="TextBox 2">
            <a:extLst>
              <a:ext uri="{FF2B5EF4-FFF2-40B4-BE49-F238E27FC236}">
                <a16:creationId xmlns:a16="http://schemas.microsoft.com/office/drawing/2014/main" id="{8F0FEF4F-CB78-4E83-B032-12859ABB3DF4}"/>
              </a:ext>
            </a:extLst>
          </p:cNvPr>
          <p:cNvSpPr txBox="1"/>
          <p:nvPr userDrawn="1"/>
        </p:nvSpPr>
        <p:spPr>
          <a:xfrm>
            <a:off x="9817769" y="6576218"/>
            <a:ext cx="1771776" cy="171450"/>
          </a:xfrm>
          <a:prstGeom prst="rect">
            <a:avLst/>
          </a:prstGeom>
          <a:noFill/>
        </p:spPr>
        <p:txBody>
          <a:bodyPr wrap="square" rtlCol="0">
            <a:noAutofit/>
          </a:bodyPr>
          <a:lstStyle/>
          <a:p>
            <a:pPr algn="ctr">
              <a:lnSpc>
                <a:spcPct val="90000"/>
              </a:lnSpc>
              <a:spcAft>
                <a:spcPts val="600"/>
              </a:spcAft>
            </a:pPr>
            <a:r>
              <a:rPr lang="en-US" sz="700" cap="all" spc="10" baseline="0" dirty="0"/>
              <a:t>Proprietary and Confidential</a:t>
            </a:r>
          </a:p>
        </p:txBody>
      </p:sp>
      <p:sp>
        <p:nvSpPr>
          <p:cNvPr id="63" name="Freeform: Shape 62">
            <a:extLst>
              <a:ext uri="{FF2B5EF4-FFF2-40B4-BE49-F238E27FC236}">
                <a16:creationId xmlns:a16="http://schemas.microsoft.com/office/drawing/2014/main" id="{D86E5E74-F887-469E-BA30-D2A06C55613B}"/>
              </a:ext>
            </a:extLst>
          </p:cNvPr>
          <p:cNvSpPr/>
          <p:nvPr userDrawn="1"/>
        </p:nvSpPr>
        <p:spPr>
          <a:xfrm>
            <a:off x="223837" y="223838"/>
            <a:ext cx="11744326" cy="6262686"/>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dirty="0">
              <a:solidFill>
                <a:schemeClr val="tx1"/>
              </a:solidFill>
            </a:endParaRPr>
          </a:p>
        </p:txBody>
      </p:sp>
      <p:sp>
        <p:nvSpPr>
          <p:cNvPr id="80" name="Text Placeholder 11">
            <a:extLst>
              <a:ext uri="{FF2B5EF4-FFF2-40B4-BE49-F238E27FC236}">
                <a16:creationId xmlns:a16="http://schemas.microsoft.com/office/drawing/2014/main" id="{B9410B0D-734E-4C7E-BAA9-8C4CAD589FDD}"/>
              </a:ext>
            </a:extLst>
          </p:cNvPr>
          <p:cNvSpPr>
            <a:spLocks noGrp="1"/>
          </p:cNvSpPr>
          <p:nvPr>
            <p:ph type="body" sz="quarter" idx="15" hasCustomPrompt="1"/>
          </p:nvPr>
        </p:nvSpPr>
        <p:spPr>
          <a:xfrm>
            <a:off x="5325600" y="87312"/>
            <a:ext cx="1540800" cy="274637"/>
          </a:xfrm>
          <a:solidFill>
            <a:schemeClr val="accent4"/>
          </a:solidFill>
          <a:ln>
            <a:solidFill>
              <a:schemeClr val="tx1"/>
            </a:solidFill>
          </a:ln>
        </p:spPr>
        <p:txBody>
          <a:bodyPr anchor="ctr"/>
          <a:lstStyle>
            <a:lvl1pPr algn="ctr">
              <a:defRPr sz="1050" b="1" cap="all" baseline="0">
                <a:solidFill>
                  <a:schemeClr val="tx1"/>
                </a:solidFill>
              </a:defRPr>
            </a:lvl1pPr>
          </a:lstStyle>
          <a:p>
            <a:pPr lvl="0"/>
            <a:r>
              <a:rPr lang="en-US"/>
              <a:t>Section XX</a:t>
            </a:r>
          </a:p>
        </p:txBody>
      </p:sp>
      <p:sp>
        <p:nvSpPr>
          <p:cNvPr id="81" name="Text Placeholder 5">
            <a:extLst>
              <a:ext uri="{FF2B5EF4-FFF2-40B4-BE49-F238E27FC236}">
                <a16:creationId xmlns:a16="http://schemas.microsoft.com/office/drawing/2014/main" id="{42AF7850-2114-4493-82FE-B9DEA2D8D9A6}"/>
              </a:ext>
            </a:extLst>
          </p:cNvPr>
          <p:cNvSpPr>
            <a:spLocks noGrp="1"/>
          </p:cNvSpPr>
          <p:nvPr>
            <p:ph type="body" sz="quarter" idx="21" hasCustomPrompt="1"/>
          </p:nvPr>
        </p:nvSpPr>
        <p:spPr>
          <a:xfrm>
            <a:off x="3307080" y="1828800"/>
            <a:ext cx="5577840" cy="3200400"/>
          </a:xfrm>
          <a:ln>
            <a:solidFill>
              <a:schemeClr val="tx1"/>
            </a:solidFill>
          </a:ln>
        </p:spPr>
        <p:txBody>
          <a:bodyPr/>
          <a:lstStyle>
            <a:lvl1pPr>
              <a:defRPr/>
            </a:lvl1pPr>
          </a:lstStyle>
          <a:p>
            <a:pPr lvl="0"/>
            <a:r>
              <a:rPr lang="en-US"/>
              <a:t> </a:t>
            </a:r>
          </a:p>
        </p:txBody>
      </p:sp>
      <p:sp>
        <p:nvSpPr>
          <p:cNvPr id="2" name="Title 1">
            <a:extLst>
              <a:ext uri="{FF2B5EF4-FFF2-40B4-BE49-F238E27FC236}">
                <a16:creationId xmlns:a16="http://schemas.microsoft.com/office/drawing/2014/main" id="{844F0621-2390-4957-AD47-60FDBAA34491}"/>
              </a:ext>
            </a:extLst>
          </p:cNvPr>
          <p:cNvSpPr>
            <a:spLocks noGrp="1"/>
          </p:cNvSpPr>
          <p:nvPr>
            <p:ph type="title" hasCustomPrompt="1"/>
          </p:nvPr>
        </p:nvSpPr>
        <p:spPr>
          <a:xfrm>
            <a:off x="3429000" y="2232661"/>
            <a:ext cx="5334000" cy="2392678"/>
          </a:xfrm>
        </p:spPr>
        <p:txBody>
          <a:bodyPr anchor="ctr"/>
          <a:lstStyle>
            <a:lvl1pPr algn="ctr">
              <a:defRPr sz="2800" b="1"/>
            </a:lvl1pPr>
          </a:lstStyle>
          <a:p>
            <a:r>
              <a:rPr lang="en-US"/>
              <a:t>Click to insert subsection name</a:t>
            </a:r>
          </a:p>
        </p:txBody>
      </p:sp>
      <p:sp>
        <p:nvSpPr>
          <p:cNvPr id="24" name="Footer Placeholder 4">
            <a:extLst>
              <a:ext uri="{FF2B5EF4-FFF2-40B4-BE49-F238E27FC236}">
                <a16:creationId xmlns:a16="http://schemas.microsoft.com/office/drawing/2014/main" id="{4130C53C-2EB0-4D16-8437-DD3010730E1E}"/>
              </a:ext>
            </a:extLst>
          </p:cNvPr>
          <p:cNvSpPr>
            <a:spLocks noGrp="1"/>
          </p:cNvSpPr>
          <p:nvPr>
            <p:ph type="ftr" sz="quarter" idx="3"/>
          </p:nvPr>
        </p:nvSpPr>
        <p:spPr>
          <a:xfrm>
            <a:off x="4648200" y="6534150"/>
            <a:ext cx="5169569" cy="263525"/>
          </a:xfrm>
          <a:prstGeom prst="rect">
            <a:avLst/>
          </a:prstGeom>
        </p:spPr>
        <p:txBody>
          <a:bodyPr vert="horz" wrap="square" lIns="91440" tIns="45720" rIns="91440" bIns="45720" rtlCol="0" anchor="ctr">
            <a:noAutofit/>
          </a:bodyPr>
          <a:lstStyle>
            <a:lvl1pPr algn="r">
              <a:lnSpc>
                <a:spcPct val="90000"/>
              </a:lnSpc>
              <a:spcAft>
                <a:spcPts val="600"/>
              </a:spcAft>
              <a:defRPr sz="600">
                <a:solidFill>
                  <a:schemeClr val="tx1"/>
                </a:solidFill>
              </a:defRPr>
            </a:lvl1pPr>
          </a:lstStyle>
          <a:p>
            <a:endParaRPr lang="en-US" sz="600" noProof="0" dirty="0"/>
          </a:p>
        </p:txBody>
      </p:sp>
      <p:grpSp>
        <p:nvGrpSpPr>
          <p:cNvPr id="9" name="Graphic 46">
            <a:extLst>
              <a:ext uri="{FF2B5EF4-FFF2-40B4-BE49-F238E27FC236}">
                <a16:creationId xmlns:a16="http://schemas.microsoft.com/office/drawing/2014/main" id="{0F22091A-0D54-4E20-BED6-31FC567EF053}"/>
              </a:ext>
            </a:extLst>
          </p:cNvPr>
          <p:cNvGrpSpPr/>
          <p:nvPr userDrawn="1"/>
        </p:nvGrpSpPr>
        <p:grpSpPr>
          <a:xfrm>
            <a:off x="223838" y="6586537"/>
            <a:ext cx="1852878" cy="171636"/>
            <a:chOff x="223838" y="6586537"/>
            <a:chExt cx="1852878" cy="171636"/>
          </a:xfrm>
          <a:solidFill>
            <a:srgbClr val="E2E2E3"/>
          </a:solidFill>
        </p:grpSpPr>
        <p:sp>
          <p:nvSpPr>
            <p:cNvPr id="10" name="Freeform: Shape 9">
              <a:extLst>
                <a:ext uri="{FF2B5EF4-FFF2-40B4-BE49-F238E27FC236}">
                  <a16:creationId xmlns:a16="http://schemas.microsoft.com/office/drawing/2014/main" id="{1AF8885B-66CC-4741-A2FE-1ADD2C488BE9}"/>
                </a:ext>
              </a:extLst>
            </p:cNvPr>
            <p:cNvSpPr/>
            <p:nvPr/>
          </p:nvSpPr>
          <p:spPr>
            <a:xfrm>
              <a:off x="1015600" y="6590823"/>
              <a:ext cx="114610" cy="163250"/>
            </a:xfrm>
            <a:custGeom>
              <a:avLst/>
              <a:gdLst>
                <a:gd name="connsiteX0" fmla="*/ 97913 w 114610"/>
                <a:gd name="connsiteY0" fmla="*/ 163250 h 163250"/>
                <a:gd name="connsiteX1" fmla="*/ 114611 w 114610"/>
                <a:gd name="connsiteY1" fmla="*/ 163250 h 163250"/>
                <a:gd name="connsiteX2" fmla="*/ 114611 w 114610"/>
                <a:gd name="connsiteY2" fmla="*/ 0 h 163250"/>
                <a:gd name="connsiteX3" fmla="*/ 97913 w 114610"/>
                <a:gd name="connsiteY3" fmla="*/ 0 h 163250"/>
                <a:gd name="connsiteX4" fmla="*/ 97913 w 114610"/>
                <a:gd name="connsiteY4" fmla="*/ 73351 h 163250"/>
                <a:gd name="connsiteX5" fmla="*/ 16698 w 114610"/>
                <a:gd name="connsiteY5" fmla="*/ 73351 h 163250"/>
                <a:gd name="connsiteX6" fmla="*/ 16698 w 114610"/>
                <a:gd name="connsiteY6" fmla="*/ 0 h 163250"/>
                <a:gd name="connsiteX7" fmla="*/ 0 w 114610"/>
                <a:gd name="connsiteY7" fmla="*/ 0 h 163250"/>
                <a:gd name="connsiteX8" fmla="*/ 0 w 114610"/>
                <a:gd name="connsiteY8" fmla="*/ 163250 h 163250"/>
                <a:gd name="connsiteX9" fmla="*/ 16698 w 114610"/>
                <a:gd name="connsiteY9" fmla="*/ 163250 h 163250"/>
                <a:gd name="connsiteX10" fmla="*/ 16698 w 114610"/>
                <a:gd name="connsiteY10" fmla="*/ 89937 h 163250"/>
                <a:gd name="connsiteX11" fmla="*/ 97913 w 114610"/>
                <a:gd name="connsiteY11" fmla="*/ 89937 h 163250"/>
                <a:gd name="connsiteX12" fmla="*/ 97913 w 114610"/>
                <a:gd name="connsiteY12" fmla="*/ 16325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610" h="163250">
                  <a:moveTo>
                    <a:pt x="97913" y="163250"/>
                  </a:moveTo>
                  <a:lnTo>
                    <a:pt x="114611" y="163250"/>
                  </a:lnTo>
                  <a:lnTo>
                    <a:pt x="114611" y="0"/>
                  </a:lnTo>
                  <a:lnTo>
                    <a:pt x="97913" y="0"/>
                  </a:lnTo>
                  <a:lnTo>
                    <a:pt x="97913" y="73351"/>
                  </a:lnTo>
                  <a:lnTo>
                    <a:pt x="16698" y="73351"/>
                  </a:lnTo>
                  <a:lnTo>
                    <a:pt x="16698" y="0"/>
                  </a:lnTo>
                  <a:lnTo>
                    <a:pt x="0" y="0"/>
                  </a:lnTo>
                  <a:lnTo>
                    <a:pt x="0" y="163250"/>
                  </a:lnTo>
                  <a:lnTo>
                    <a:pt x="16698" y="163250"/>
                  </a:lnTo>
                  <a:lnTo>
                    <a:pt x="16698" y="89937"/>
                  </a:lnTo>
                  <a:lnTo>
                    <a:pt x="97913" y="89937"/>
                  </a:lnTo>
                  <a:lnTo>
                    <a:pt x="97913" y="163250"/>
                  </a:lnTo>
                  <a:close/>
                </a:path>
              </a:pathLst>
            </a:custGeom>
            <a:solidFill>
              <a:srgbClr val="E2E2E3"/>
            </a:solidFill>
            <a:ln w="3718" cap="flat">
              <a:noFill/>
              <a:prstDash val="solid"/>
              <a:miter/>
            </a:ln>
          </p:spPr>
          <p:txBody>
            <a:bodyPr rtlCol="0" anchor="ctr"/>
            <a:lstStyle/>
            <a:p>
              <a:endParaRPr lang="en-US" dirty="0"/>
            </a:p>
          </p:txBody>
        </p:sp>
        <p:sp>
          <p:nvSpPr>
            <p:cNvPr id="11" name="Freeform: Shape 10">
              <a:extLst>
                <a:ext uri="{FF2B5EF4-FFF2-40B4-BE49-F238E27FC236}">
                  <a16:creationId xmlns:a16="http://schemas.microsoft.com/office/drawing/2014/main" id="{46721CA6-6819-4136-B435-E40A4A21BB8B}"/>
                </a:ext>
              </a:extLst>
            </p:cNvPr>
            <p:cNvSpPr/>
            <p:nvPr/>
          </p:nvSpPr>
          <p:spPr>
            <a:xfrm>
              <a:off x="1158761" y="6590823"/>
              <a:ext cx="16809" cy="163250"/>
            </a:xfrm>
            <a:custGeom>
              <a:avLst/>
              <a:gdLst>
                <a:gd name="connsiteX0" fmla="*/ 0 w 16809"/>
                <a:gd name="connsiteY0" fmla="*/ 0 h 163250"/>
                <a:gd name="connsiteX1" fmla="*/ 16810 w 16809"/>
                <a:gd name="connsiteY1" fmla="*/ 0 h 163250"/>
                <a:gd name="connsiteX2" fmla="*/ 16810 w 16809"/>
                <a:gd name="connsiteY2" fmla="*/ 163250 h 163250"/>
                <a:gd name="connsiteX3" fmla="*/ 0 w 16809"/>
                <a:gd name="connsiteY3" fmla="*/ 163250 h 163250"/>
              </a:gdLst>
              <a:ahLst/>
              <a:cxnLst>
                <a:cxn ang="0">
                  <a:pos x="connsiteX0" y="connsiteY0"/>
                </a:cxn>
                <a:cxn ang="0">
                  <a:pos x="connsiteX1" y="connsiteY1"/>
                </a:cxn>
                <a:cxn ang="0">
                  <a:pos x="connsiteX2" y="connsiteY2"/>
                </a:cxn>
                <a:cxn ang="0">
                  <a:pos x="connsiteX3" y="connsiteY3"/>
                </a:cxn>
              </a:cxnLst>
              <a:rect l="l" t="t" r="r" b="b"/>
              <a:pathLst>
                <a:path w="16809" h="163250">
                  <a:moveTo>
                    <a:pt x="0" y="0"/>
                  </a:moveTo>
                  <a:lnTo>
                    <a:pt x="16810" y="0"/>
                  </a:lnTo>
                  <a:lnTo>
                    <a:pt x="16810" y="163250"/>
                  </a:lnTo>
                  <a:lnTo>
                    <a:pt x="0" y="163250"/>
                  </a:lnTo>
                  <a:close/>
                </a:path>
              </a:pathLst>
            </a:custGeom>
            <a:solidFill>
              <a:srgbClr val="E2E2E3"/>
            </a:solidFill>
            <a:ln w="3718" cap="flat">
              <a:noFill/>
              <a:prstDash val="solid"/>
              <a:miter/>
            </a:ln>
          </p:spPr>
          <p:txBody>
            <a:bodyPr rtlCol="0" anchor="ctr"/>
            <a:lstStyle/>
            <a:p>
              <a:endParaRPr lang="en-US" dirty="0"/>
            </a:p>
          </p:txBody>
        </p:sp>
        <p:sp>
          <p:nvSpPr>
            <p:cNvPr id="12" name="Freeform: Shape 11">
              <a:extLst>
                <a:ext uri="{FF2B5EF4-FFF2-40B4-BE49-F238E27FC236}">
                  <a16:creationId xmlns:a16="http://schemas.microsoft.com/office/drawing/2014/main" id="{D1CC335D-3974-4922-902A-F470C17A6FAA}"/>
                </a:ext>
              </a:extLst>
            </p:cNvPr>
            <p:cNvSpPr/>
            <p:nvPr/>
          </p:nvSpPr>
          <p:spPr>
            <a:xfrm>
              <a:off x="1197184" y="6589704"/>
              <a:ext cx="165642" cy="165862"/>
            </a:xfrm>
            <a:custGeom>
              <a:avLst/>
              <a:gdLst>
                <a:gd name="connsiteX0" fmla="*/ 24343 w 165642"/>
                <a:gd name="connsiteY0" fmla="*/ 141596 h 165862"/>
                <a:gd name="connsiteX1" fmla="*/ 114652 w 165642"/>
                <a:gd name="connsiteY1" fmla="*/ 159859 h 165862"/>
                <a:gd name="connsiteX2" fmla="*/ 141600 w 165642"/>
                <a:gd name="connsiteY2" fmla="*/ 141558 h 165862"/>
                <a:gd name="connsiteX3" fmla="*/ 160869 w 165642"/>
                <a:gd name="connsiteY3" fmla="*/ 110996 h 165862"/>
                <a:gd name="connsiteX4" fmla="*/ 165640 w 165642"/>
                <a:gd name="connsiteY4" fmla="*/ 81514 h 165862"/>
                <a:gd name="connsiteX5" fmla="*/ 91283 w 165642"/>
                <a:gd name="connsiteY5" fmla="*/ 81514 h 165862"/>
                <a:gd name="connsiteX6" fmla="*/ 91283 w 165642"/>
                <a:gd name="connsiteY6" fmla="*/ 96720 h 165862"/>
                <a:gd name="connsiteX7" fmla="*/ 149352 w 165642"/>
                <a:gd name="connsiteY7" fmla="*/ 96720 h 165862"/>
                <a:gd name="connsiteX8" fmla="*/ 142606 w 165642"/>
                <a:gd name="connsiteY8" fmla="*/ 110996 h 165862"/>
                <a:gd name="connsiteX9" fmla="*/ 133623 w 165642"/>
                <a:gd name="connsiteY9" fmla="*/ 124935 h 165862"/>
                <a:gd name="connsiteX10" fmla="*/ 121547 w 165642"/>
                <a:gd name="connsiteY10" fmla="*/ 136415 h 165862"/>
                <a:gd name="connsiteX11" fmla="*/ 103471 w 165642"/>
                <a:gd name="connsiteY11" fmla="*/ 145621 h 165862"/>
                <a:gd name="connsiteX12" fmla="*/ 57962 w 165642"/>
                <a:gd name="connsiteY12" fmla="*/ 143944 h 165862"/>
                <a:gd name="connsiteX13" fmla="*/ 36717 w 165642"/>
                <a:gd name="connsiteY13" fmla="*/ 129445 h 165862"/>
                <a:gd name="connsiteX14" fmla="*/ 22330 w 165642"/>
                <a:gd name="connsiteY14" fmla="*/ 108163 h 165862"/>
                <a:gd name="connsiteX15" fmla="*/ 22330 w 165642"/>
                <a:gd name="connsiteY15" fmla="*/ 57734 h 165862"/>
                <a:gd name="connsiteX16" fmla="*/ 36717 w 165642"/>
                <a:gd name="connsiteY16" fmla="*/ 36452 h 165862"/>
                <a:gd name="connsiteX17" fmla="*/ 58036 w 165642"/>
                <a:gd name="connsiteY17" fmla="*/ 21916 h 165862"/>
                <a:gd name="connsiteX18" fmla="*/ 83232 w 165642"/>
                <a:gd name="connsiteY18" fmla="*/ 17034 h 165862"/>
                <a:gd name="connsiteX19" fmla="*/ 108391 w 165642"/>
                <a:gd name="connsiteY19" fmla="*/ 21916 h 165862"/>
                <a:gd name="connsiteX20" fmla="*/ 122106 w 165642"/>
                <a:gd name="connsiteY20" fmla="*/ 29818 h 165862"/>
                <a:gd name="connsiteX21" fmla="*/ 134145 w 165642"/>
                <a:gd name="connsiteY21" fmla="*/ 17704 h 165862"/>
                <a:gd name="connsiteX22" fmla="*/ 129374 w 165642"/>
                <a:gd name="connsiteY22" fmla="*/ 14275 h 165862"/>
                <a:gd name="connsiteX23" fmla="*/ 114988 w 165642"/>
                <a:gd name="connsiteY23" fmla="*/ 6448 h 165862"/>
                <a:gd name="connsiteX24" fmla="*/ 99520 w 165642"/>
                <a:gd name="connsiteY24" fmla="*/ 1640 h 165862"/>
                <a:gd name="connsiteX25" fmla="*/ 82934 w 165642"/>
                <a:gd name="connsiteY25" fmla="*/ 0 h 165862"/>
                <a:gd name="connsiteX26" fmla="*/ 76001 w 165642"/>
                <a:gd name="connsiteY26" fmla="*/ 0 h 165862"/>
                <a:gd name="connsiteX27" fmla="*/ 51104 w 165642"/>
                <a:gd name="connsiteY27" fmla="*/ 5889 h 165862"/>
                <a:gd name="connsiteX28" fmla="*/ 24306 w 165642"/>
                <a:gd name="connsiteY28" fmla="*/ 24264 h 165862"/>
                <a:gd name="connsiteX29" fmla="*/ 6042 w 165642"/>
                <a:gd name="connsiteY29" fmla="*/ 51137 h 165862"/>
                <a:gd name="connsiteX30" fmla="*/ 4 w 165642"/>
                <a:gd name="connsiteY30" fmla="*/ 83042 h 165862"/>
                <a:gd name="connsiteX31" fmla="*/ 6042 w 165642"/>
                <a:gd name="connsiteY31" fmla="*/ 114909 h 165862"/>
                <a:gd name="connsiteX32" fmla="*/ 24268 w 165642"/>
                <a:gd name="connsiteY32" fmla="*/ 141707 h 16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65642" h="165862">
                  <a:moveTo>
                    <a:pt x="24343" y="141596"/>
                  </a:moveTo>
                  <a:cubicBezTo>
                    <a:pt x="48141" y="165094"/>
                    <a:pt x="83594" y="172264"/>
                    <a:pt x="114652" y="159859"/>
                  </a:cubicBezTo>
                  <a:cubicBezTo>
                    <a:pt x="124719" y="155530"/>
                    <a:pt x="133866" y="149319"/>
                    <a:pt x="141600" y="141558"/>
                  </a:cubicBezTo>
                  <a:cubicBezTo>
                    <a:pt x="150347" y="133035"/>
                    <a:pt x="156948" y="122562"/>
                    <a:pt x="160869" y="110996"/>
                  </a:cubicBezTo>
                  <a:cubicBezTo>
                    <a:pt x="164108" y="101507"/>
                    <a:pt x="165722" y="91539"/>
                    <a:pt x="165640" y="81514"/>
                  </a:cubicBezTo>
                  <a:lnTo>
                    <a:pt x="91283" y="81514"/>
                  </a:lnTo>
                  <a:lnTo>
                    <a:pt x="91283" y="96720"/>
                  </a:lnTo>
                  <a:lnTo>
                    <a:pt x="149352" y="96720"/>
                  </a:lnTo>
                  <a:lnTo>
                    <a:pt x="142606" y="110996"/>
                  </a:lnTo>
                  <a:cubicBezTo>
                    <a:pt x="140217" y="116006"/>
                    <a:pt x="137198" y="120690"/>
                    <a:pt x="133623" y="124935"/>
                  </a:cubicBezTo>
                  <a:cubicBezTo>
                    <a:pt x="130083" y="129240"/>
                    <a:pt x="126027" y="133095"/>
                    <a:pt x="121547" y="136415"/>
                  </a:cubicBezTo>
                  <a:cubicBezTo>
                    <a:pt x="116076" y="140470"/>
                    <a:pt x="109967" y="143582"/>
                    <a:pt x="103471" y="145621"/>
                  </a:cubicBezTo>
                  <a:cubicBezTo>
                    <a:pt x="88569" y="150385"/>
                    <a:pt x="72472" y="149792"/>
                    <a:pt x="57962" y="143944"/>
                  </a:cubicBezTo>
                  <a:cubicBezTo>
                    <a:pt x="49975" y="140595"/>
                    <a:pt x="42748" y="135663"/>
                    <a:pt x="36717" y="129445"/>
                  </a:cubicBezTo>
                  <a:cubicBezTo>
                    <a:pt x="30597" y="123344"/>
                    <a:pt x="25711" y="116117"/>
                    <a:pt x="22330" y="108163"/>
                  </a:cubicBezTo>
                  <a:cubicBezTo>
                    <a:pt x="15819" y="91984"/>
                    <a:pt x="15819" y="73913"/>
                    <a:pt x="22330" y="57734"/>
                  </a:cubicBezTo>
                  <a:cubicBezTo>
                    <a:pt x="25729" y="49791"/>
                    <a:pt x="30612" y="42568"/>
                    <a:pt x="36717" y="36452"/>
                  </a:cubicBezTo>
                  <a:cubicBezTo>
                    <a:pt x="42792" y="30244"/>
                    <a:pt x="50038" y="25303"/>
                    <a:pt x="58036" y="21916"/>
                  </a:cubicBezTo>
                  <a:cubicBezTo>
                    <a:pt x="66013" y="18581"/>
                    <a:pt x="74589" y="16919"/>
                    <a:pt x="83232" y="17034"/>
                  </a:cubicBezTo>
                  <a:cubicBezTo>
                    <a:pt x="91861" y="16956"/>
                    <a:pt x="100418" y="18617"/>
                    <a:pt x="108391" y="21916"/>
                  </a:cubicBezTo>
                  <a:cubicBezTo>
                    <a:pt x="113251" y="24012"/>
                    <a:pt x="117854" y="26664"/>
                    <a:pt x="122106" y="29818"/>
                  </a:cubicBezTo>
                  <a:lnTo>
                    <a:pt x="134145" y="17704"/>
                  </a:lnTo>
                  <a:cubicBezTo>
                    <a:pt x="132356" y="16363"/>
                    <a:pt x="130791" y="15244"/>
                    <a:pt x="129374" y="14275"/>
                  </a:cubicBezTo>
                  <a:cubicBezTo>
                    <a:pt x="124820" y="11246"/>
                    <a:pt x="120004" y="8627"/>
                    <a:pt x="114988" y="6448"/>
                  </a:cubicBezTo>
                  <a:cubicBezTo>
                    <a:pt x="110001" y="4347"/>
                    <a:pt x="104820" y="2737"/>
                    <a:pt x="99520" y="1640"/>
                  </a:cubicBezTo>
                  <a:cubicBezTo>
                    <a:pt x="94060" y="534"/>
                    <a:pt x="88502" y="-15"/>
                    <a:pt x="82934" y="0"/>
                  </a:cubicBezTo>
                  <a:lnTo>
                    <a:pt x="76001" y="0"/>
                  </a:lnTo>
                  <a:cubicBezTo>
                    <a:pt x="67440" y="610"/>
                    <a:pt x="59032" y="2598"/>
                    <a:pt x="51104" y="5889"/>
                  </a:cubicBezTo>
                  <a:cubicBezTo>
                    <a:pt x="41022" y="10138"/>
                    <a:pt x="31902" y="16389"/>
                    <a:pt x="24306" y="24264"/>
                  </a:cubicBezTo>
                  <a:cubicBezTo>
                    <a:pt x="16490" y="31918"/>
                    <a:pt x="10284" y="41054"/>
                    <a:pt x="6042" y="51137"/>
                  </a:cubicBezTo>
                  <a:cubicBezTo>
                    <a:pt x="1965" y="61275"/>
                    <a:pt x="-89" y="72114"/>
                    <a:pt x="4" y="83042"/>
                  </a:cubicBezTo>
                  <a:cubicBezTo>
                    <a:pt x="-107" y="93959"/>
                    <a:pt x="1946" y="104789"/>
                    <a:pt x="6042" y="114909"/>
                  </a:cubicBezTo>
                  <a:cubicBezTo>
                    <a:pt x="10206" y="125003"/>
                    <a:pt x="16411" y="134126"/>
                    <a:pt x="24268" y="141707"/>
                  </a:cubicBezTo>
                </a:path>
              </a:pathLst>
            </a:custGeom>
            <a:solidFill>
              <a:srgbClr val="E2E2E3"/>
            </a:solidFill>
            <a:ln w="3718" cap="flat">
              <a:noFill/>
              <a:prstDash val="solid"/>
              <a:miter/>
            </a:ln>
          </p:spPr>
          <p:txBody>
            <a:bodyPr rtlCol="0" anchor="ctr"/>
            <a:lstStyle/>
            <a:p>
              <a:endParaRPr lang="en-US" dirty="0"/>
            </a:p>
          </p:txBody>
        </p:sp>
        <p:sp>
          <p:nvSpPr>
            <p:cNvPr id="13" name="Freeform: Shape 12">
              <a:extLst>
                <a:ext uri="{FF2B5EF4-FFF2-40B4-BE49-F238E27FC236}">
                  <a16:creationId xmlns:a16="http://schemas.microsoft.com/office/drawing/2014/main" id="{393752CA-4CE3-41FF-8D4B-993268488BCE}"/>
                </a:ext>
              </a:extLst>
            </p:cNvPr>
            <p:cNvSpPr/>
            <p:nvPr/>
          </p:nvSpPr>
          <p:spPr>
            <a:xfrm>
              <a:off x="1384590" y="6590823"/>
              <a:ext cx="114573" cy="163250"/>
            </a:xfrm>
            <a:custGeom>
              <a:avLst/>
              <a:gdLst>
                <a:gd name="connsiteX0" fmla="*/ 97876 w 114573"/>
                <a:gd name="connsiteY0" fmla="*/ 163250 h 163250"/>
                <a:gd name="connsiteX1" fmla="*/ 114573 w 114573"/>
                <a:gd name="connsiteY1" fmla="*/ 163250 h 163250"/>
                <a:gd name="connsiteX2" fmla="*/ 114573 w 114573"/>
                <a:gd name="connsiteY2" fmla="*/ 0 h 163250"/>
                <a:gd name="connsiteX3" fmla="*/ 97876 w 114573"/>
                <a:gd name="connsiteY3" fmla="*/ 0 h 163250"/>
                <a:gd name="connsiteX4" fmla="*/ 97876 w 114573"/>
                <a:gd name="connsiteY4" fmla="*/ 73351 h 163250"/>
                <a:gd name="connsiteX5" fmla="*/ 16660 w 114573"/>
                <a:gd name="connsiteY5" fmla="*/ 73351 h 163250"/>
                <a:gd name="connsiteX6" fmla="*/ 16660 w 114573"/>
                <a:gd name="connsiteY6" fmla="*/ 0 h 163250"/>
                <a:gd name="connsiteX7" fmla="*/ 0 w 114573"/>
                <a:gd name="connsiteY7" fmla="*/ 0 h 163250"/>
                <a:gd name="connsiteX8" fmla="*/ 0 w 114573"/>
                <a:gd name="connsiteY8" fmla="*/ 163250 h 163250"/>
                <a:gd name="connsiteX9" fmla="*/ 16660 w 114573"/>
                <a:gd name="connsiteY9" fmla="*/ 163250 h 163250"/>
                <a:gd name="connsiteX10" fmla="*/ 16660 w 114573"/>
                <a:gd name="connsiteY10" fmla="*/ 89937 h 163250"/>
                <a:gd name="connsiteX11" fmla="*/ 97876 w 114573"/>
                <a:gd name="connsiteY11" fmla="*/ 89937 h 163250"/>
                <a:gd name="connsiteX12" fmla="*/ 97876 w 114573"/>
                <a:gd name="connsiteY12" fmla="*/ 16325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573" h="163250">
                  <a:moveTo>
                    <a:pt x="97876" y="163250"/>
                  </a:moveTo>
                  <a:lnTo>
                    <a:pt x="114573" y="163250"/>
                  </a:lnTo>
                  <a:lnTo>
                    <a:pt x="114573" y="0"/>
                  </a:lnTo>
                  <a:lnTo>
                    <a:pt x="97876" y="0"/>
                  </a:lnTo>
                  <a:lnTo>
                    <a:pt x="97876" y="73351"/>
                  </a:lnTo>
                  <a:lnTo>
                    <a:pt x="16660" y="73351"/>
                  </a:lnTo>
                  <a:lnTo>
                    <a:pt x="16660" y="0"/>
                  </a:lnTo>
                  <a:lnTo>
                    <a:pt x="0" y="0"/>
                  </a:lnTo>
                  <a:lnTo>
                    <a:pt x="0" y="163250"/>
                  </a:lnTo>
                  <a:lnTo>
                    <a:pt x="16660" y="163250"/>
                  </a:lnTo>
                  <a:lnTo>
                    <a:pt x="16660" y="89937"/>
                  </a:lnTo>
                  <a:lnTo>
                    <a:pt x="97876" y="89937"/>
                  </a:lnTo>
                  <a:lnTo>
                    <a:pt x="97876" y="163250"/>
                  </a:lnTo>
                  <a:close/>
                </a:path>
              </a:pathLst>
            </a:custGeom>
            <a:solidFill>
              <a:srgbClr val="E2E2E3"/>
            </a:solidFill>
            <a:ln w="3718" cap="flat">
              <a:noFill/>
              <a:prstDash val="solid"/>
              <a:miter/>
            </a:ln>
          </p:spPr>
          <p:txBody>
            <a:bodyPr rtlCol="0" anchor="ctr"/>
            <a:lstStyle/>
            <a:p>
              <a:endParaRPr lang="en-US" dirty="0"/>
            </a:p>
          </p:txBody>
        </p:sp>
        <p:sp>
          <p:nvSpPr>
            <p:cNvPr id="14" name="Freeform: Shape 13">
              <a:extLst>
                <a:ext uri="{FF2B5EF4-FFF2-40B4-BE49-F238E27FC236}">
                  <a16:creationId xmlns:a16="http://schemas.microsoft.com/office/drawing/2014/main" id="{AD396426-79EA-4A32-826D-167175C07074}"/>
                </a:ext>
              </a:extLst>
            </p:cNvPr>
            <p:cNvSpPr/>
            <p:nvPr/>
          </p:nvSpPr>
          <p:spPr>
            <a:xfrm>
              <a:off x="1527751" y="6590823"/>
              <a:ext cx="90346" cy="163250"/>
            </a:xfrm>
            <a:custGeom>
              <a:avLst/>
              <a:gdLst>
                <a:gd name="connsiteX0" fmla="*/ 16810 w 90346"/>
                <a:gd name="connsiteY0" fmla="*/ 0 h 163250"/>
                <a:gd name="connsiteX1" fmla="*/ 0 w 90346"/>
                <a:gd name="connsiteY1" fmla="*/ 0 h 163250"/>
                <a:gd name="connsiteX2" fmla="*/ 0 w 90346"/>
                <a:gd name="connsiteY2" fmla="*/ 163250 h 163250"/>
                <a:gd name="connsiteX3" fmla="*/ 90347 w 90346"/>
                <a:gd name="connsiteY3" fmla="*/ 163250 h 163250"/>
                <a:gd name="connsiteX4" fmla="*/ 90347 w 90346"/>
                <a:gd name="connsiteY4" fmla="*/ 146813 h 163250"/>
                <a:gd name="connsiteX5" fmla="*/ 16810 w 90346"/>
                <a:gd name="connsiteY5" fmla="*/ 146813 h 163250"/>
                <a:gd name="connsiteX6" fmla="*/ 16810 w 90346"/>
                <a:gd name="connsiteY6" fmla="*/ 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346" h="163250">
                  <a:moveTo>
                    <a:pt x="16810" y="0"/>
                  </a:moveTo>
                  <a:lnTo>
                    <a:pt x="0" y="0"/>
                  </a:lnTo>
                  <a:lnTo>
                    <a:pt x="0" y="163250"/>
                  </a:lnTo>
                  <a:lnTo>
                    <a:pt x="90347" y="163250"/>
                  </a:lnTo>
                  <a:lnTo>
                    <a:pt x="90347" y="146813"/>
                  </a:lnTo>
                  <a:lnTo>
                    <a:pt x="16810" y="146813"/>
                  </a:lnTo>
                  <a:lnTo>
                    <a:pt x="16810" y="0"/>
                  </a:lnTo>
                  <a:close/>
                </a:path>
              </a:pathLst>
            </a:custGeom>
            <a:solidFill>
              <a:srgbClr val="E2E2E3"/>
            </a:solidFill>
            <a:ln w="3718"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C0593DF1-AC7D-4512-B053-045F779CAB20}"/>
                </a:ext>
              </a:extLst>
            </p:cNvPr>
            <p:cNvSpPr/>
            <p:nvPr/>
          </p:nvSpPr>
          <p:spPr>
            <a:xfrm>
              <a:off x="1640796" y="6593991"/>
              <a:ext cx="136563" cy="160268"/>
            </a:xfrm>
            <a:custGeom>
              <a:avLst/>
              <a:gdLst>
                <a:gd name="connsiteX0" fmla="*/ 36191 w 136563"/>
                <a:gd name="connsiteY0" fmla="*/ 119866 h 160268"/>
                <a:gd name="connsiteX1" fmla="*/ 37943 w 136563"/>
                <a:gd name="connsiteY1" fmla="*/ 115803 h 160268"/>
                <a:gd name="connsiteX2" fmla="*/ 51696 w 136563"/>
                <a:gd name="connsiteY2" fmla="*/ 81700 h 160268"/>
                <a:gd name="connsiteX3" fmla="*/ 65673 w 136563"/>
                <a:gd name="connsiteY3" fmla="*/ 47223 h 160268"/>
                <a:gd name="connsiteX4" fmla="*/ 68356 w 136563"/>
                <a:gd name="connsiteY4" fmla="*/ 41036 h 160268"/>
                <a:gd name="connsiteX5" fmla="*/ 71040 w 136563"/>
                <a:gd name="connsiteY5" fmla="*/ 47261 h 160268"/>
                <a:gd name="connsiteX6" fmla="*/ 84756 w 136563"/>
                <a:gd name="connsiteY6" fmla="*/ 81700 h 160268"/>
                <a:gd name="connsiteX7" fmla="*/ 98546 w 136563"/>
                <a:gd name="connsiteY7" fmla="*/ 115803 h 160268"/>
                <a:gd name="connsiteX8" fmla="*/ 100298 w 136563"/>
                <a:gd name="connsiteY8" fmla="*/ 119866 h 160268"/>
                <a:gd name="connsiteX9" fmla="*/ 118636 w 136563"/>
                <a:gd name="connsiteY9" fmla="*/ 160268 h 160268"/>
                <a:gd name="connsiteX10" fmla="*/ 136563 w 136563"/>
                <a:gd name="connsiteY10" fmla="*/ 160268 h 160268"/>
                <a:gd name="connsiteX11" fmla="*/ 68319 w 136563"/>
                <a:gd name="connsiteY11" fmla="*/ 0 h 160268"/>
                <a:gd name="connsiteX12" fmla="*/ 0 w 136563"/>
                <a:gd name="connsiteY12" fmla="*/ 160268 h 160268"/>
                <a:gd name="connsiteX13" fmla="*/ 18002 w 136563"/>
                <a:gd name="connsiteY13" fmla="*/ 160268 h 160268"/>
                <a:gd name="connsiteX14" fmla="*/ 30488 w 136563"/>
                <a:gd name="connsiteY14" fmla="*/ 132426 h 160268"/>
                <a:gd name="connsiteX15" fmla="*/ 106113 w 136563"/>
                <a:gd name="connsiteY15" fmla="*/ 132426 h 160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6563" h="160268">
                  <a:moveTo>
                    <a:pt x="36191" y="119866"/>
                  </a:moveTo>
                  <a:lnTo>
                    <a:pt x="37943" y="115803"/>
                  </a:lnTo>
                  <a:cubicBezTo>
                    <a:pt x="42452" y="105255"/>
                    <a:pt x="47074" y="93776"/>
                    <a:pt x="51696" y="81700"/>
                  </a:cubicBezTo>
                  <a:cubicBezTo>
                    <a:pt x="56318" y="69624"/>
                    <a:pt x="61088" y="57846"/>
                    <a:pt x="65673" y="47223"/>
                  </a:cubicBezTo>
                  <a:lnTo>
                    <a:pt x="68356" y="41036"/>
                  </a:lnTo>
                  <a:lnTo>
                    <a:pt x="71040" y="47261"/>
                  </a:lnTo>
                  <a:cubicBezTo>
                    <a:pt x="75550" y="57883"/>
                    <a:pt x="80171" y="69624"/>
                    <a:pt x="84756" y="81700"/>
                  </a:cubicBezTo>
                  <a:cubicBezTo>
                    <a:pt x="89340" y="93776"/>
                    <a:pt x="93925" y="105255"/>
                    <a:pt x="98546" y="115803"/>
                  </a:cubicBezTo>
                  <a:lnTo>
                    <a:pt x="100298" y="119866"/>
                  </a:lnTo>
                  <a:close/>
                  <a:moveTo>
                    <a:pt x="118636" y="160268"/>
                  </a:moveTo>
                  <a:lnTo>
                    <a:pt x="136563" y="160268"/>
                  </a:lnTo>
                  <a:lnTo>
                    <a:pt x="68319" y="0"/>
                  </a:lnTo>
                  <a:lnTo>
                    <a:pt x="0" y="160268"/>
                  </a:lnTo>
                  <a:lnTo>
                    <a:pt x="18002" y="160268"/>
                  </a:lnTo>
                  <a:lnTo>
                    <a:pt x="30488" y="132426"/>
                  </a:lnTo>
                  <a:lnTo>
                    <a:pt x="106113" y="132426"/>
                  </a:lnTo>
                  <a:close/>
                </a:path>
              </a:pathLst>
            </a:custGeom>
            <a:solidFill>
              <a:srgbClr val="E2E2E3"/>
            </a:solidFill>
            <a:ln w="3718"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80F54DF5-4FB9-4500-B4AA-4A7DDD66D6FF}"/>
                </a:ext>
              </a:extLst>
            </p:cNvPr>
            <p:cNvSpPr/>
            <p:nvPr/>
          </p:nvSpPr>
          <p:spPr>
            <a:xfrm>
              <a:off x="1800505" y="6590487"/>
              <a:ext cx="127208" cy="164070"/>
            </a:xfrm>
            <a:custGeom>
              <a:avLst/>
              <a:gdLst>
                <a:gd name="connsiteX0" fmla="*/ 110436 w 127208"/>
                <a:gd name="connsiteY0" fmla="*/ 119120 h 164070"/>
                <a:gd name="connsiteX1" fmla="*/ 0 w 127208"/>
                <a:gd name="connsiteY1" fmla="*/ 3019 h 164070"/>
                <a:gd name="connsiteX2" fmla="*/ 0 w 127208"/>
                <a:gd name="connsiteY2" fmla="*/ 164070 h 164070"/>
                <a:gd name="connsiteX3" fmla="*/ 16810 w 127208"/>
                <a:gd name="connsiteY3" fmla="*/ 164070 h 164070"/>
                <a:gd name="connsiteX4" fmla="*/ 16810 w 127208"/>
                <a:gd name="connsiteY4" fmla="*/ 44540 h 164070"/>
                <a:gd name="connsiteX5" fmla="*/ 127208 w 127208"/>
                <a:gd name="connsiteY5" fmla="*/ 162244 h 164070"/>
                <a:gd name="connsiteX6" fmla="*/ 127208 w 127208"/>
                <a:gd name="connsiteY6" fmla="*/ 0 h 164070"/>
                <a:gd name="connsiteX7" fmla="*/ 110436 w 127208"/>
                <a:gd name="connsiteY7" fmla="*/ 0 h 164070"/>
                <a:gd name="connsiteX8" fmla="*/ 110436 w 127208"/>
                <a:gd name="connsiteY8" fmla="*/ 119120 h 16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208" h="164070">
                  <a:moveTo>
                    <a:pt x="110436" y="119120"/>
                  </a:moveTo>
                  <a:lnTo>
                    <a:pt x="0" y="3019"/>
                  </a:lnTo>
                  <a:lnTo>
                    <a:pt x="0" y="164070"/>
                  </a:lnTo>
                  <a:lnTo>
                    <a:pt x="16810" y="164070"/>
                  </a:lnTo>
                  <a:lnTo>
                    <a:pt x="16810" y="44540"/>
                  </a:lnTo>
                  <a:lnTo>
                    <a:pt x="127208" y="162244"/>
                  </a:lnTo>
                  <a:lnTo>
                    <a:pt x="127208" y="0"/>
                  </a:lnTo>
                  <a:lnTo>
                    <a:pt x="110436" y="0"/>
                  </a:lnTo>
                  <a:lnTo>
                    <a:pt x="110436" y="119120"/>
                  </a:lnTo>
                  <a:close/>
                </a:path>
              </a:pathLst>
            </a:custGeom>
            <a:solidFill>
              <a:srgbClr val="E2E2E3"/>
            </a:solidFill>
            <a:ln w="3718" cap="flat">
              <a:no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70C89647-3085-4603-9D73-D54D05E99A53}"/>
                </a:ext>
              </a:extLst>
            </p:cNvPr>
            <p:cNvSpPr/>
            <p:nvPr/>
          </p:nvSpPr>
          <p:spPr>
            <a:xfrm>
              <a:off x="1956301" y="6590935"/>
              <a:ext cx="120414" cy="163325"/>
            </a:xfrm>
            <a:custGeom>
              <a:avLst/>
              <a:gdLst>
                <a:gd name="connsiteX0" fmla="*/ 64704 w 120414"/>
                <a:gd name="connsiteY0" fmla="*/ 142080 h 163325"/>
                <a:gd name="connsiteX1" fmla="*/ 38912 w 120414"/>
                <a:gd name="connsiteY1" fmla="*/ 146478 h 163325"/>
                <a:gd name="connsiteX2" fmla="*/ 16549 w 120414"/>
                <a:gd name="connsiteY2" fmla="*/ 146478 h 163325"/>
                <a:gd name="connsiteX3" fmla="*/ 16549 w 120414"/>
                <a:gd name="connsiteY3" fmla="*/ 16474 h 163325"/>
                <a:gd name="connsiteX4" fmla="*/ 38539 w 120414"/>
                <a:gd name="connsiteY4" fmla="*/ 16474 h 163325"/>
                <a:gd name="connsiteX5" fmla="*/ 64629 w 120414"/>
                <a:gd name="connsiteY5" fmla="*/ 20872 h 163325"/>
                <a:gd name="connsiteX6" fmla="*/ 85650 w 120414"/>
                <a:gd name="connsiteY6" fmla="*/ 34476 h 163325"/>
                <a:gd name="connsiteX7" fmla="*/ 99180 w 120414"/>
                <a:gd name="connsiteY7" fmla="*/ 55535 h 163325"/>
                <a:gd name="connsiteX8" fmla="*/ 103578 w 120414"/>
                <a:gd name="connsiteY8" fmla="*/ 81625 h 163325"/>
                <a:gd name="connsiteX9" fmla="*/ 99180 w 120414"/>
                <a:gd name="connsiteY9" fmla="*/ 107715 h 163325"/>
                <a:gd name="connsiteX10" fmla="*/ 85799 w 120414"/>
                <a:gd name="connsiteY10" fmla="*/ 128811 h 163325"/>
                <a:gd name="connsiteX11" fmla="*/ 64815 w 120414"/>
                <a:gd name="connsiteY11" fmla="*/ 142266 h 163325"/>
                <a:gd name="connsiteX12" fmla="*/ 114983 w 120414"/>
                <a:gd name="connsiteY12" fmla="*/ 113492 h 163325"/>
                <a:gd name="connsiteX13" fmla="*/ 114983 w 120414"/>
                <a:gd name="connsiteY13" fmla="*/ 50130 h 163325"/>
                <a:gd name="connsiteX14" fmla="*/ 98845 w 120414"/>
                <a:gd name="connsiteY14" fmla="*/ 24040 h 163325"/>
                <a:gd name="connsiteX15" fmla="*/ 71487 w 120414"/>
                <a:gd name="connsiteY15" fmla="*/ 6187 h 163325"/>
                <a:gd name="connsiteX16" fmla="*/ 43161 w 120414"/>
                <a:gd name="connsiteY16" fmla="*/ 0 h 163325"/>
                <a:gd name="connsiteX17" fmla="*/ 0 w 120414"/>
                <a:gd name="connsiteY17" fmla="*/ 0 h 163325"/>
                <a:gd name="connsiteX18" fmla="*/ 0 w 120414"/>
                <a:gd name="connsiteY18" fmla="*/ 163325 h 163325"/>
                <a:gd name="connsiteX19" fmla="*/ 38688 w 120414"/>
                <a:gd name="connsiteY19" fmla="*/ 163325 h 163325"/>
                <a:gd name="connsiteX20" fmla="*/ 71487 w 120414"/>
                <a:gd name="connsiteY20" fmla="*/ 156989 h 163325"/>
                <a:gd name="connsiteX21" fmla="*/ 98509 w 120414"/>
                <a:gd name="connsiteY21" fmla="*/ 139322 h 163325"/>
                <a:gd name="connsiteX22" fmla="*/ 114760 w 120414"/>
                <a:gd name="connsiteY22" fmla="*/ 113232 h 16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0414" h="163325">
                  <a:moveTo>
                    <a:pt x="64704" y="142080"/>
                  </a:moveTo>
                  <a:cubicBezTo>
                    <a:pt x="56437" y="145074"/>
                    <a:pt x="47704" y="146564"/>
                    <a:pt x="38912" y="146478"/>
                  </a:cubicBezTo>
                  <a:lnTo>
                    <a:pt x="16549" y="146478"/>
                  </a:lnTo>
                  <a:lnTo>
                    <a:pt x="16549" y="16474"/>
                  </a:lnTo>
                  <a:lnTo>
                    <a:pt x="38539" y="16474"/>
                  </a:lnTo>
                  <a:cubicBezTo>
                    <a:pt x="47428" y="16361"/>
                    <a:pt x="56269" y="17850"/>
                    <a:pt x="64629" y="20872"/>
                  </a:cubicBezTo>
                  <a:cubicBezTo>
                    <a:pt x="72486" y="23938"/>
                    <a:pt x="79635" y="28566"/>
                    <a:pt x="85650" y="34476"/>
                  </a:cubicBezTo>
                  <a:cubicBezTo>
                    <a:pt x="91610" y="40450"/>
                    <a:pt x="96224" y="47630"/>
                    <a:pt x="99180" y="55535"/>
                  </a:cubicBezTo>
                  <a:cubicBezTo>
                    <a:pt x="102195" y="63898"/>
                    <a:pt x="103686" y="72735"/>
                    <a:pt x="103578" y="81625"/>
                  </a:cubicBezTo>
                  <a:cubicBezTo>
                    <a:pt x="103690" y="90516"/>
                    <a:pt x="102203" y="99353"/>
                    <a:pt x="99180" y="107715"/>
                  </a:cubicBezTo>
                  <a:cubicBezTo>
                    <a:pt x="96258" y="115613"/>
                    <a:pt x="91700" y="122803"/>
                    <a:pt x="85799" y="128811"/>
                  </a:cubicBezTo>
                  <a:cubicBezTo>
                    <a:pt x="79855" y="134752"/>
                    <a:pt x="72695" y="139342"/>
                    <a:pt x="64815" y="142266"/>
                  </a:cubicBezTo>
                  <a:moveTo>
                    <a:pt x="114983" y="113492"/>
                  </a:moveTo>
                  <a:cubicBezTo>
                    <a:pt x="122225" y="92993"/>
                    <a:pt x="122225" y="70630"/>
                    <a:pt x="114983" y="50130"/>
                  </a:cubicBezTo>
                  <a:cubicBezTo>
                    <a:pt x="111647" y="40324"/>
                    <a:pt x="106131" y="31404"/>
                    <a:pt x="98845" y="24040"/>
                  </a:cubicBezTo>
                  <a:cubicBezTo>
                    <a:pt x="91036" y="16288"/>
                    <a:pt x="81726" y="10213"/>
                    <a:pt x="71487" y="6187"/>
                  </a:cubicBezTo>
                  <a:cubicBezTo>
                    <a:pt x="62456" y="2562"/>
                    <a:pt x="52881" y="471"/>
                    <a:pt x="43161" y="0"/>
                  </a:cubicBezTo>
                  <a:lnTo>
                    <a:pt x="0" y="0"/>
                  </a:lnTo>
                  <a:lnTo>
                    <a:pt x="0" y="163325"/>
                  </a:lnTo>
                  <a:lnTo>
                    <a:pt x="38688" y="163325"/>
                  </a:lnTo>
                  <a:cubicBezTo>
                    <a:pt x="49929" y="163357"/>
                    <a:pt x="61066" y="161205"/>
                    <a:pt x="71487" y="156989"/>
                  </a:cubicBezTo>
                  <a:cubicBezTo>
                    <a:pt x="81618" y="153032"/>
                    <a:pt x="90820" y="147016"/>
                    <a:pt x="98509" y="139322"/>
                  </a:cubicBezTo>
                  <a:cubicBezTo>
                    <a:pt x="105826" y="131963"/>
                    <a:pt x="111383" y="123044"/>
                    <a:pt x="114760" y="113232"/>
                  </a:cubicBezTo>
                </a:path>
              </a:pathLst>
            </a:custGeom>
            <a:solidFill>
              <a:srgbClr val="E2E2E3"/>
            </a:solidFill>
            <a:ln w="3718" cap="flat">
              <a:noFill/>
              <a:prstDash val="solid"/>
              <a:miter/>
            </a:ln>
          </p:spPr>
          <p:txBody>
            <a:bodyPr rtlCol="0" anchor="ctr"/>
            <a:lstStyle/>
            <a:p>
              <a:endParaRPr lang="en-US" dirty="0"/>
            </a:p>
          </p:txBody>
        </p:sp>
        <p:sp>
          <p:nvSpPr>
            <p:cNvPr id="18" name="Freeform: Shape 17">
              <a:extLst>
                <a:ext uri="{FF2B5EF4-FFF2-40B4-BE49-F238E27FC236}">
                  <a16:creationId xmlns:a16="http://schemas.microsoft.com/office/drawing/2014/main" id="{DA6754E7-E27A-4D19-8D37-8DDC40F59170}"/>
                </a:ext>
              </a:extLst>
            </p:cNvPr>
            <p:cNvSpPr/>
            <p:nvPr/>
          </p:nvSpPr>
          <p:spPr>
            <a:xfrm>
              <a:off x="370754" y="6588754"/>
              <a:ext cx="167181" cy="167152"/>
            </a:xfrm>
            <a:custGeom>
              <a:avLst/>
              <a:gdLst>
                <a:gd name="connsiteX0" fmla="*/ 48014 w 167181"/>
                <a:gd name="connsiteY0" fmla="*/ 48062 h 167152"/>
                <a:gd name="connsiteX1" fmla="*/ 118646 w 167181"/>
                <a:gd name="connsiteY1" fmla="*/ 47877 h 167152"/>
                <a:gd name="connsiteX2" fmla="*/ 118830 w 167181"/>
                <a:gd name="connsiteY2" fmla="*/ 48062 h 167152"/>
                <a:gd name="connsiteX3" fmla="*/ 133739 w 167181"/>
                <a:gd name="connsiteY3" fmla="*/ 83544 h 167152"/>
                <a:gd name="connsiteX4" fmla="*/ 118830 w 167181"/>
                <a:gd name="connsiteY4" fmla="*/ 119027 h 167152"/>
                <a:gd name="connsiteX5" fmla="*/ 48014 w 167181"/>
                <a:gd name="connsiteY5" fmla="*/ 119027 h 167152"/>
                <a:gd name="connsiteX6" fmla="*/ 33292 w 167181"/>
                <a:gd name="connsiteY6" fmla="*/ 83507 h 167152"/>
                <a:gd name="connsiteX7" fmla="*/ 48014 w 167181"/>
                <a:gd name="connsiteY7" fmla="*/ 48024 h 167152"/>
                <a:gd name="connsiteX8" fmla="*/ 83460 w 167181"/>
                <a:gd name="connsiteY8" fmla="*/ 167108 h 167152"/>
                <a:gd name="connsiteX9" fmla="*/ 142573 w 167181"/>
                <a:gd name="connsiteY9" fmla="*/ 142806 h 167152"/>
                <a:gd name="connsiteX10" fmla="*/ 167172 w 167181"/>
                <a:gd name="connsiteY10" fmla="*/ 83693 h 167152"/>
                <a:gd name="connsiteX11" fmla="*/ 142573 w 167181"/>
                <a:gd name="connsiteY11" fmla="*/ 24543 h 167152"/>
                <a:gd name="connsiteX12" fmla="*/ 24924 w 167181"/>
                <a:gd name="connsiteY12" fmla="*/ 24189 h 167152"/>
                <a:gd name="connsiteX13" fmla="*/ 24533 w 167181"/>
                <a:gd name="connsiteY13" fmla="*/ 24580 h 167152"/>
                <a:gd name="connsiteX14" fmla="*/ 8 w 167181"/>
                <a:gd name="connsiteY14" fmla="*/ 83731 h 167152"/>
                <a:gd name="connsiteX15" fmla="*/ 24533 w 167181"/>
                <a:gd name="connsiteY15" fmla="*/ 142844 h 167152"/>
                <a:gd name="connsiteX16" fmla="*/ 83609 w 167181"/>
                <a:gd name="connsiteY16" fmla="*/ 167145 h 16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7181" h="167152">
                  <a:moveTo>
                    <a:pt x="48014" y="48062"/>
                  </a:moveTo>
                  <a:cubicBezTo>
                    <a:pt x="67467" y="28506"/>
                    <a:pt x="99090" y="28424"/>
                    <a:pt x="118646" y="47877"/>
                  </a:cubicBezTo>
                  <a:cubicBezTo>
                    <a:pt x="118707" y="47938"/>
                    <a:pt x="118769" y="48000"/>
                    <a:pt x="118830" y="48062"/>
                  </a:cubicBezTo>
                  <a:cubicBezTo>
                    <a:pt x="128486" y="57324"/>
                    <a:pt x="133882" y="70166"/>
                    <a:pt x="133739" y="83544"/>
                  </a:cubicBezTo>
                  <a:cubicBezTo>
                    <a:pt x="133931" y="96933"/>
                    <a:pt x="128527" y="109794"/>
                    <a:pt x="118830" y="119027"/>
                  </a:cubicBezTo>
                  <a:cubicBezTo>
                    <a:pt x="99245" y="138511"/>
                    <a:pt x="67599" y="138511"/>
                    <a:pt x="48014" y="119027"/>
                  </a:cubicBezTo>
                  <a:cubicBezTo>
                    <a:pt x="38418" y="109724"/>
                    <a:pt x="33090" y="96871"/>
                    <a:pt x="33292" y="83507"/>
                  </a:cubicBezTo>
                  <a:cubicBezTo>
                    <a:pt x="33145" y="70165"/>
                    <a:pt x="38464" y="57343"/>
                    <a:pt x="48014" y="48024"/>
                  </a:cubicBezTo>
                  <a:moveTo>
                    <a:pt x="83460" y="167108"/>
                  </a:moveTo>
                  <a:cubicBezTo>
                    <a:pt x="105663" y="167458"/>
                    <a:pt x="127035" y="158672"/>
                    <a:pt x="142573" y="142806"/>
                  </a:cubicBezTo>
                  <a:cubicBezTo>
                    <a:pt x="158615" y="127366"/>
                    <a:pt x="167524" y="105957"/>
                    <a:pt x="167172" y="83693"/>
                  </a:cubicBezTo>
                  <a:cubicBezTo>
                    <a:pt x="167485" y="61427"/>
                    <a:pt x="158583" y="40021"/>
                    <a:pt x="142573" y="24543"/>
                  </a:cubicBezTo>
                  <a:cubicBezTo>
                    <a:pt x="110183" y="-8042"/>
                    <a:pt x="57510" y="-8201"/>
                    <a:pt x="24924" y="24189"/>
                  </a:cubicBezTo>
                  <a:cubicBezTo>
                    <a:pt x="24793" y="24319"/>
                    <a:pt x="24663" y="24450"/>
                    <a:pt x="24533" y="24580"/>
                  </a:cubicBezTo>
                  <a:cubicBezTo>
                    <a:pt x="8591" y="40099"/>
                    <a:pt x="-276" y="61485"/>
                    <a:pt x="8" y="83731"/>
                  </a:cubicBezTo>
                  <a:cubicBezTo>
                    <a:pt x="-310" y="105972"/>
                    <a:pt x="8564" y="127360"/>
                    <a:pt x="24533" y="142844"/>
                  </a:cubicBezTo>
                  <a:cubicBezTo>
                    <a:pt x="40084" y="158666"/>
                    <a:pt x="61426" y="167445"/>
                    <a:pt x="83609" y="167145"/>
                  </a:cubicBezTo>
                </a:path>
              </a:pathLst>
            </a:custGeom>
            <a:solidFill>
              <a:srgbClr val="E2E2E3"/>
            </a:solidFill>
            <a:ln w="3718"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930DEEB8-547B-4549-909B-D22823F6197B}"/>
                </a:ext>
              </a:extLst>
            </p:cNvPr>
            <p:cNvSpPr/>
            <p:nvPr/>
          </p:nvSpPr>
          <p:spPr>
            <a:xfrm>
              <a:off x="552052" y="6589991"/>
              <a:ext cx="121133" cy="164789"/>
            </a:xfrm>
            <a:custGeom>
              <a:avLst/>
              <a:gdLst>
                <a:gd name="connsiteX0" fmla="*/ 33321 w 121133"/>
                <a:gd name="connsiteY0" fmla="*/ 32848 h 164789"/>
                <a:gd name="connsiteX1" fmla="*/ 51957 w 121133"/>
                <a:gd name="connsiteY1" fmla="*/ 32848 h 164789"/>
                <a:gd name="connsiteX2" fmla="*/ 72382 w 121133"/>
                <a:gd name="connsiteY2" fmla="*/ 39371 h 164789"/>
                <a:gd name="connsiteX3" fmla="*/ 78941 w 121133"/>
                <a:gd name="connsiteY3" fmla="*/ 55211 h 164789"/>
                <a:gd name="connsiteX4" fmla="*/ 56914 w 121133"/>
                <a:gd name="connsiteY4" fmla="*/ 78543 h 164789"/>
                <a:gd name="connsiteX5" fmla="*/ 45732 w 121133"/>
                <a:gd name="connsiteY5" fmla="*/ 78543 h 164789"/>
                <a:gd name="connsiteX6" fmla="*/ 45732 w 121133"/>
                <a:gd name="connsiteY6" fmla="*/ 78543 h 164789"/>
                <a:gd name="connsiteX7" fmla="*/ 33321 w 121133"/>
                <a:gd name="connsiteY7" fmla="*/ 78543 h 164789"/>
                <a:gd name="connsiteX8" fmla="*/ 33321 w 121133"/>
                <a:gd name="connsiteY8" fmla="*/ 164790 h 164789"/>
                <a:gd name="connsiteX9" fmla="*/ 33321 w 121133"/>
                <a:gd name="connsiteY9" fmla="*/ 91924 h 164789"/>
                <a:gd name="connsiteX10" fmla="*/ 80656 w 121133"/>
                <a:gd name="connsiteY10" fmla="*/ 164790 h 164789"/>
                <a:gd name="connsiteX11" fmla="*/ 121133 w 121133"/>
                <a:gd name="connsiteY11" fmla="*/ 164790 h 164789"/>
                <a:gd name="connsiteX12" fmla="*/ 82818 w 121133"/>
                <a:gd name="connsiteY12" fmla="*/ 105155 h 164789"/>
                <a:gd name="connsiteX13" fmla="*/ 102423 w 121133"/>
                <a:gd name="connsiteY13" fmla="*/ 89725 h 164789"/>
                <a:gd name="connsiteX14" fmla="*/ 112859 w 121133"/>
                <a:gd name="connsiteY14" fmla="*/ 58342 h 164789"/>
                <a:gd name="connsiteX15" fmla="*/ 112859 w 121133"/>
                <a:gd name="connsiteY15" fmla="*/ 54205 h 164789"/>
                <a:gd name="connsiteX16" fmla="*/ 96906 w 121133"/>
                <a:gd name="connsiteY16" fmla="*/ 16933 h 164789"/>
                <a:gd name="connsiteX17" fmla="*/ 53746 w 121133"/>
                <a:gd name="connsiteY17" fmla="*/ 12 h 164789"/>
                <a:gd name="connsiteX18" fmla="*/ 0 w 121133"/>
                <a:gd name="connsiteY18" fmla="*/ 12 h 164789"/>
                <a:gd name="connsiteX19" fmla="*/ 0 w 121133"/>
                <a:gd name="connsiteY19" fmla="*/ 164790 h 16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133" h="164789">
                  <a:moveTo>
                    <a:pt x="33321" y="32848"/>
                  </a:moveTo>
                  <a:lnTo>
                    <a:pt x="51957" y="32848"/>
                  </a:lnTo>
                  <a:cubicBezTo>
                    <a:pt x="59325" y="32508"/>
                    <a:pt x="66575" y="34822"/>
                    <a:pt x="72382" y="39371"/>
                  </a:cubicBezTo>
                  <a:cubicBezTo>
                    <a:pt x="76586" y="43570"/>
                    <a:pt x="78945" y="49269"/>
                    <a:pt x="78941" y="55211"/>
                  </a:cubicBezTo>
                  <a:cubicBezTo>
                    <a:pt x="79296" y="67735"/>
                    <a:pt x="69437" y="78178"/>
                    <a:pt x="56914" y="78543"/>
                  </a:cubicBezTo>
                  <a:lnTo>
                    <a:pt x="45732" y="78543"/>
                  </a:lnTo>
                  <a:lnTo>
                    <a:pt x="45732" y="78543"/>
                  </a:lnTo>
                  <a:lnTo>
                    <a:pt x="33321" y="78543"/>
                  </a:lnTo>
                  <a:close/>
                  <a:moveTo>
                    <a:pt x="33321" y="164790"/>
                  </a:moveTo>
                  <a:lnTo>
                    <a:pt x="33321" y="91924"/>
                  </a:lnTo>
                  <a:lnTo>
                    <a:pt x="80656" y="164790"/>
                  </a:lnTo>
                  <a:lnTo>
                    <a:pt x="121133" y="164790"/>
                  </a:lnTo>
                  <a:lnTo>
                    <a:pt x="82818" y="105155"/>
                  </a:lnTo>
                  <a:cubicBezTo>
                    <a:pt x="90932" y="102416"/>
                    <a:pt x="97853" y="96968"/>
                    <a:pt x="102423" y="89725"/>
                  </a:cubicBezTo>
                  <a:cubicBezTo>
                    <a:pt x="109132" y="80630"/>
                    <a:pt x="112784" y="69643"/>
                    <a:pt x="112859" y="58342"/>
                  </a:cubicBezTo>
                  <a:lnTo>
                    <a:pt x="112859" y="54205"/>
                  </a:lnTo>
                  <a:cubicBezTo>
                    <a:pt x="112859" y="35979"/>
                    <a:pt x="106933" y="26810"/>
                    <a:pt x="96906" y="16933"/>
                  </a:cubicBezTo>
                  <a:cubicBezTo>
                    <a:pt x="85337" y="5785"/>
                    <a:pt x="69810" y="-303"/>
                    <a:pt x="53746" y="12"/>
                  </a:cubicBezTo>
                  <a:lnTo>
                    <a:pt x="0" y="12"/>
                  </a:lnTo>
                  <a:lnTo>
                    <a:pt x="0" y="164790"/>
                  </a:lnTo>
                  <a:close/>
                </a:path>
              </a:pathLst>
            </a:custGeom>
            <a:solidFill>
              <a:srgbClr val="E2E2E3"/>
            </a:solidFill>
            <a:ln w="3718" cap="flat">
              <a:noFill/>
              <a:prstDash val="solid"/>
              <a:miter/>
            </a:ln>
          </p:spPr>
          <p:txBody>
            <a:bodyPr rtlCol="0" anchor="ctr"/>
            <a:lstStyle/>
            <a:p>
              <a:endParaRPr lang="en-US" dirty="0"/>
            </a:p>
          </p:txBody>
        </p:sp>
        <p:sp>
          <p:nvSpPr>
            <p:cNvPr id="20" name="Freeform: Shape 19">
              <a:extLst>
                <a:ext uri="{FF2B5EF4-FFF2-40B4-BE49-F238E27FC236}">
                  <a16:creationId xmlns:a16="http://schemas.microsoft.com/office/drawing/2014/main" id="{D5F75C27-DDC4-4264-9E37-9038A59DA326}"/>
                </a:ext>
              </a:extLst>
            </p:cNvPr>
            <p:cNvSpPr/>
            <p:nvPr/>
          </p:nvSpPr>
          <p:spPr>
            <a:xfrm>
              <a:off x="681161" y="6590003"/>
              <a:ext cx="114275" cy="164778"/>
            </a:xfrm>
            <a:custGeom>
              <a:avLst/>
              <a:gdLst>
                <a:gd name="connsiteX0" fmla="*/ 40552 w 114275"/>
                <a:gd name="connsiteY0" fmla="*/ 164778 h 164778"/>
                <a:gd name="connsiteX1" fmla="*/ 73798 w 114275"/>
                <a:gd name="connsiteY1" fmla="*/ 164778 h 164778"/>
                <a:gd name="connsiteX2" fmla="*/ 73798 w 114275"/>
                <a:gd name="connsiteY2" fmla="*/ 32836 h 164778"/>
                <a:gd name="connsiteX3" fmla="*/ 114275 w 114275"/>
                <a:gd name="connsiteY3" fmla="*/ 32836 h 164778"/>
                <a:gd name="connsiteX4" fmla="*/ 114275 w 114275"/>
                <a:gd name="connsiteY4" fmla="*/ 0 h 164778"/>
                <a:gd name="connsiteX5" fmla="*/ 0 w 114275"/>
                <a:gd name="connsiteY5" fmla="*/ 0 h 164778"/>
                <a:gd name="connsiteX6" fmla="*/ 0 w 114275"/>
                <a:gd name="connsiteY6" fmla="*/ 32836 h 164778"/>
                <a:gd name="connsiteX7" fmla="*/ 40552 w 114275"/>
                <a:gd name="connsiteY7" fmla="*/ 32836 h 164778"/>
                <a:gd name="connsiteX8" fmla="*/ 40552 w 114275"/>
                <a:gd name="connsiteY8" fmla="*/ 164778 h 16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275" h="164778">
                  <a:moveTo>
                    <a:pt x="40552" y="164778"/>
                  </a:moveTo>
                  <a:lnTo>
                    <a:pt x="73798" y="164778"/>
                  </a:lnTo>
                  <a:lnTo>
                    <a:pt x="73798" y="32836"/>
                  </a:lnTo>
                  <a:lnTo>
                    <a:pt x="114275" y="32836"/>
                  </a:lnTo>
                  <a:lnTo>
                    <a:pt x="114275" y="0"/>
                  </a:lnTo>
                  <a:lnTo>
                    <a:pt x="0" y="0"/>
                  </a:lnTo>
                  <a:lnTo>
                    <a:pt x="0" y="32836"/>
                  </a:lnTo>
                  <a:lnTo>
                    <a:pt x="40552" y="32836"/>
                  </a:lnTo>
                  <a:lnTo>
                    <a:pt x="40552" y="164778"/>
                  </a:lnTo>
                  <a:close/>
                </a:path>
              </a:pathLst>
            </a:custGeom>
            <a:solidFill>
              <a:srgbClr val="E2E2E3"/>
            </a:solidFill>
            <a:ln w="3718"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BB6873C2-45EB-497C-96B4-8E4BB38FE863}"/>
                </a:ext>
              </a:extLst>
            </p:cNvPr>
            <p:cNvSpPr/>
            <p:nvPr/>
          </p:nvSpPr>
          <p:spPr>
            <a:xfrm>
              <a:off x="809749" y="6590003"/>
              <a:ext cx="121095" cy="164778"/>
            </a:xfrm>
            <a:custGeom>
              <a:avLst/>
              <a:gdLst>
                <a:gd name="connsiteX0" fmla="*/ 33023 w 121095"/>
                <a:gd name="connsiteY0" fmla="*/ 98770 h 164778"/>
                <a:gd name="connsiteX1" fmla="*/ 88110 w 121095"/>
                <a:gd name="connsiteY1" fmla="*/ 98770 h 164778"/>
                <a:gd name="connsiteX2" fmla="*/ 88110 w 121095"/>
                <a:gd name="connsiteY2" fmla="*/ 164778 h 164778"/>
                <a:gd name="connsiteX3" fmla="*/ 121096 w 121095"/>
                <a:gd name="connsiteY3" fmla="*/ 164778 h 164778"/>
                <a:gd name="connsiteX4" fmla="*/ 121096 w 121095"/>
                <a:gd name="connsiteY4" fmla="*/ 0 h 164778"/>
                <a:gd name="connsiteX5" fmla="*/ 88110 w 121095"/>
                <a:gd name="connsiteY5" fmla="*/ 0 h 164778"/>
                <a:gd name="connsiteX6" fmla="*/ 88110 w 121095"/>
                <a:gd name="connsiteY6" fmla="*/ 65934 h 164778"/>
                <a:gd name="connsiteX7" fmla="*/ 33023 w 121095"/>
                <a:gd name="connsiteY7" fmla="*/ 65934 h 164778"/>
                <a:gd name="connsiteX8" fmla="*/ 33023 w 121095"/>
                <a:gd name="connsiteY8" fmla="*/ 0 h 164778"/>
                <a:gd name="connsiteX9" fmla="*/ 0 w 121095"/>
                <a:gd name="connsiteY9" fmla="*/ 0 h 164778"/>
                <a:gd name="connsiteX10" fmla="*/ 0 w 121095"/>
                <a:gd name="connsiteY10" fmla="*/ 164778 h 164778"/>
                <a:gd name="connsiteX11" fmla="*/ 33023 w 121095"/>
                <a:gd name="connsiteY11" fmla="*/ 164778 h 164778"/>
                <a:gd name="connsiteX12" fmla="*/ 33023 w 121095"/>
                <a:gd name="connsiteY12" fmla="*/ 98770 h 16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095" h="164778">
                  <a:moveTo>
                    <a:pt x="33023" y="98770"/>
                  </a:moveTo>
                  <a:lnTo>
                    <a:pt x="88110" y="98770"/>
                  </a:lnTo>
                  <a:lnTo>
                    <a:pt x="88110" y="164778"/>
                  </a:lnTo>
                  <a:lnTo>
                    <a:pt x="121096" y="164778"/>
                  </a:lnTo>
                  <a:lnTo>
                    <a:pt x="121096" y="0"/>
                  </a:lnTo>
                  <a:lnTo>
                    <a:pt x="88110" y="0"/>
                  </a:lnTo>
                  <a:lnTo>
                    <a:pt x="88110" y="65934"/>
                  </a:lnTo>
                  <a:lnTo>
                    <a:pt x="33023" y="65934"/>
                  </a:lnTo>
                  <a:lnTo>
                    <a:pt x="33023" y="0"/>
                  </a:lnTo>
                  <a:lnTo>
                    <a:pt x="0" y="0"/>
                  </a:lnTo>
                  <a:lnTo>
                    <a:pt x="0" y="164778"/>
                  </a:lnTo>
                  <a:lnTo>
                    <a:pt x="33023" y="164778"/>
                  </a:lnTo>
                  <a:lnTo>
                    <a:pt x="33023" y="98770"/>
                  </a:lnTo>
                  <a:close/>
                </a:path>
              </a:pathLst>
            </a:custGeom>
            <a:solidFill>
              <a:srgbClr val="E2E2E3"/>
            </a:solidFill>
            <a:ln w="3718"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4D8FD274-5013-41B6-B11A-01B885EDFE1E}"/>
                </a:ext>
              </a:extLst>
            </p:cNvPr>
            <p:cNvSpPr/>
            <p:nvPr/>
          </p:nvSpPr>
          <p:spPr>
            <a:xfrm>
              <a:off x="223838" y="6589593"/>
              <a:ext cx="132463" cy="168580"/>
            </a:xfrm>
            <a:custGeom>
              <a:avLst/>
              <a:gdLst>
                <a:gd name="connsiteX0" fmla="*/ 0 w 132463"/>
                <a:gd name="connsiteY0" fmla="*/ 165412 h 168580"/>
                <a:gd name="connsiteX1" fmla="*/ 33097 w 132463"/>
                <a:gd name="connsiteY1" fmla="*/ 165412 h 168580"/>
                <a:gd name="connsiteX2" fmla="*/ 33097 w 132463"/>
                <a:gd name="connsiteY2" fmla="*/ 73910 h 168580"/>
                <a:gd name="connsiteX3" fmla="*/ 132464 w 132463"/>
                <a:gd name="connsiteY3" fmla="*/ 168580 h 168580"/>
                <a:gd name="connsiteX4" fmla="*/ 132464 w 132463"/>
                <a:gd name="connsiteY4" fmla="*/ 0 h 168580"/>
                <a:gd name="connsiteX5" fmla="*/ 99255 w 132463"/>
                <a:gd name="connsiteY5" fmla="*/ 0 h 168580"/>
                <a:gd name="connsiteX6" fmla="*/ 99255 w 132463"/>
                <a:gd name="connsiteY6" fmla="*/ 91502 h 168580"/>
                <a:gd name="connsiteX7" fmla="*/ 48490 w 132463"/>
                <a:gd name="connsiteY7" fmla="*/ 43161 h 168580"/>
                <a:gd name="connsiteX8" fmla="*/ 0 w 132463"/>
                <a:gd name="connsiteY8" fmla="*/ 91651 h 168580"/>
                <a:gd name="connsiteX9" fmla="*/ 0 w 132463"/>
                <a:gd name="connsiteY9" fmla="*/ 165412 h 16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463" h="168580">
                  <a:moveTo>
                    <a:pt x="0" y="165412"/>
                  </a:moveTo>
                  <a:lnTo>
                    <a:pt x="33097" y="165412"/>
                  </a:lnTo>
                  <a:lnTo>
                    <a:pt x="33097" y="73910"/>
                  </a:lnTo>
                  <a:lnTo>
                    <a:pt x="132464" y="168580"/>
                  </a:lnTo>
                  <a:lnTo>
                    <a:pt x="132464" y="0"/>
                  </a:lnTo>
                  <a:lnTo>
                    <a:pt x="99255" y="0"/>
                  </a:lnTo>
                  <a:lnTo>
                    <a:pt x="99255" y="91502"/>
                  </a:lnTo>
                  <a:lnTo>
                    <a:pt x="48490" y="43161"/>
                  </a:lnTo>
                  <a:lnTo>
                    <a:pt x="0" y="91651"/>
                  </a:lnTo>
                  <a:lnTo>
                    <a:pt x="0" y="165412"/>
                  </a:lnTo>
                  <a:close/>
                </a:path>
              </a:pathLst>
            </a:custGeom>
            <a:solidFill>
              <a:srgbClr val="E2E2E3"/>
            </a:solidFill>
            <a:ln w="3718" cap="flat">
              <a:no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B93FF5B9-FCA1-435D-AD3F-F545F8E6B0CC}"/>
                </a:ext>
              </a:extLst>
            </p:cNvPr>
            <p:cNvSpPr/>
            <p:nvPr/>
          </p:nvSpPr>
          <p:spPr>
            <a:xfrm>
              <a:off x="223838" y="6586537"/>
              <a:ext cx="48490" cy="94707"/>
            </a:xfrm>
            <a:custGeom>
              <a:avLst/>
              <a:gdLst>
                <a:gd name="connsiteX0" fmla="*/ 0 w 48490"/>
                <a:gd name="connsiteY0" fmla="*/ 94707 h 94707"/>
                <a:gd name="connsiteX1" fmla="*/ 48490 w 48490"/>
                <a:gd name="connsiteY1" fmla="*/ 46180 h 94707"/>
                <a:gd name="connsiteX2" fmla="*/ 0 w 48490"/>
                <a:gd name="connsiteY2" fmla="*/ 0 h 94707"/>
                <a:gd name="connsiteX3" fmla="*/ 0 w 48490"/>
                <a:gd name="connsiteY3" fmla="*/ 94707 h 94707"/>
              </a:gdLst>
              <a:ahLst/>
              <a:cxnLst>
                <a:cxn ang="0">
                  <a:pos x="connsiteX0" y="connsiteY0"/>
                </a:cxn>
                <a:cxn ang="0">
                  <a:pos x="connsiteX1" y="connsiteY1"/>
                </a:cxn>
                <a:cxn ang="0">
                  <a:pos x="connsiteX2" y="connsiteY2"/>
                </a:cxn>
                <a:cxn ang="0">
                  <a:pos x="connsiteX3" y="connsiteY3"/>
                </a:cxn>
              </a:cxnLst>
              <a:rect l="l" t="t" r="r" b="b"/>
              <a:pathLst>
                <a:path w="48490" h="94707">
                  <a:moveTo>
                    <a:pt x="0" y="94707"/>
                  </a:moveTo>
                  <a:lnTo>
                    <a:pt x="48490" y="46180"/>
                  </a:lnTo>
                  <a:lnTo>
                    <a:pt x="0" y="0"/>
                  </a:lnTo>
                  <a:lnTo>
                    <a:pt x="0" y="94707"/>
                  </a:lnTo>
                  <a:close/>
                </a:path>
              </a:pathLst>
            </a:custGeom>
            <a:solidFill>
              <a:schemeClr val="accent3"/>
            </a:solidFill>
            <a:ln w="3718"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555308279"/>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Slide - 01B">
    <p:spTree>
      <p:nvGrpSpPr>
        <p:cNvPr id="1" name=""/>
        <p:cNvGrpSpPr/>
        <p:nvPr/>
      </p:nvGrpSpPr>
      <p:grpSpPr>
        <a:xfrm>
          <a:off x="0" y="0"/>
          <a:ext cx="0" cy="0"/>
          <a:chOff x="0" y="0"/>
          <a:chExt cx="0" cy="0"/>
        </a:xfrm>
      </p:grpSpPr>
      <p:sp>
        <p:nvSpPr>
          <p:cNvPr id="12" name="Rectangle 11"/>
          <p:cNvSpPr/>
          <p:nvPr/>
        </p:nvSpPr>
        <p:spPr>
          <a:xfrm>
            <a:off x="1" y="6765821"/>
            <a:ext cx="12192000" cy="73745"/>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6" name="Title 1"/>
          <p:cNvSpPr>
            <a:spLocks noGrp="1"/>
          </p:cNvSpPr>
          <p:nvPr>
            <p:ph type="title"/>
          </p:nvPr>
        </p:nvSpPr>
        <p:spPr>
          <a:xfrm>
            <a:off x="342242" y="194436"/>
            <a:ext cx="11528917" cy="394087"/>
          </a:xfrm>
        </p:spPr>
        <p:txBody>
          <a:bodyPr>
            <a:noAutofit/>
          </a:bodyPr>
          <a:lstStyle>
            <a:lvl1pPr>
              <a:defRPr sz="2585"/>
            </a:lvl1pPr>
          </a:lstStyle>
          <a:p>
            <a:r>
              <a:rPr lang="en-US"/>
              <a:t>Click to edit Master title style</a:t>
            </a:r>
          </a:p>
        </p:txBody>
      </p:sp>
      <p:sp>
        <p:nvSpPr>
          <p:cNvPr id="3" name="Text Placeholder 2"/>
          <p:cNvSpPr>
            <a:spLocks noGrp="1"/>
          </p:cNvSpPr>
          <p:nvPr>
            <p:ph type="body" sz="quarter" idx="14"/>
          </p:nvPr>
        </p:nvSpPr>
        <p:spPr>
          <a:xfrm>
            <a:off x="342243" y="601885"/>
            <a:ext cx="11540737" cy="373062"/>
          </a:xfrm>
        </p:spPr>
        <p:txBody>
          <a:bodyPr/>
          <a:lstStyle>
            <a:lvl1pPr marL="0" indent="0">
              <a:buNone/>
              <a:defRPr>
                <a:solidFill>
                  <a:schemeClr val="tx1">
                    <a:lumMod val="50000"/>
                    <a:lumOff val="50000"/>
                  </a:schemeClr>
                </a:solidFill>
              </a:defRPr>
            </a:lvl1pPr>
            <a:lvl2pPr marL="675278" indent="0">
              <a:buNone/>
              <a:defRPr/>
            </a:lvl2pPr>
            <a:lvl3pPr marL="1181738" indent="0">
              <a:buNone/>
              <a:defRPr/>
            </a:lvl3pPr>
            <a:lvl4pPr marL="1744472" indent="0">
              <a:buNone/>
              <a:defRPr/>
            </a:lvl4pPr>
            <a:lvl5pPr marL="2307205" indent="0">
              <a:buNone/>
              <a:defRPr/>
            </a:lvl5pPr>
          </a:lstStyle>
          <a:p>
            <a:pPr lvl="0"/>
            <a:r>
              <a:rPr lang="en-US"/>
              <a:t>Click to edit Master text styles</a:t>
            </a:r>
          </a:p>
        </p:txBody>
      </p:sp>
      <p:sp>
        <p:nvSpPr>
          <p:cNvPr id="7" name="Content Placeholder 2"/>
          <p:cNvSpPr>
            <a:spLocks noGrp="1"/>
          </p:cNvSpPr>
          <p:nvPr>
            <p:ph idx="13" hasCustomPrompt="1"/>
          </p:nvPr>
        </p:nvSpPr>
        <p:spPr>
          <a:xfrm>
            <a:off x="342242" y="1231903"/>
            <a:ext cx="11528917" cy="4797261"/>
          </a:xfrm>
        </p:spPr>
        <p:txBody>
          <a:bodyPr>
            <a:noAutofit/>
          </a:bodyPr>
          <a:lstStyle>
            <a:lvl1pPr marL="0" indent="0">
              <a:spcAft>
                <a:spcPts val="1231"/>
              </a:spcAft>
              <a:buFontTx/>
              <a:buNone/>
              <a:defRPr sz="1477" b="0">
                <a:solidFill>
                  <a:schemeClr val="tx1"/>
                </a:solidFill>
              </a:defRPr>
            </a:lvl1pPr>
            <a:lvl2pPr marL="0" indent="0">
              <a:buSzPct val="110000"/>
              <a:buFont typeface="Arial"/>
              <a:buNone/>
              <a:defRPr sz="1477"/>
            </a:lvl2pPr>
            <a:lvl3pPr marL="450186" indent="-225092">
              <a:buSzPct val="110000"/>
              <a:buFont typeface="Arial"/>
              <a:buChar char="•"/>
              <a:defRPr sz="1477"/>
            </a:lvl3pPr>
            <a:lvl4pPr marL="900372" indent="-225092">
              <a:buSzPct val="90000"/>
              <a:buFont typeface="Courier New"/>
              <a:buChar char="o"/>
              <a:defRPr sz="1477"/>
            </a:lvl4pPr>
            <a:lvl5pPr marL="1350558" indent="-225092">
              <a:buSzPct val="110000"/>
              <a:buFont typeface="Arial"/>
              <a:buChar char="•"/>
              <a:defRPr sz="14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866204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1_Section Header White">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77C82F6-2F93-495C-B344-1630D7491A3E}"/>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600"/>
              </a:spcAft>
            </a:pPr>
            <a:endParaRPr lang="en-US" sz="2000" dirty="0">
              <a:solidFill>
                <a:schemeClr val="tx1"/>
              </a:solidFill>
            </a:endParaRPr>
          </a:p>
        </p:txBody>
      </p:sp>
      <p:sp>
        <p:nvSpPr>
          <p:cNvPr id="5" name="Slide Number Placeholder 4">
            <a:extLst>
              <a:ext uri="{FF2B5EF4-FFF2-40B4-BE49-F238E27FC236}">
                <a16:creationId xmlns:a16="http://schemas.microsoft.com/office/drawing/2014/main" id="{0904D09A-4AE1-41F7-8585-54F9D1A47C7F}"/>
              </a:ext>
            </a:extLst>
          </p:cNvPr>
          <p:cNvSpPr>
            <a:spLocks noGrp="1"/>
          </p:cNvSpPr>
          <p:nvPr>
            <p:ph type="sldNum" sz="quarter" idx="12"/>
          </p:nvPr>
        </p:nvSpPr>
        <p:spPr/>
        <p:txBody>
          <a:bodyPr/>
          <a:lstStyle/>
          <a:p>
            <a:fld id="{5034EE70-12A8-400F-8E3D-398CDD8B315D}" type="slidenum">
              <a:rPr lang="en-US" smtClean="0"/>
              <a:pPr/>
              <a:t>‹#›</a:t>
            </a:fld>
            <a:endParaRPr lang="en-US" dirty="0"/>
          </a:p>
        </p:txBody>
      </p:sp>
      <p:sp>
        <p:nvSpPr>
          <p:cNvPr id="6" name="TextBox 5">
            <a:extLst>
              <a:ext uri="{FF2B5EF4-FFF2-40B4-BE49-F238E27FC236}">
                <a16:creationId xmlns:a16="http://schemas.microsoft.com/office/drawing/2014/main" id="{C4540448-67A6-4C57-9648-8D2208CD0D9B}"/>
              </a:ext>
            </a:extLst>
          </p:cNvPr>
          <p:cNvSpPr txBox="1"/>
          <p:nvPr userDrawn="1"/>
        </p:nvSpPr>
        <p:spPr>
          <a:xfrm>
            <a:off x="9817769" y="6576218"/>
            <a:ext cx="1771776" cy="171450"/>
          </a:xfrm>
          <a:prstGeom prst="rect">
            <a:avLst/>
          </a:prstGeom>
          <a:noFill/>
        </p:spPr>
        <p:txBody>
          <a:bodyPr wrap="square" rtlCol="0">
            <a:noAutofit/>
          </a:bodyPr>
          <a:lstStyle/>
          <a:p>
            <a:pPr algn="ctr">
              <a:lnSpc>
                <a:spcPct val="90000"/>
              </a:lnSpc>
              <a:spcAft>
                <a:spcPts val="600"/>
              </a:spcAft>
            </a:pPr>
            <a:r>
              <a:rPr lang="en-US" sz="700" cap="all" spc="10" baseline="0" dirty="0"/>
              <a:t>Proprietary and Confidential</a:t>
            </a:r>
          </a:p>
        </p:txBody>
      </p:sp>
      <p:sp>
        <p:nvSpPr>
          <p:cNvPr id="36" name="Freeform: Shape 35">
            <a:extLst>
              <a:ext uri="{FF2B5EF4-FFF2-40B4-BE49-F238E27FC236}">
                <a16:creationId xmlns:a16="http://schemas.microsoft.com/office/drawing/2014/main" id="{839F8D8D-4826-495C-A4D7-B3DB3A43F0F2}"/>
              </a:ext>
            </a:extLst>
          </p:cNvPr>
          <p:cNvSpPr/>
          <p:nvPr userDrawn="1"/>
        </p:nvSpPr>
        <p:spPr>
          <a:xfrm>
            <a:off x="223837" y="223838"/>
            <a:ext cx="11744326" cy="6262686"/>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dirty="0">
              <a:solidFill>
                <a:schemeClr val="tx1"/>
              </a:solidFill>
            </a:endParaRPr>
          </a:p>
        </p:txBody>
      </p:sp>
      <p:sp>
        <p:nvSpPr>
          <p:cNvPr id="47" name="Text Placeholder 11">
            <a:extLst>
              <a:ext uri="{FF2B5EF4-FFF2-40B4-BE49-F238E27FC236}">
                <a16:creationId xmlns:a16="http://schemas.microsoft.com/office/drawing/2014/main" id="{A3331E67-FBC8-4135-BBDF-24300815DCD0}"/>
              </a:ext>
            </a:extLst>
          </p:cNvPr>
          <p:cNvSpPr>
            <a:spLocks noGrp="1"/>
          </p:cNvSpPr>
          <p:nvPr>
            <p:ph type="body" sz="quarter" idx="15" hasCustomPrompt="1"/>
          </p:nvPr>
        </p:nvSpPr>
        <p:spPr>
          <a:xfrm>
            <a:off x="5325600" y="87312"/>
            <a:ext cx="1540800" cy="274637"/>
          </a:xfrm>
          <a:solidFill>
            <a:schemeClr val="bg1"/>
          </a:solidFill>
          <a:ln>
            <a:solidFill>
              <a:schemeClr val="accent1"/>
            </a:solidFill>
          </a:ln>
        </p:spPr>
        <p:txBody>
          <a:bodyPr anchor="ctr"/>
          <a:lstStyle>
            <a:lvl1pPr algn="ctr">
              <a:defRPr sz="1050" b="1" cap="all" baseline="0">
                <a:solidFill>
                  <a:schemeClr val="accent1"/>
                </a:solidFill>
              </a:defRPr>
            </a:lvl1pPr>
          </a:lstStyle>
          <a:p>
            <a:pPr lvl="0"/>
            <a:r>
              <a:rPr lang="en-US"/>
              <a:t>Section XX</a:t>
            </a:r>
          </a:p>
        </p:txBody>
      </p:sp>
      <p:sp>
        <p:nvSpPr>
          <p:cNvPr id="49" name="Text Placeholder 5">
            <a:extLst>
              <a:ext uri="{FF2B5EF4-FFF2-40B4-BE49-F238E27FC236}">
                <a16:creationId xmlns:a16="http://schemas.microsoft.com/office/drawing/2014/main" id="{8E027FC3-BD2D-4918-8CE3-16A44BA9A2A3}"/>
              </a:ext>
            </a:extLst>
          </p:cNvPr>
          <p:cNvSpPr>
            <a:spLocks noGrp="1"/>
          </p:cNvSpPr>
          <p:nvPr>
            <p:ph type="body" sz="quarter" idx="21" hasCustomPrompt="1"/>
          </p:nvPr>
        </p:nvSpPr>
        <p:spPr>
          <a:xfrm>
            <a:off x="3307080" y="1828800"/>
            <a:ext cx="5577840" cy="3200400"/>
          </a:xfrm>
          <a:ln>
            <a:solidFill>
              <a:schemeClr val="tx1"/>
            </a:solidFill>
          </a:ln>
        </p:spPr>
        <p:txBody>
          <a:bodyPr/>
          <a:lstStyle>
            <a:lvl1pPr>
              <a:defRPr/>
            </a:lvl1pPr>
          </a:lstStyle>
          <a:p>
            <a:pPr lvl="0"/>
            <a:r>
              <a:rPr lang="en-US"/>
              <a:t> </a:t>
            </a:r>
          </a:p>
        </p:txBody>
      </p:sp>
      <p:sp>
        <p:nvSpPr>
          <p:cNvPr id="2" name="Title 1">
            <a:extLst>
              <a:ext uri="{FF2B5EF4-FFF2-40B4-BE49-F238E27FC236}">
                <a16:creationId xmlns:a16="http://schemas.microsoft.com/office/drawing/2014/main" id="{844F0621-2390-4957-AD47-60FDBAA34491}"/>
              </a:ext>
            </a:extLst>
          </p:cNvPr>
          <p:cNvSpPr>
            <a:spLocks noGrp="1"/>
          </p:cNvSpPr>
          <p:nvPr>
            <p:ph type="title" hasCustomPrompt="1"/>
          </p:nvPr>
        </p:nvSpPr>
        <p:spPr>
          <a:xfrm>
            <a:off x="3429000" y="2232661"/>
            <a:ext cx="5334000" cy="2392678"/>
          </a:xfrm>
        </p:spPr>
        <p:txBody>
          <a:bodyPr anchor="ctr"/>
          <a:lstStyle>
            <a:lvl1pPr algn="ctr">
              <a:defRPr sz="2800" b="1">
                <a:solidFill>
                  <a:schemeClr val="accent1"/>
                </a:solidFill>
              </a:defRPr>
            </a:lvl1pPr>
          </a:lstStyle>
          <a:p>
            <a:r>
              <a:rPr lang="en-US"/>
              <a:t>Click to insert subsection name</a:t>
            </a:r>
          </a:p>
        </p:txBody>
      </p:sp>
      <p:sp>
        <p:nvSpPr>
          <p:cNvPr id="11" name="Footer Placeholder 4">
            <a:extLst>
              <a:ext uri="{FF2B5EF4-FFF2-40B4-BE49-F238E27FC236}">
                <a16:creationId xmlns:a16="http://schemas.microsoft.com/office/drawing/2014/main" id="{3BE00C29-045C-44F6-8CD7-EE73F674BB69}"/>
              </a:ext>
            </a:extLst>
          </p:cNvPr>
          <p:cNvSpPr>
            <a:spLocks noGrp="1"/>
          </p:cNvSpPr>
          <p:nvPr>
            <p:ph type="ftr" sz="quarter" idx="3"/>
          </p:nvPr>
        </p:nvSpPr>
        <p:spPr>
          <a:xfrm>
            <a:off x="4648200" y="6534150"/>
            <a:ext cx="5169569" cy="263525"/>
          </a:xfrm>
          <a:prstGeom prst="rect">
            <a:avLst/>
          </a:prstGeom>
        </p:spPr>
        <p:txBody>
          <a:bodyPr vert="horz" wrap="square" lIns="91440" tIns="45720" rIns="91440" bIns="45720" rtlCol="0" anchor="ctr">
            <a:noAutofit/>
          </a:bodyPr>
          <a:lstStyle>
            <a:lvl1pPr algn="r">
              <a:lnSpc>
                <a:spcPct val="90000"/>
              </a:lnSpc>
              <a:spcAft>
                <a:spcPts val="600"/>
              </a:spcAft>
              <a:defRPr sz="600">
                <a:solidFill>
                  <a:schemeClr val="tx1"/>
                </a:solidFill>
              </a:defRPr>
            </a:lvl1pPr>
          </a:lstStyle>
          <a:p>
            <a:endParaRPr lang="en-US" sz="600" noProof="0" dirty="0"/>
          </a:p>
        </p:txBody>
      </p:sp>
      <p:pic>
        <p:nvPicPr>
          <p:cNvPr id="10" name="Graphic 9">
            <a:extLst>
              <a:ext uri="{FF2B5EF4-FFF2-40B4-BE49-F238E27FC236}">
                <a16:creationId xmlns:a16="http://schemas.microsoft.com/office/drawing/2014/main" id="{50342B43-072E-4C67-B882-C1422F92C52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3838" y="6586537"/>
            <a:ext cx="1852404" cy="171450"/>
          </a:xfrm>
          <a:prstGeom prst="rect">
            <a:avLst/>
          </a:prstGeom>
        </p:spPr>
      </p:pic>
    </p:spTree>
    <p:extLst>
      <p:ext uri="{BB962C8B-B14F-4D97-AF65-F5344CB8AC3E}">
        <p14:creationId xmlns:p14="http://schemas.microsoft.com/office/powerpoint/2010/main" val="2217797936"/>
      </p:ext>
    </p:extLst>
  </p:cSld>
  <p:clrMapOvr>
    <a:overrideClrMapping bg1="lt1" tx1="dk1" bg2="lt2" tx2="dk2" accent1="accent1" accent2="accent2" accent3="accent3" accent4="accent4" accent5="accent5" accent6="accent6" hlink="hlink" folHlink="folHlink"/>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1_Subsection Divider Blue">
    <p:bg>
      <p:bgPr>
        <a:solidFill>
          <a:schemeClr val="accent1"/>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5023233-F6FC-4927-94AC-4F8681FC8475}"/>
              </a:ext>
            </a:extLst>
          </p:cNvPr>
          <p:cNvSpPr>
            <a:spLocks noGrp="1"/>
          </p:cNvSpPr>
          <p:nvPr>
            <p:ph type="body" sz="quarter" idx="21" hasCustomPrompt="1"/>
          </p:nvPr>
        </p:nvSpPr>
        <p:spPr>
          <a:xfrm>
            <a:off x="2714625" y="1828800"/>
            <a:ext cx="6762750" cy="3200400"/>
          </a:xfrm>
          <a:ln>
            <a:solidFill>
              <a:schemeClr val="tx1"/>
            </a:solidFill>
          </a:ln>
        </p:spPr>
        <p:txBody>
          <a:bodyPr/>
          <a:lstStyle>
            <a:lvl1pPr>
              <a:defRPr/>
            </a:lvl1pPr>
          </a:lstStyle>
          <a:p>
            <a:pPr lvl="0"/>
            <a:r>
              <a:rPr lang="en-US"/>
              <a:t> </a:t>
            </a:r>
          </a:p>
        </p:txBody>
      </p:sp>
      <p:sp>
        <p:nvSpPr>
          <p:cNvPr id="66" name="Text Placeholder 43">
            <a:extLst>
              <a:ext uri="{FF2B5EF4-FFF2-40B4-BE49-F238E27FC236}">
                <a16:creationId xmlns:a16="http://schemas.microsoft.com/office/drawing/2014/main" id="{B71C1A23-9EDF-4C92-98F1-0130A7178B36}"/>
              </a:ext>
            </a:extLst>
          </p:cNvPr>
          <p:cNvSpPr>
            <a:spLocks noGrp="1"/>
          </p:cNvSpPr>
          <p:nvPr>
            <p:ph type="body" sz="quarter" idx="27" hasCustomPrompt="1"/>
          </p:nvPr>
        </p:nvSpPr>
        <p:spPr>
          <a:xfrm>
            <a:off x="2714625" y="1828800"/>
            <a:ext cx="272115" cy="272115"/>
          </a:xfrm>
          <a:custGeom>
            <a:avLst/>
            <a:gdLst>
              <a:gd name="connsiteX0" fmla="*/ 0 w 272115"/>
              <a:gd name="connsiteY0" fmla="*/ 0 h 272115"/>
              <a:gd name="connsiteX1" fmla="*/ 272115 w 272115"/>
              <a:gd name="connsiteY1" fmla="*/ 0 h 272115"/>
              <a:gd name="connsiteX2" fmla="*/ 0 w 272115"/>
              <a:gd name="connsiteY2" fmla="*/ 272115 h 272115"/>
            </a:gdLst>
            <a:ahLst/>
            <a:cxnLst>
              <a:cxn ang="0">
                <a:pos x="connsiteX0" y="connsiteY0"/>
              </a:cxn>
              <a:cxn ang="0">
                <a:pos x="connsiteX1" y="connsiteY1"/>
              </a:cxn>
              <a:cxn ang="0">
                <a:pos x="connsiteX2" y="connsiteY2"/>
              </a:cxn>
            </a:cxnLst>
            <a:rect l="l" t="t" r="r" b="b"/>
            <a:pathLst>
              <a:path w="272115" h="272115">
                <a:moveTo>
                  <a:pt x="0" y="0"/>
                </a:moveTo>
                <a:lnTo>
                  <a:pt x="272115" y="0"/>
                </a:lnTo>
                <a:lnTo>
                  <a:pt x="0" y="272115"/>
                </a:lnTo>
                <a:close/>
              </a:path>
            </a:pathLst>
          </a:custGeom>
          <a:solidFill>
            <a:schemeClr val="tx1"/>
          </a:solidFill>
        </p:spPr>
        <p:txBody>
          <a:bodyPr wrap="square">
            <a:noAutofit/>
          </a:bodyPr>
          <a:lstStyle/>
          <a:p>
            <a:pPr lvl="0"/>
            <a:r>
              <a:rPr lang="en-US"/>
              <a:t> </a:t>
            </a:r>
          </a:p>
        </p:txBody>
      </p:sp>
      <p:sp>
        <p:nvSpPr>
          <p:cNvPr id="2" name="Title 1">
            <a:extLst>
              <a:ext uri="{FF2B5EF4-FFF2-40B4-BE49-F238E27FC236}">
                <a16:creationId xmlns:a16="http://schemas.microsoft.com/office/drawing/2014/main" id="{844F0621-2390-4957-AD47-60FDBAA34491}"/>
              </a:ext>
            </a:extLst>
          </p:cNvPr>
          <p:cNvSpPr>
            <a:spLocks noGrp="1"/>
          </p:cNvSpPr>
          <p:nvPr>
            <p:ph type="title" hasCustomPrompt="1"/>
          </p:nvPr>
        </p:nvSpPr>
        <p:spPr>
          <a:xfrm>
            <a:off x="3028950" y="2232661"/>
            <a:ext cx="6134100" cy="2392678"/>
          </a:xfrm>
        </p:spPr>
        <p:txBody>
          <a:bodyPr anchor="ctr"/>
          <a:lstStyle>
            <a:lvl1pPr algn="ctr">
              <a:defRPr sz="2800" b="1">
                <a:solidFill>
                  <a:schemeClr val="tx1"/>
                </a:solidFill>
              </a:defRPr>
            </a:lvl1pPr>
          </a:lstStyle>
          <a:p>
            <a:r>
              <a:rPr lang="en-US"/>
              <a:t>Click to insert section divider name</a:t>
            </a:r>
          </a:p>
        </p:txBody>
      </p:sp>
      <p:sp>
        <p:nvSpPr>
          <p:cNvPr id="36" name="Slide Number Placeholder 4">
            <a:extLst>
              <a:ext uri="{FF2B5EF4-FFF2-40B4-BE49-F238E27FC236}">
                <a16:creationId xmlns:a16="http://schemas.microsoft.com/office/drawing/2014/main" id="{6A3B74FE-6C78-45C8-B9FA-8391A6052964}"/>
              </a:ext>
            </a:extLst>
          </p:cNvPr>
          <p:cNvSpPr>
            <a:spLocks noGrp="1"/>
          </p:cNvSpPr>
          <p:nvPr>
            <p:ph type="sldNum" sz="quarter" idx="12"/>
          </p:nvPr>
        </p:nvSpPr>
        <p:spPr>
          <a:xfrm>
            <a:off x="11610974" y="6538912"/>
            <a:ext cx="445293" cy="263525"/>
          </a:xfrm>
        </p:spPr>
        <p:txBody>
          <a:bodyPr/>
          <a:lstStyle/>
          <a:p>
            <a:fld id="{5034EE70-12A8-400F-8E3D-398CDD8B315D}" type="slidenum">
              <a:rPr lang="en-US" smtClean="0"/>
              <a:pPr/>
              <a:t>‹#›</a:t>
            </a:fld>
            <a:endParaRPr lang="en-US" dirty="0"/>
          </a:p>
        </p:txBody>
      </p:sp>
      <p:sp>
        <p:nvSpPr>
          <p:cNvPr id="51" name="TextBox 50">
            <a:extLst>
              <a:ext uri="{FF2B5EF4-FFF2-40B4-BE49-F238E27FC236}">
                <a16:creationId xmlns:a16="http://schemas.microsoft.com/office/drawing/2014/main" id="{997F92BE-02E5-4DA2-B742-D335EDD57AF1}"/>
              </a:ext>
            </a:extLst>
          </p:cNvPr>
          <p:cNvSpPr txBox="1"/>
          <p:nvPr userDrawn="1"/>
        </p:nvSpPr>
        <p:spPr>
          <a:xfrm>
            <a:off x="9817769" y="6576218"/>
            <a:ext cx="1771776" cy="171450"/>
          </a:xfrm>
          <a:prstGeom prst="rect">
            <a:avLst/>
          </a:prstGeom>
          <a:noFill/>
        </p:spPr>
        <p:txBody>
          <a:bodyPr wrap="square" rtlCol="0">
            <a:noAutofit/>
          </a:bodyPr>
          <a:lstStyle/>
          <a:p>
            <a:pPr algn="ctr">
              <a:lnSpc>
                <a:spcPct val="90000"/>
              </a:lnSpc>
              <a:spcAft>
                <a:spcPts val="600"/>
              </a:spcAft>
            </a:pPr>
            <a:r>
              <a:rPr lang="en-US" sz="700" cap="all" spc="10" baseline="0" dirty="0"/>
              <a:t>Proprietary and Confidential</a:t>
            </a:r>
          </a:p>
        </p:txBody>
      </p:sp>
      <p:sp>
        <p:nvSpPr>
          <p:cNvPr id="34" name="Freeform: Shape 33">
            <a:extLst>
              <a:ext uri="{FF2B5EF4-FFF2-40B4-BE49-F238E27FC236}">
                <a16:creationId xmlns:a16="http://schemas.microsoft.com/office/drawing/2014/main" id="{54894F10-4F63-4022-B727-4C14FBA0FFBC}"/>
              </a:ext>
            </a:extLst>
          </p:cNvPr>
          <p:cNvSpPr/>
          <p:nvPr userDrawn="1"/>
        </p:nvSpPr>
        <p:spPr>
          <a:xfrm>
            <a:off x="223837" y="223838"/>
            <a:ext cx="11744326" cy="6262686"/>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dirty="0">
              <a:solidFill>
                <a:schemeClr val="tx1"/>
              </a:solidFill>
            </a:endParaRPr>
          </a:p>
        </p:txBody>
      </p:sp>
      <p:sp>
        <p:nvSpPr>
          <p:cNvPr id="24" name="Footer Placeholder 4">
            <a:extLst>
              <a:ext uri="{FF2B5EF4-FFF2-40B4-BE49-F238E27FC236}">
                <a16:creationId xmlns:a16="http://schemas.microsoft.com/office/drawing/2014/main" id="{8BCA1B9F-5EC5-4A42-B0CB-9E69E631AC22}"/>
              </a:ext>
            </a:extLst>
          </p:cNvPr>
          <p:cNvSpPr>
            <a:spLocks noGrp="1"/>
          </p:cNvSpPr>
          <p:nvPr>
            <p:ph type="ftr" sz="quarter" idx="3"/>
          </p:nvPr>
        </p:nvSpPr>
        <p:spPr>
          <a:xfrm>
            <a:off x="4648200" y="6534150"/>
            <a:ext cx="5169569" cy="263525"/>
          </a:xfrm>
          <a:prstGeom prst="rect">
            <a:avLst/>
          </a:prstGeom>
        </p:spPr>
        <p:txBody>
          <a:bodyPr vert="horz" wrap="square" lIns="91440" tIns="45720" rIns="91440" bIns="45720" rtlCol="0" anchor="ctr">
            <a:noAutofit/>
          </a:bodyPr>
          <a:lstStyle>
            <a:lvl1pPr algn="r">
              <a:lnSpc>
                <a:spcPct val="90000"/>
              </a:lnSpc>
              <a:spcAft>
                <a:spcPts val="600"/>
              </a:spcAft>
              <a:defRPr sz="600">
                <a:solidFill>
                  <a:schemeClr val="tx1"/>
                </a:solidFill>
              </a:defRPr>
            </a:lvl1pPr>
          </a:lstStyle>
          <a:p>
            <a:endParaRPr lang="en-US" sz="600" noProof="0" dirty="0"/>
          </a:p>
        </p:txBody>
      </p:sp>
      <p:grpSp>
        <p:nvGrpSpPr>
          <p:cNvPr id="9" name="Graphic 46">
            <a:extLst>
              <a:ext uri="{FF2B5EF4-FFF2-40B4-BE49-F238E27FC236}">
                <a16:creationId xmlns:a16="http://schemas.microsoft.com/office/drawing/2014/main" id="{E2215EBB-1530-48AC-9B9C-9998F024436D}"/>
              </a:ext>
            </a:extLst>
          </p:cNvPr>
          <p:cNvGrpSpPr/>
          <p:nvPr userDrawn="1"/>
        </p:nvGrpSpPr>
        <p:grpSpPr>
          <a:xfrm>
            <a:off x="223838" y="6586537"/>
            <a:ext cx="1852878" cy="171636"/>
            <a:chOff x="223838" y="6586537"/>
            <a:chExt cx="1852878" cy="171636"/>
          </a:xfrm>
          <a:solidFill>
            <a:srgbClr val="E2E2E3"/>
          </a:solidFill>
        </p:grpSpPr>
        <p:sp>
          <p:nvSpPr>
            <p:cNvPr id="10" name="Freeform: Shape 9">
              <a:extLst>
                <a:ext uri="{FF2B5EF4-FFF2-40B4-BE49-F238E27FC236}">
                  <a16:creationId xmlns:a16="http://schemas.microsoft.com/office/drawing/2014/main" id="{25E93A30-018E-45EE-A0D1-A41E57EEFBD2}"/>
                </a:ext>
              </a:extLst>
            </p:cNvPr>
            <p:cNvSpPr/>
            <p:nvPr/>
          </p:nvSpPr>
          <p:spPr>
            <a:xfrm>
              <a:off x="1015600" y="6590823"/>
              <a:ext cx="114610" cy="163250"/>
            </a:xfrm>
            <a:custGeom>
              <a:avLst/>
              <a:gdLst>
                <a:gd name="connsiteX0" fmla="*/ 97913 w 114610"/>
                <a:gd name="connsiteY0" fmla="*/ 163250 h 163250"/>
                <a:gd name="connsiteX1" fmla="*/ 114611 w 114610"/>
                <a:gd name="connsiteY1" fmla="*/ 163250 h 163250"/>
                <a:gd name="connsiteX2" fmla="*/ 114611 w 114610"/>
                <a:gd name="connsiteY2" fmla="*/ 0 h 163250"/>
                <a:gd name="connsiteX3" fmla="*/ 97913 w 114610"/>
                <a:gd name="connsiteY3" fmla="*/ 0 h 163250"/>
                <a:gd name="connsiteX4" fmla="*/ 97913 w 114610"/>
                <a:gd name="connsiteY4" fmla="*/ 73351 h 163250"/>
                <a:gd name="connsiteX5" fmla="*/ 16698 w 114610"/>
                <a:gd name="connsiteY5" fmla="*/ 73351 h 163250"/>
                <a:gd name="connsiteX6" fmla="*/ 16698 w 114610"/>
                <a:gd name="connsiteY6" fmla="*/ 0 h 163250"/>
                <a:gd name="connsiteX7" fmla="*/ 0 w 114610"/>
                <a:gd name="connsiteY7" fmla="*/ 0 h 163250"/>
                <a:gd name="connsiteX8" fmla="*/ 0 w 114610"/>
                <a:gd name="connsiteY8" fmla="*/ 163250 h 163250"/>
                <a:gd name="connsiteX9" fmla="*/ 16698 w 114610"/>
                <a:gd name="connsiteY9" fmla="*/ 163250 h 163250"/>
                <a:gd name="connsiteX10" fmla="*/ 16698 w 114610"/>
                <a:gd name="connsiteY10" fmla="*/ 89937 h 163250"/>
                <a:gd name="connsiteX11" fmla="*/ 97913 w 114610"/>
                <a:gd name="connsiteY11" fmla="*/ 89937 h 163250"/>
                <a:gd name="connsiteX12" fmla="*/ 97913 w 114610"/>
                <a:gd name="connsiteY12" fmla="*/ 16325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610" h="163250">
                  <a:moveTo>
                    <a:pt x="97913" y="163250"/>
                  </a:moveTo>
                  <a:lnTo>
                    <a:pt x="114611" y="163250"/>
                  </a:lnTo>
                  <a:lnTo>
                    <a:pt x="114611" y="0"/>
                  </a:lnTo>
                  <a:lnTo>
                    <a:pt x="97913" y="0"/>
                  </a:lnTo>
                  <a:lnTo>
                    <a:pt x="97913" y="73351"/>
                  </a:lnTo>
                  <a:lnTo>
                    <a:pt x="16698" y="73351"/>
                  </a:lnTo>
                  <a:lnTo>
                    <a:pt x="16698" y="0"/>
                  </a:lnTo>
                  <a:lnTo>
                    <a:pt x="0" y="0"/>
                  </a:lnTo>
                  <a:lnTo>
                    <a:pt x="0" y="163250"/>
                  </a:lnTo>
                  <a:lnTo>
                    <a:pt x="16698" y="163250"/>
                  </a:lnTo>
                  <a:lnTo>
                    <a:pt x="16698" y="89937"/>
                  </a:lnTo>
                  <a:lnTo>
                    <a:pt x="97913" y="89937"/>
                  </a:lnTo>
                  <a:lnTo>
                    <a:pt x="97913" y="163250"/>
                  </a:lnTo>
                  <a:close/>
                </a:path>
              </a:pathLst>
            </a:custGeom>
            <a:solidFill>
              <a:srgbClr val="E2E2E3"/>
            </a:solidFill>
            <a:ln w="3718" cap="flat">
              <a:noFill/>
              <a:prstDash val="solid"/>
              <a:miter/>
            </a:ln>
          </p:spPr>
          <p:txBody>
            <a:bodyPr rtlCol="0" anchor="ctr"/>
            <a:lstStyle/>
            <a:p>
              <a:endParaRPr lang="en-US" dirty="0"/>
            </a:p>
          </p:txBody>
        </p:sp>
        <p:sp>
          <p:nvSpPr>
            <p:cNvPr id="11" name="Freeform: Shape 10">
              <a:extLst>
                <a:ext uri="{FF2B5EF4-FFF2-40B4-BE49-F238E27FC236}">
                  <a16:creationId xmlns:a16="http://schemas.microsoft.com/office/drawing/2014/main" id="{98E8FD69-9E31-45B1-914E-AE0E7BDF24DE}"/>
                </a:ext>
              </a:extLst>
            </p:cNvPr>
            <p:cNvSpPr/>
            <p:nvPr/>
          </p:nvSpPr>
          <p:spPr>
            <a:xfrm>
              <a:off x="1158761" y="6590823"/>
              <a:ext cx="16809" cy="163250"/>
            </a:xfrm>
            <a:custGeom>
              <a:avLst/>
              <a:gdLst>
                <a:gd name="connsiteX0" fmla="*/ 0 w 16809"/>
                <a:gd name="connsiteY0" fmla="*/ 0 h 163250"/>
                <a:gd name="connsiteX1" fmla="*/ 16810 w 16809"/>
                <a:gd name="connsiteY1" fmla="*/ 0 h 163250"/>
                <a:gd name="connsiteX2" fmla="*/ 16810 w 16809"/>
                <a:gd name="connsiteY2" fmla="*/ 163250 h 163250"/>
                <a:gd name="connsiteX3" fmla="*/ 0 w 16809"/>
                <a:gd name="connsiteY3" fmla="*/ 163250 h 163250"/>
              </a:gdLst>
              <a:ahLst/>
              <a:cxnLst>
                <a:cxn ang="0">
                  <a:pos x="connsiteX0" y="connsiteY0"/>
                </a:cxn>
                <a:cxn ang="0">
                  <a:pos x="connsiteX1" y="connsiteY1"/>
                </a:cxn>
                <a:cxn ang="0">
                  <a:pos x="connsiteX2" y="connsiteY2"/>
                </a:cxn>
                <a:cxn ang="0">
                  <a:pos x="connsiteX3" y="connsiteY3"/>
                </a:cxn>
              </a:cxnLst>
              <a:rect l="l" t="t" r="r" b="b"/>
              <a:pathLst>
                <a:path w="16809" h="163250">
                  <a:moveTo>
                    <a:pt x="0" y="0"/>
                  </a:moveTo>
                  <a:lnTo>
                    <a:pt x="16810" y="0"/>
                  </a:lnTo>
                  <a:lnTo>
                    <a:pt x="16810" y="163250"/>
                  </a:lnTo>
                  <a:lnTo>
                    <a:pt x="0" y="163250"/>
                  </a:lnTo>
                  <a:close/>
                </a:path>
              </a:pathLst>
            </a:custGeom>
            <a:solidFill>
              <a:srgbClr val="E2E2E3"/>
            </a:solidFill>
            <a:ln w="3718" cap="flat">
              <a:noFill/>
              <a:prstDash val="solid"/>
              <a:miter/>
            </a:ln>
          </p:spPr>
          <p:txBody>
            <a:bodyPr rtlCol="0" anchor="ctr"/>
            <a:lstStyle/>
            <a:p>
              <a:endParaRPr lang="en-US" dirty="0"/>
            </a:p>
          </p:txBody>
        </p:sp>
        <p:sp>
          <p:nvSpPr>
            <p:cNvPr id="12" name="Freeform: Shape 11">
              <a:extLst>
                <a:ext uri="{FF2B5EF4-FFF2-40B4-BE49-F238E27FC236}">
                  <a16:creationId xmlns:a16="http://schemas.microsoft.com/office/drawing/2014/main" id="{BDF87704-7528-412F-867A-20FD961E1ED7}"/>
                </a:ext>
              </a:extLst>
            </p:cNvPr>
            <p:cNvSpPr/>
            <p:nvPr/>
          </p:nvSpPr>
          <p:spPr>
            <a:xfrm>
              <a:off x="1197184" y="6589704"/>
              <a:ext cx="165642" cy="165862"/>
            </a:xfrm>
            <a:custGeom>
              <a:avLst/>
              <a:gdLst>
                <a:gd name="connsiteX0" fmla="*/ 24343 w 165642"/>
                <a:gd name="connsiteY0" fmla="*/ 141596 h 165862"/>
                <a:gd name="connsiteX1" fmla="*/ 114652 w 165642"/>
                <a:gd name="connsiteY1" fmla="*/ 159859 h 165862"/>
                <a:gd name="connsiteX2" fmla="*/ 141600 w 165642"/>
                <a:gd name="connsiteY2" fmla="*/ 141558 h 165862"/>
                <a:gd name="connsiteX3" fmla="*/ 160869 w 165642"/>
                <a:gd name="connsiteY3" fmla="*/ 110996 h 165862"/>
                <a:gd name="connsiteX4" fmla="*/ 165640 w 165642"/>
                <a:gd name="connsiteY4" fmla="*/ 81514 h 165862"/>
                <a:gd name="connsiteX5" fmla="*/ 91283 w 165642"/>
                <a:gd name="connsiteY5" fmla="*/ 81514 h 165862"/>
                <a:gd name="connsiteX6" fmla="*/ 91283 w 165642"/>
                <a:gd name="connsiteY6" fmla="*/ 96720 h 165862"/>
                <a:gd name="connsiteX7" fmla="*/ 149352 w 165642"/>
                <a:gd name="connsiteY7" fmla="*/ 96720 h 165862"/>
                <a:gd name="connsiteX8" fmla="*/ 142606 w 165642"/>
                <a:gd name="connsiteY8" fmla="*/ 110996 h 165862"/>
                <a:gd name="connsiteX9" fmla="*/ 133623 w 165642"/>
                <a:gd name="connsiteY9" fmla="*/ 124935 h 165862"/>
                <a:gd name="connsiteX10" fmla="*/ 121547 w 165642"/>
                <a:gd name="connsiteY10" fmla="*/ 136415 h 165862"/>
                <a:gd name="connsiteX11" fmla="*/ 103471 w 165642"/>
                <a:gd name="connsiteY11" fmla="*/ 145621 h 165862"/>
                <a:gd name="connsiteX12" fmla="*/ 57962 w 165642"/>
                <a:gd name="connsiteY12" fmla="*/ 143944 h 165862"/>
                <a:gd name="connsiteX13" fmla="*/ 36717 w 165642"/>
                <a:gd name="connsiteY13" fmla="*/ 129445 h 165862"/>
                <a:gd name="connsiteX14" fmla="*/ 22330 w 165642"/>
                <a:gd name="connsiteY14" fmla="*/ 108163 h 165862"/>
                <a:gd name="connsiteX15" fmla="*/ 22330 w 165642"/>
                <a:gd name="connsiteY15" fmla="*/ 57734 h 165862"/>
                <a:gd name="connsiteX16" fmla="*/ 36717 w 165642"/>
                <a:gd name="connsiteY16" fmla="*/ 36452 h 165862"/>
                <a:gd name="connsiteX17" fmla="*/ 58036 w 165642"/>
                <a:gd name="connsiteY17" fmla="*/ 21916 h 165862"/>
                <a:gd name="connsiteX18" fmla="*/ 83232 w 165642"/>
                <a:gd name="connsiteY18" fmla="*/ 17034 h 165862"/>
                <a:gd name="connsiteX19" fmla="*/ 108391 w 165642"/>
                <a:gd name="connsiteY19" fmla="*/ 21916 h 165862"/>
                <a:gd name="connsiteX20" fmla="*/ 122106 w 165642"/>
                <a:gd name="connsiteY20" fmla="*/ 29818 h 165862"/>
                <a:gd name="connsiteX21" fmla="*/ 134145 w 165642"/>
                <a:gd name="connsiteY21" fmla="*/ 17704 h 165862"/>
                <a:gd name="connsiteX22" fmla="*/ 129374 w 165642"/>
                <a:gd name="connsiteY22" fmla="*/ 14275 h 165862"/>
                <a:gd name="connsiteX23" fmla="*/ 114988 w 165642"/>
                <a:gd name="connsiteY23" fmla="*/ 6448 h 165862"/>
                <a:gd name="connsiteX24" fmla="*/ 99520 w 165642"/>
                <a:gd name="connsiteY24" fmla="*/ 1640 h 165862"/>
                <a:gd name="connsiteX25" fmla="*/ 82934 w 165642"/>
                <a:gd name="connsiteY25" fmla="*/ 0 h 165862"/>
                <a:gd name="connsiteX26" fmla="*/ 76001 w 165642"/>
                <a:gd name="connsiteY26" fmla="*/ 0 h 165862"/>
                <a:gd name="connsiteX27" fmla="*/ 51104 w 165642"/>
                <a:gd name="connsiteY27" fmla="*/ 5889 h 165862"/>
                <a:gd name="connsiteX28" fmla="*/ 24306 w 165642"/>
                <a:gd name="connsiteY28" fmla="*/ 24264 h 165862"/>
                <a:gd name="connsiteX29" fmla="*/ 6042 w 165642"/>
                <a:gd name="connsiteY29" fmla="*/ 51137 h 165862"/>
                <a:gd name="connsiteX30" fmla="*/ 4 w 165642"/>
                <a:gd name="connsiteY30" fmla="*/ 83042 h 165862"/>
                <a:gd name="connsiteX31" fmla="*/ 6042 w 165642"/>
                <a:gd name="connsiteY31" fmla="*/ 114909 h 165862"/>
                <a:gd name="connsiteX32" fmla="*/ 24268 w 165642"/>
                <a:gd name="connsiteY32" fmla="*/ 141707 h 16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65642" h="165862">
                  <a:moveTo>
                    <a:pt x="24343" y="141596"/>
                  </a:moveTo>
                  <a:cubicBezTo>
                    <a:pt x="48141" y="165094"/>
                    <a:pt x="83594" y="172264"/>
                    <a:pt x="114652" y="159859"/>
                  </a:cubicBezTo>
                  <a:cubicBezTo>
                    <a:pt x="124719" y="155530"/>
                    <a:pt x="133866" y="149319"/>
                    <a:pt x="141600" y="141558"/>
                  </a:cubicBezTo>
                  <a:cubicBezTo>
                    <a:pt x="150347" y="133035"/>
                    <a:pt x="156948" y="122562"/>
                    <a:pt x="160869" y="110996"/>
                  </a:cubicBezTo>
                  <a:cubicBezTo>
                    <a:pt x="164108" y="101507"/>
                    <a:pt x="165722" y="91539"/>
                    <a:pt x="165640" y="81514"/>
                  </a:cubicBezTo>
                  <a:lnTo>
                    <a:pt x="91283" y="81514"/>
                  </a:lnTo>
                  <a:lnTo>
                    <a:pt x="91283" y="96720"/>
                  </a:lnTo>
                  <a:lnTo>
                    <a:pt x="149352" y="96720"/>
                  </a:lnTo>
                  <a:lnTo>
                    <a:pt x="142606" y="110996"/>
                  </a:lnTo>
                  <a:cubicBezTo>
                    <a:pt x="140217" y="116006"/>
                    <a:pt x="137198" y="120690"/>
                    <a:pt x="133623" y="124935"/>
                  </a:cubicBezTo>
                  <a:cubicBezTo>
                    <a:pt x="130083" y="129240"/>
                    <a:pt x="126027" y="133095"/>
                    <a:pt x="121547" y="136415"/>
                  </a:cubicBezTo>
                  <a:cubicBezTo>
                    <a:pt x="116076" y="140470"/>
                    <a:pt x="109967" y="143582"/>
                    <a:pt x="103471" y="145621"/>
                  </a:cubicBezTo>
                  <a:cubicBezTo>
                    <a:pt x="88569" y="150385"/>
                    <a:pt x="72472" y="149792"/>
                    <a:pt x="57962" y="143944"/>
                  </a:cubicBezTo>
                  <a:cubicBezTo>
                    <a:pt x="49975" y="140595"/>
                    <a:pt x="42748" y="135663"/>
                    <a:pt x="36717" y="129445"/>
                  </a:cubicBezTo>
                  <a:cubicBezTo>
                    <a:pt x="30597" y="123344"/>
                    <a:pt x="25711" y="116117"/>
                    <a:pt x="22330" y="108163"/>
                  </a:cubicBezTo>
                  <a:cubicBezTo>
                    <a:pt x="15819" y="91984"/>
                    <a:pt x="15819" y="73913"/>
                    <a:pt x="22330" y="57734"/>
                  </a:cubicBezTo>
                  <a:cubicBezTo>
                    <a:pt x="25729" y="49791"/>
                    <a:pt x="30612" y="42568"/>
                    <a:pt x="36717" y="36452"/>
                  </a:cubicBezTo>
                  <a:cubicBezTo>
                    <a:pt x="42792" y="30244"/>
                    <a:pt x="50038" y="25303"/>
                    <a:pt x="58036" y="21916"/>
                  </a:cubicBezTo>
                  <a:cubicBezTo>
                    <a:pt x="66013" y="18581"/>
                    <a:pt x="74589" y="16919"/>
                    <a:pt x="83232" y="17034"/>
                  </a:cubicBezTo>
                  <a:cubicBezTo>
                    <a:pt x="91861" y="16956"/>
                    <a:pt x="100418" y="18617"/>
                    <a:pt x="108391" y="21916"/>
                  </a:cubicBezTo>
                  <a:cubicBezTo>
                    <a:pt x="113251" y="24012"/>
                    <a:pt x="117854" y="26664"/>
                    <a:pt x="122106" y="29818"/>
                  </a:cubicBezTo>
                  <a:lnTo>
                    <a:pt x="134145" y="17704"/>
                  </a:lnTo>
                  <a:cubicBezTo>
                    <a:pt x="132356" y="16363"/>
                    <a:pt x="130791" y="15244"/>
                    <a:pt x="129374" y="14275"/>
                  </a:cubicBezTo>
                  <a:cubicBezTo>
                    <a:pt x="124820" y="11246"/>
                    <a:pt x="120004" y="8627"/>
                    <a:pt x="114988" y="6448"/>
                  </a:cubicBezTo>
                  <a:cubicBezTo>
                    <a:pt x="110001" y="4347"/>
                    <a:pt x="104820" y="2737"/>
                    <a:pt x="99520" y="1640"/>
                  </a:cubicBezTo>
                  <a:cubicBezTo>
                    <a:pt x="94060" y="534"/>
                    <a:pt x="88502" y="-15"/>
                    <a:pt x="82934" y="0"/>
                  </a:cubicBezTo>
                  <a:lnTo>
                    <a:pt x="76001" y="0"/>
                  </a:lnTo>
                  <a:cubicBezTo>
                    <a:pt x="67440" y="610"/>
                    <a:pt x="59032" y="2598"/>
                    <a:pt x="51104" y="5889"/>
                  </a:cubicBezTo>
                  <a:cubicBezTo>
                    <a:pt x="41022" y="10138"/>
                    <a:pt x="31902" y="16389"/>
                    <a:pt x="24306" y="24264"/>
                  </a:cubicBezTo>
                  <a:cubicBezTo>
                    <a:pt x="16490" y="31918"/>
                    <a:pt x="10284" y="41054"/>
                    <a:pt x="6042" y="51137"/>
                  </a:cubicBezTo>
                  <a:cubicBezTo>
                    <a:pt x="1965" y="61275"/>
                    <a:pt x="-89" y="72114"/>
                    <a:pt x="4" y="83042"/>
                  </a:cubicBezTo>
                  <a:cubicBezTo>
                    <a:pt x="-107" y="93959"/>
                    <a:pt x="1946" y="104789"/>
                    <a:pt x="6042" y="114909"/>
                  </a:cubicBezTo>
                  <a:cubicBezTo>
                    <a:pt x="10206" y="125003"/>
                    <a:pt x="16411" y="134126"/>
                    <a:pt x="24268" y="141707"/>
                  </a:cubicBezTo>
                </a:path>
              </a:pathLst>
            </a:custGeom>
            <a:solidFill>
              <a:srgbClr val="E2E2E3"/>
            </a:solidFill>
            <a:ln w="3718" cap="flat">
              <a:noFill/>
              <a:prstDash val="solid"/>
              <a:miter/>
            </a:ln>
          </p:spPr>
          <p:txBody>
            <a:bodyPr rtlCol="0" anchor="ctr"/>
            <a:lstStyle/>
            <a:p>
              <a:endParaRPr lang="en-US" dirty="0"/>
            </a:p>
          </p:txBody>
        </p:sp>
        <p:sp>
          <p:nvSpPr>
            <p:cNvPr id="13" name="Freeform: Shape 12">
              <a:extLst>
                <a:ext uri="{FF2B5EF4-FFF2-40B4-BE49-F238E27FC236}">
                  <a16:creationId xmlns:a16="http://schemas.microsoft.com/office/drawing/2014/main" id="{8CCECC49-E958-4A27-8CF6-1032C3A687ED}"/>
                </a:ext>
              </a:extLst>
            </p:cNvPr>
            <p:cNvSpPr/>
            <p:nvPr/>
          </p:nvSpPr>
          <p:spPr>
            <a:xfrm>
              <a:off x="1384590" y="6590823"/>
              <a:ext cx="114573" cy="163250"/>
            </a:xfrm>
            <a:custGeom>
              <a:avLst/>
              <a:gdLst>
                <a:gd name="connsiteX0" fmla="*/ 97876 w 114573"/>
                <a:gd name="connsiteY0" fmla="*/ 163250 h 163250"/>
                <a:gd name="connsiteX1" fmla="*/ 114573 w 114573"/>
                <a:gd name="connsiteY1" fmla="*/ 163250 h 163250"/>
                <a:gd name="connsiteX2" fmla="*/ 114573 w 114573"/>
                <a:gd name="connsiteY2" fmla="*/ 0 h 163250"/>
                <a:gd name="connsiteX3" fmla="*/ 97876 w 114573"/>
                <a:gd name="connsiteY3" fmla="*/ 0 h 163250"/>
                <a:gd name="connsiteX4" fmla="*/ 97876 w 114573"/>
                <a:gd name="connsiteY4" fmla="*/ 73351 h 163250"/>
                <a:gd name="connsiteX5" fmla="*/ 16660 w 114573"/>
                <a:gd name="connsiteY5" fmla="*/ 73351 h 163250"/>
                <a:gd name="connsiteX6" fmla="*/ 16660 w 114573"/>
                <a:gd name="connsiteY6" fmla="*/ 0 h 163250"/>
                <a:gd name="connsiteX7" fmla="*/ 0 w 114573"/>
                <a:gd name="connsiteY7" fmla="*/ 0 h 163250"/>
                <a:gd name="connsiteX8" fmla="*/ 0 w 114573"/>
                <a:gd name="connsiteY8" fmla="*/ 163250 h 163250"/>
                <a:gd name="connsiteX9" fmla="*/ 16660 w 114573"/>
                <a:gd name="connsiteY9" fmla="*/ 163250 h 163250"/>
                <a:gd name="connsiteX10" fmla="*/ 16660 w 114573"/>
                <a:gd name="connsiteY10" fmla="*/ 89937 h 163250"/>
                <a:gd name="connsiteX11" fmla="*/ 97876 w 114573"/>
                <a:gd name="connsiteY11" fmla="*/ 89937 h 163250"/>
                <a:gd name="connsiteX12" fmla="*/ 97876 w 114573"/>
                <a:gd name="connsiteY12" fmla="*/ 16325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573" h="163250">
                  <a:moveTo>
                    <a:pt x="97876" y="163250"/>
                  </a:moveTo>
                  <a:lnTo>
                    <a:pt x="114573" y="163250"/>
                  </a:lnTo>
                  <a:lnTo>
                    <a:pt x="114573" y="0"/>
                  </a:lnTo>
                  <a:lnTo>
                    <a:pt x="97876" y="0"/>
                  </a:lnTo>
                  <a:lnTo>
                    <a:pt x="97876" y="73351"/>
                  </a:lnTo>
                  <a:lnTo>
                    <a:pt x="16660" y="73351"/>
                  </a:lnTo>
                  <a:lnTo>
                    <a:pt x="16660" y="0"/>
                  </a:lnTo>
                  <a:lnTo>
                    <a:pt x="0" y="0"/>
                  </a:lnTo>
                  <a:lnTo>
                    <a:pt x="0" y="163250"/>
                  </a:lnTo>
                  <a:lnTo>
                    <a:pt x="16660" y="163250"/>
                  </a:lnTo>
                  <a:lnTo>
                    <a:pt x="16660" y="89937"/>
                  </a:lnTo>
                  <a:lnTo>
                    <a:pt x="97876" y="89937"/>
                  </a:lnTo>
                  <a:lnTo>
                    <a:pt x="97876" y="163250"/>
                  </a:lnTo>
                  <a:close/>
                </a:path>
              </a:pathLst>
            </a:custGeom>
            <a:solidFill>
              <a:srgbClr val="E2E2E3"/>
            </a:solidFill>
            <a:ln w="3718" cap="flat">
              <a:noFill/>
              <a:prstDash val="solid"/>
              <a:miter/>
            </a:ln>
          </p:spPr>
          <p:txBody>
            <a:bodyPr rtlCol="0" anchor="ctr"/>
            <a:lstStyle/>
            <a:p>
              <a:endParaRPr lang="en-US" dirty="0"/>
            </a:p>
          </p:txBody>
        </p:sp>
        <p:sp>
          <p:nvSpPr>
            <p:cNvPr id="14" name="Freeform: Shape 13">
              <a:extLst>
                <a:ext uri="{FF2B5EF4-FFF2-40B4-BE49-F238E27FC236}">
                  <a16:creationId xmlns:a16="http://schemas.microsoft.com/office/drawing/2014/main" id="{C30B2D49-1DC0-4027-BA21-8F898157673E}"/>
                </a:ext>
              </a:extLst>
            </p:cNvPr>
            <p:cNvSpPr/>
            <p:nvPr/>
          </p:nvSpPr>
          <p:spPr>
            <a:xfrm>
              <a:off x="1527751" y="6590823"/>
              <a:ext cx="90346" cy="163250"/>
            </a:xfrm>
            <a:custGeom>
              <a:avLst/>
              <a:gdLst>
                <a:gd name="connsiteX0" fmla="*/ 16810 w 90346"/>
                <a:gd name="connsiteY0" fmla="*/ 0 h 163250"/>
                <a:gd name="connsiteX1" fmla="*/ 0 w 90346"/>
                <a:gd name="connsiteY1" fmla="*/ 0 h 163250"/>
                <a:gd name="connsiteX2" fmla="*/ 0 w 90346"/>
                <a:gd name="connsiteY2" fmla="*/ 163250 h 163250"/>
                <a:gd name="connsiteX3" fmla="*/ 90347 w 90346"/>
                <a:gd name="connsiteY3" fmla="*/ 163250 h 163250"/>
                <a:gd name="connsiteX4" fmla="*/ 90347 w 90346"/>
                <a:gd name="connsiteY4" fmla="*/ 146813 h 163250"/>
                <a:gd name="connsiteX5" fmla="*/ 16810 w 90346"/>
                <a:gd name="connsiteY5" fmla="*/ 146813 h 163250"/>
                <a:gd name="connsiteX6" fmla="*/ 16810 w 90346"/>
                <a:gd name="connsiteY6" fmla="*/ 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346" h="163250">
                  <a:moveTo>
                    <a:pt x="16810" y="0"/>
                  </a:moveTo>
                  <a:lnTo>
                    <a:pt x="0" y="0"/>
                  </a:lnTo>
                  <a:lnTo>
                    <a:pt x="0" y="163250"/>
                  </a:lnTo>
                  <a:lnTo>
                    <a:pt x="90347" y="163250"/>
                  </a:lnTo>
                  <a:lnTo>
                    <a:pt x="90347" y="146813"/>
                  </a:lnTo>
                  <a:lnTo>
                    <a:pt x="16810" y="146813"/>
                  </a:lnTo>
                  <a:lnTo>
                    <a:pt x="16810" y="0"/>
                  </a:lnTo>
                  <a:close/>
                </a:path>
              </a:pathLst>
            </a:custGeom>
            <a:solidFill>
              <a:srgbClr val="E2E2E3"/>
            </a:solidFill>
            <a:ln w="3718"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B7C3FA0D-20E8-4F5E-80E3-5A67A8D2E9A6}"/>
                </a:ext>
              </a:extLst>
            </p:cNvPr>
            <p:cNvSpPr/>
            <p:nvPr/>
          </p:nvSpPr>
          <p:spPr>
            <a:xfrm>
              <a:off x="1640796" y="6593991"/>
              <a:ext cx="136563" cy="160268"/>
            </a:xfrm>
            <a:custGeom>
              <a:avLst/>
              <a:gdLst>
                <a:gd name="connsiteX0" fmla="*/ 36191 w 136563"/>
                <a:gd name="connsiteY0" fmla="*/ 119866 h 160268"/>
                <a:gd name="connsiteX1" fmla="*/ 37943 w 136563"/>
                <a:gd name="connsiteY1" fmla="*/ 115803 h 160268"/>
                <a:gd name="connsiteX2" fmla="*/ 51696 w 136563"/>
                <a:gd name="connsiteY2" fmla="*/ 81700 h 160268"/>
                <a:gd name="connsiteX3" fmla="*/ 65673 w 136563"/>
                <a:gd name="connsiteY3" fmla="*/ 47223 h 160268"/>
                <a:gd name="connsiteX4" fmla="*/ 68356 w 136563"/>
                <a:gd name="connsiteY4" fmla="*/ 41036 h 160268"/>
                <a:gd name="connsiteX5" fmla="*/ 71040 w 136563"/>
                <a:gd name="connsiteY5" fmla="*/ 47261 h 160268"/>
                <a:gd name="connsiteX6" fmla="*/ 84756 w 136563"/>
                <a:gd name="connsiteY6" fmla="*/ 81700 h 160268"/>
                <a:gd name="connsiteX7" fmla="*/ 98546 w 136563"/>
                <a:gd name="connsiteY7" fmla="*/ 115803 h 160268"/>
                <a:gd name="connsiteX8" fmla="*/ 100298 w 136563"/>
                <a:gd name="connsiteY8" fmla="*/ 119866 h 160268"/>
                <a:gd name="connsiteX9" fmla="*/ 118636 w 136563"/>
                <a:gd name="connsiteY9" fmla="*/ 160268 h 160268"/>
                <a:gd name="connsiteX10" fmla="*/ 136563 w 136563"/>
                <a:gd name="connsiteY10" fmla="*/ 160268 h 160268"/>
                <a:gd name="connsiteX11" fmla="*/ 68319 w 136563"/>
                <a:gd name="connsiteY11" fmla="*/ 0 h 160268"/>
                <a:gd name="connsiteX12" fmla="*/ 0 w 136563"/>
                <a:gd name="connsiteY12" fmla="*/ 160268 h 160268"/>
                <a:gd name="connsiteX13" fmla="*/ 18002 w 136563"/>
                <a:gd name="connsiteY13" fmla="*/ 160268 h 160268"/>
                <a:gd name="connsiteX14" fmla="*/ 30488 w 136563"/>
                <a:gd name="connsiteY14" fmla="*/ 132426 h 160268"/>
                <a:gd name="connsiteX15" fmla="*/ 106113 w 136563"/>
                <a:gd name="connsiteY15" fmla="*/ 132426 h 160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6563" h="160268">
                  <a:moveTo>
                    <a:pt x="36191" y="119866"/>
                  </a:moveTo>
                  <a:lnTo>
                    <a:pt x="37943" y="115803"/>
                  </a:lnTo>
                  <a:cubicBezTo>
                    <a:pt x="42452" y="105255"/>
                    <a:pt x="47074" y="93776"/>
                    <a:pt x="51696" y="81700"/>
                  </a:cubicBezTo>
                  <a:cubicBezTo>
                    <a:pt x="56318" y="69624"/>
                    <a:pt x="61088" y="57846"/>
                    <a:pt x="65673" y="47223"/>
                  </a:cubicBezTo>
                  <a:lnTo>
                    <a:pt x="68356" y="41036"/>
                  </a:lnTo>
                  <a:lnTo>
                    <a:pt x="71040" y="47261"/>
                  </a:lnTo>
                  <a:cubicBezTo>
                    <a:pt x="75550" y="57883"/>
                    <a:pt x="80171" y="69624"/>
                    <a:pt x="84756" y="81700"/>
                  </a:cubicBezTo>
                  <a:cubicBezTo>
                    <a:pt x="89340" y="93776"/>
                    <a:pt x="93925" y="105255"/>
                    <a:pt x="98546" y="115803"/>
                  </a:cubicBezTo>
                  <a:lnTo>
                    <a:pt x="100298" y="119866"/>
                  </a:lnTo>
                  <a:close/>
                  <a:moveTo>
                    <a:pt x="118636" y="160268"/>
                  </a:moveTo>
                  <a:lnTo>
                    <a:pt x="136563" y="160268"/>
                  </a:lnTo>
                  <a:lnTo>
                    <a:pt x="68319" y="0"/>
                  </a:lnTo>
                  <a:lnTo>
                    <a:pt x="0" y="160268"/>
                  </a:lnTo>
                  <a:lnTo>
                    <a:pt x="18002" y="160268"/>
                  </a:lnTo>
                  <a:lnTo>
                    <a:pt x="30488" y="132426"/>
                  </a:lnTo>
                  <a:lnTo>
                    <a:pt x="106113" y="132426"/>
                  </a:lnTo>
                  <a:close/>
                </a:path>
              </a:pathLst>
            </a:custGeom>
            <a:solidFill>
              <a:srgbClr val="E2E2E3"/>
            </a:solidFill>
            <a:ln w="3718"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B1F4CC2F-9C7C-4A87-9B99-431500C43EF3}"/>
                </a:ext>
              </a:extLst>
            </p:cNvPr>
            <p:cNvSpPr/>
            <p:nvPr/>
          </p:nvSpPr>
          <p:spPr>
            <a:xfrm>
              <a:off x="1800505" y="6590487"/>
              <a:ext cx="127208" cy="164070"/>
            </a:xfrm>
            <a:custGeom>
              <a:avLst/>
              <a:gdLst>
                <a:gd name="connsiteX0" fmla="*/ 110436 w 127208"/>
                <a:gd name="connsiteY0" fmla="*/ 119120 h 164070"/>
                <a:gd name="connsiteX1" fmla="*/ 0 w 127208"/>
                <a:gd name="connsiteY1" fmla="*/ 3019 h 164070"/>
                <a:gd name="connsiteX2" fmla="*/ 0 w 127208"/>
                <a:gd name="connsiteY2" fmla="*/ 164070 h 164070"/>
                <a:gd name="connsiteX3" fmla="*/ 16810 w 127208"/>
                <a:gd name="connsiteY3" fmla="*/ 164070 h 164070"/>
                <a:gd name="connsiteX4" fmla="*/ 16810 w 127208"/>
                <a:gd name="connsiteY4" fmla="*/ 44540 h 164070"/>
                <a:gd name="connsiteX5" fmla="*/ 127208 w 127208"/>
                <a:gd name="connsiteY5" fmla="*/ 162244 h 164070"/>
                <a:gd name="connsiteX6" fmla="*/ 127208 w 127208"/>
                <a:gd name="connsiteY6" fmla="*/ 0 h 164070"/>
                <a:gd name="connsiteX7" fmla="*/ 110436 w 127208"/>
                <a:gd name="connsiteY7" fmla="*/ 0 h 164070"/>
                <a:gd name="connsiteX8" fmla="*/ 110436 w 127208"/>
                <a:gd name="connsiteY8" fmla="*/ 119120 h 16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208" h="164070">
                  <a:moveTo>
                    <a:pt x="110436" y="119120"/>
                  </a:moveTo>
                  <a:lnTo>
                    <a:pt x="0" y="3019"/>
                  </a:lnTo>
                  <a:lnTo>
                    <a:pt x="0" y="164070"/>
                  </a:lnTo>
                  <a:lnTo>
                    <a:pt x="16810" y="164070"/>
                  </a:lnTo>
                  <a:lnTo>
                    <a:pt x="16810" y="44540"/>
                  </a:lnTo>
                  <a:lnTo>
                    <a:pt x="127208" y="162244"/>
                  </a:lnTo>
                  <a:lnTo>
                    <a:pt x="127208" y="0"/>
                  </a:lnTo>
                  <a:lnTo>
                    <a:pt x="110436" y="0"/>
                  </a:lnTo>
                  <a:lnTo>
                    <a:pt x="110436" y="119120"/>
                  </a:lnTo>
                  <a:close/>
                </a:path>
              </a:pathLst>
            </a:custGeom>
            <a:solidFill>
              <a:srgbClr val="E2E2E3"/>
            </a:solidFill>
            <a:ln w="3718" cap="flat">
              <a:no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98EAC49B-B06C-4507-9347-2924B22E8BA2}"/>
                </a:ext>
              </a:extLst>
            </p:cNvPr>
            <p:cNvSpPr/>
            <p:nvPr/>
          </p:nvSpPr>
          <p:spPr>
            <a:xfrm>
              <a:off x="1956301" y="6590935"/>
              <a:ext cx="120414" cy="163325"/>
            </a:xfrm>
            <a:custGeom>
              <a:avLst/>
              <a:gdLst>
                <a:gd name="connsiteX0" fmla="*/ 64704 w 120414"/>
                <a:gd name="connsiteY0" fmla="*/ 142080 h 163325"/>
                <a:gd name="connsiteX1" fmla="*/ 38912 w 120414"/>
                <a:gd name="connsiteY1" fmla="*/ 146478 h 163325"/>
                <a:gd name="connsiteX2" fmla="*/ 16549 w 120414"/>
                <a:gd name="connsiteY2" fmla="*/ 146478 h 163325"/>
                <a:gd name="connsiteX3" fmla="*/ 16549 w 120414"/>
                <a:gd name="connsiteY3" fmla="*/ 16474 h 163325"/>
                <a:gd name="connsiteX4" fmla="*/ 38539 w 120414"/>
                <a:gd name="connsiteY4" fmla="*/ 16474 h 163325"/>
                <a:gd name="connsiteX5" fmla="*/ 64629 w 120414"/>
                <a:gd name="connsiteY5" fmla="*/ 20872 h 163325"/>
                <a:gd name="connsiteX6" fmla="*/ 85650 w 120414"/>
                <a:gd name="connsiteY6" fmla="*/ 34476 h 163325"/>
                <a:gd name="connsiteX7" fmla="*/ 99180 w 120414"/>
                <a:gd name="connsiteY7" fmla="*/ 55535 h 163325"/>
                <a:gd name="connsiteX8" fmla="*/ 103578 w 120414"/>
                <a:gd name="connsiteY8" fmla="*/ 81625 h 163325"/>
                <a:gd name="connsiteX9" fmla="*/ 99180 w 120414"/>
                <a:gd name="connsiteY9" fmla="*/ 107715 h 163325"/>
                <a:gd name="connsiteX10" fmla="*/ 85799 w 120414"/>
                <a:gd name="connsiteY10" fmla="*/ 128811 h 163325"/>
                <a:gd name="connsiteX11" fmla="*/ 64815 w 120414"/>
                <a:gd name="connsiteY11" fmla="*/ 142266 h 163325"/>
                <a:gd name="connsiteX12" fmla="*/ 114983 w 120414"/>
                <a:gd name="connsiteY12" fmla="*/ 113492 h 163325"/>
                <a:gd name="connsiteX13" fmla="*/ 114983 w 120414"/>
                <a:gd name="connsiteY13" fmla="*/ 50130 h 163325"/>
                <a:gd name="connsiteX14" fmla="*/ 98845 w 120414"/>
                <a:gd name="connsiteY14" fmla="*/ 24040 h 163325"/>
                <a:gd name="connsiteX15" fmla="*/ 71487 w 120414"/>
                <a:gd name="connsiteY15" fmla="*/ 6187 h 163325"/>
                <a:gd name="connsiteX16" fmla="*/ 43161 w 120414"/>
                <a:gd name="connsiteY16" fmla="*/ 0 h 163325"/>
                <a:gd name="connsiteX17" fmla="*/ 0 w 120414"/>
                <a:gd name="connsiteY17" fmla="*/ 0 h 163325"/>
                <a:gd name="connsiteX18" fmla="*/ 0 w 120414"/>
                <a:gd name="connsiteY18" fmla="*/ 163325 h 163325"/>
                <a:gd name="connsiteX19" fmla="*/ 38688 w 120414"/>
                <a:gd name="connsiteY19" fmla="*/ 163325 h 163325"/>
                <a:gd name="connsiteX20" fmla="*/ 71487 w 120414"/>
                <a:gd name="connsiteY20" fmla="*/ 156989 h 163325"/>
                <a:gd name="connsiteX21" fmla="*/ 98509 w 120414"/>
                <a:gd name="connsiteY21" fmla="*/ 139322 h 163325"/>
                <a:gd name="connsiteX22" fmla="*/ 114760 w 120414"/>
                <a:gd name="connsiteY22" fmla="*/ 113232 h 16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0414" h="163325">
                  <a:moveTo>
                    <a:pt x="64704" y="142080"/>
                  </a:moveTo>
                  <a:cubicBezTo>
                    <a:pt x="56437" y="145074"/>
                    <a:pt x="47704" y="146564"/>
                    <a:pt x="38912" y="146478"/>
                  </a:cubicBezTo>
                  <a:lnTo>
                    <a:pt x="16549" y="146478"/>
                  </a:lnTo>
                  <a:lnTo>
                    <a:pt x="16549" y="16474"/>
                  </a:lnTo>
                  <a:lnTo>
                    <a:pt x="38539" y="16474"/>
                  </a:lnTo>
                  <a:cubicBezTo>
                    <a:pt x="47428" y="16361"/>
                    <a:pt x="56269" y="17850"/>
                    <a:pt x="64629" y="20872"/>
                  </a:cubicBezTo>
                  <a:cubicBezTo>
                    <a:pt x="72486" y="23938"/>
                    <a:pt x="79635" y="28566"/>
                    <a:pt x="85650" y="34476"/>
                  </a:cubicBezTo>
                  <a:cubicBezTo>
                    <a:pt x="91610" y="40450"/>
                    <a:pt x="96224" y="47630"/>
                    <a:pt x="99180" y="55535"/>
                  </a:cubicBezTo>
                  <a:cubicBezTo>
                    <a:pt x="102195" y="63898"/>
                    <a:pt x="103686" y="72735"/>
                    <a:pt x="103578" y="81625"/>
                  </a:cubicBezTo>
                  <a:cubicBezTo>
                    <a:pt x="103690" y="90516"/>
                    <a:pt x="102203" y="99353"/>
                    <a:pt x="99180" y="107715"/>
                  </a:cubicBezTo>
                  <a:cubicBezTo>
                    <a:pt x="96258" y="115613"/>
                    <a:pt x="91700" y="122803"/>
                    <a:pt x="85799" y="128811"/>
                  </a:cubicBezTo>
                  <a:cubicBezTo>
                    <a:pt x="79855" y="134752"/>
                    <a:pt x="72695" y="139342"/>
                    <a:pt x="64815" y="142266"/>
                  </a:cubicBezTo>
                  <a:moveTo>
                    <a:pt x="114983" y="113492"/>
                  </a:moveTo>
                  <a:cubicBezTo>
                    <a:pt x="122225" y="92993"/>
                    <a:pt x="122225" y="70630"/>
                    <a:pt x="114983" y="50130"/>
                  </a:cubicBezTo>
                  <a:cubicBezTo>
                    <a:pt x="111647" y="40324"/>
                    <a:pt x="106131" y="31404"/>
                    <a:pt x="98845" y="24040"/>
                  </a:cubicBezTo>
                  <a:cubicBezTo>
                    <a:pt x="91036" y="16288"/>
                    <a:pt x="81726" y="10213"/>
                    <a:pt x="71487" y="6187"/>
                  </a:cubicBezTo>
                  <a:cubicBezTo>
                    <a:pt x="62456" y="2562"/>
                    <a:pt x="52881" y="471"/>
                    <a:pt x="43161" y="0"/>
                  </a:cubicBezTo>
                  <a:lnTo>
                    <a:pt x="0" y="0"/>
                  </a:lnTo>
                  <a:lnTo>
                    <a:pt x="0" y="163325"/>
                  </a:lnTo>
                  <a:lnTo>
                    <a:pt x="38688" y="163325"/>
                  </a:lnTo>
                  <a:cubicBezTo>
                    <a:pt x="49929" y="163357"/>
                    <a:pt x="61066" y="161205"/>
                    <a:pt x="71487" y="156989"/>
                  </a:cubicBezTo>
                  <a:cubicBezTo>
                    <a:pt x="81618" y="153032"/>
                    <a:pt x="90820" y="147016"/>
                    <a:pt x="98509" y="139322"/>
                  </a:cubicBezTo>
                  <a:cubicBezTo>
                    <a:pt x="105826" y="131963"/>
                    <a:pt x="111383" y="123044"/>
                    <a:pt x="114760" y="113232"/>
                  </a:cubicBezTo>
                </a:path>
              </a:pathLst>
            </a:custGeom>
            <a:solidFill>
              <a:srgbClr val="E2E2E3"/>
            </a:solidFill>
            <a:ln w="3718" cap="flat">
              <a:noFill/>
              <a:prstDash val="solid"/>
              <a:miter/>
            </a:ln>
          </p:spPr>
          <p:txBody>
            <a:bodyPr rtlCol="0" anchor="ctr"/>
            <a:lstStyle/>
            <a:p>
              <a:endParaRPr lang="en-US" dirty="0"/>
            </a:p>
          </p:txBody>
        </p:sp>
        <p:sp>
          <p:nvSpPr>
            <p:cNvPr id="18" name="Freeform: Shape 17">
              <a:extLst>
                <a:ext uri="{FF2B5EF4-FFF2-40B4-BE49-F238E27FC236}">
                  <a16:creationId xmlns:a16="http://schemas.microsoft.com/office/drawing/2014/main" id="{8308E426-5DF1-4A62-8A7C-8417F3510962}"/>
                </a:ext>
              </a:extLst>
            </p:cNvPr>
            <p:cNvSpPr/>
            <p:nvPr/>
          </p:nvSpPr>
          <p:spPr>
            <a:xfrm>
              <a:off x="370754" y="6588754"/>
              <a:ext cx="167181" cy="167152"/>
            </a:xfrm>
            <a:custGeom>
              <a:avLst/>
              <a:gdLst>
                <a:gd name="connsiteX0" fmla="*/ 48014 w 167181"/>
                <a:gd name="connsiteY0" fmla="*/ 48062 h 167152"/>
                <a:gd name="connsiteX1" fmla="*/ 118646 w 167181"/>
                <a:gd name="connsiteY1" fmla="*/ 47877 h 167152"/>
                <a:gd name="connsiteX2" fmla="*/ 118830 w 167181"/>
                <a:gd name="connsiteY2" fmla="*/ 48062 h 167152"/>
                <a:gd name="connsiteX3" fmla="*/ 133739 w 167181"/>
                <a:gd name="connsiteY3" fmla="*/ 83544 h 167152"/>
                <a:gd name="connsiteX4" fmla="*/ 118830 w 167181"/>
                <a:gd name="connsiteY4" fmla="*/ 119027 h 167152"/>
                <a:gd name="connsiteX5" fmla="*/ 48014 w 167181"/>
                <a:gd name="connsiteY5" fmla="*/ 119027 h 167152"/>
                <a:gd name="connsiteX6" fmla="*/ 33292 w 167181"/>
                <a:gd name="connsiteY6" fmla="*/ 83507 h 167152"/>
                <a:gd name="connsiteX7" fmla="*/ 48014 w 167181"/>
                <a:gd name="connsiteY7" fmla="*/ 48024 h 167152"/>
                <a:gd name="connsiteX8" fmla="*/ 83460 w 167181"/>
                <a:gd name="connsiteY8" fmla="*/ 167108 h 167152"/>
                <a:gd name="connsiteX9" fmla="*/ 142573 w 167181"/>
                <a:gd name="connsiteY9" fmla="*/ 142806 h 167152"/>
                <a:gd name="connsiteX10" fmla="*/ 167172 w 167181"/>
                <a:gd name="connsiteY10" fmla="*/ 83693 h 167152"/>
                <a:gd name="connsiteX11" fmla="*/ 142573 w 167181"/>
                <a:gd name="connsiteY11" fmla="*/ 24543 h 167152"/>
                <a:gd name="connsiteX12" fmla="*/ 24924 w 167181"/>
                <a:gd name="connsiteY12" fmla="*/ 24189 h 167152"/>
                <a:gd name="connsiteX13" fmla="*/ 24533 w 167181"/>
                <a:gd name="connsiteY13" fmla="*/ 24580 h 167152"/>
                <a:gd name="connsiteX14" fmla="*/ 8 w 167181"/>
                <a:gd name="connsiteY14" fmla="*/ 83731 h 167152"/>
                <a:gd name="connsiteX15" fmla="*/ 24533 w 167181"/>
                <a:gd name="connsiteY15" fmla="*/ 142844 h 167152"/>
                <a:gd name="connsiteX16" fmla="*/ 83609 w 167181"/>
                <a:gd name="connsiteY16" fmla="*/ 167145 h 16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7181" h="167152">
                  <a:moveTo>
                    <a:pt x="48014" y="48062"/>
                  </a:moveTo>
                  <a:cubicBezTo>
                    <a:pt x="67467" y="28506"/>
                    <a:pt x="99090" y="28424"/>
                    <a:pt x="118646" y="47877"/>
                  </a:cubicBezTo>
                  <a:cubicBezTo>
                    <a:pt x="118707" y="47938"/>
                    <a:pt x="118769" y="48000"/>
                    <a:pt x="118830" y="48062"/>
                  </a:cubicBezTo>
                  <a:cubicBezTo>
                    <a:pt x="128486" y="57324"/>
                    <a:pt x="133882" y="70166"/>
                    <a:pt x="133739" y="83544"/>
                  </a:cubicBezTo>
                  <a:cubicBezTo>
                    <a:pt x="133931" y="96933"/>
                    <a:pt x="128527" y="109794"/>
                    <a:pt x="118830" y="119027"/>
                  </a:cubicBezTo>
                  <a:cubicBezTo>
                    <a:pt x="99245" y="138511"/>
                    <a:pt x="67599" y="138511"/>
                    <a:pt x="48014" y="119027"/>
                  </a:cubicBezTo>
                  <a:cubicBezTo>
                    <a:pt x="38418" y="109724"/>
                    <a:pt x="33090" y="96871"/>
                    <a:pt x="33292" y="83507"/>
                  </a:cubicBezTo>
                  <a:cubicBezTo>
                    <a:pt x="33145" y="70165"/>
                    <a:pt x="38464" y="57343"/>
                    <a:pt x="48014" y="48024"/>
                  </a:cubicBezTo>
                  <a:moveTo>
                    <a:pt x="83460" y="167108"/>
                  </a:moveTo>
                  <a:cubicBezTo>
                    <a:pt x="105663" y="167458"/>
                    <a:pt x="127035" y="158672"/>
                    <a:pt x="142573" y="142806"/>
                  </a:cubicBezTo>
                  <a:cubicBezTo>
                    <a:pt x="158615" y="127366"/>
                    <a:pt x="167524" y="105957"/>
                    <a:pt x="167172" y="83693"/>
                  </a:cubicBezTo>
                  <a:cubicBezTo>
                    <a:pt x="167485" y="61427"/>
                    <a:pt x="158583" y="40021"/>
                    <a:pt x="142573" y="24543"/>
                  </a:cubicBezTo>
                  <a:cubicBezTo>
                    <a:pt x="110183" y="-8042"/>
                    <a:pt x="57510" y="-8201"/>
                    <a:pt x="24924" y="24189"/>
                  </a:cubicBezTo>
                  <a:cubicBezTo>
                    <a:pt x="24793" y="24319"/>
                    <a:pt x="24663" y="24450"/>
                    <a:pt x="24533" y="24580"/>
                  </a:cubicBezTo>
                  <a:cubicBezTo>
                    <a:pt x="8591" y="40099"/>
                    <a:pt x="-276" y="61485"/>
                    <a:pt x="8" y="83731"/>
                  </a:cubicBezTo>
                  <a:cubicBezTo>
                    <a:pt x="-310" y="105972"/>
                    <a:pt x="8564" y="127360"/>
                    <a:pt x="24533" y="142844"/>
                  </a:cubicBezTo>
                  <a:cubicBezTo>
                    <a:pt x="40084" y="158666"/>
                    <a:pt x="61426" y="167445"/>
                    <a:pt x="83609" y="167145"/>
                  </a:cubicBezTo>
                </a:path>
              </a:pathLst>
            </a:custGeom>
            <a:solidFill>
              <a:srgbClr val="E2E2E3"/>
            </a:solidFill>
            <a:ln w="3718"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10083DD0-F907-4D31-B799-28A9B16F7DAE}"/>
                </a:ext>
              </a:extLst>
            </p:cNvPr>
            <p:cNvSpPr/>
            <p:nvPr/>
          </p:nvSpPr>
          <p:spPr>
            <a:xfrm>
              <a:off x="552052" y="6589991"/>
              <a:ext cx="121133" cy="164789"/>
            </a:xfrm>
            <a:custGeom>
              <a:avLst/>
              <a:gdLst>
                <a:gd name="connsiteX0" fmla="*/ 33321 w 121133"/>
                <a:gd name="connsiteY0" fmla="*/ 32848 h 164789"/>
                <a:gd name="connsiteX1" fmla="*/ 51957 w 121133"/>
                <a:gd name="connsiteY1" fmla="*/ 32848 h 164789"/>
                <a:gd name="connsiteX2" fmla="*/ 72382 w 121133"/>
                <a:gd name="connsiteY2" fmla="*/ 39371 h 164789"/>
                <a:gd name="connsiteX3" fmla="*/ 78941 w 121133"/>
                <a:gd name="connsiteY3" fmla="*/ 55211 h 164789"/>
                <a:gd name="connsiteX4" fmla="*/ 56914 w 121133"/>
                <a:gd name="connsiteY4" fmla="*/ 78543 h 164789"/>
                <a:gd name="connsiteX5" fmla="*/ 45732 w 121133"/>
                <a:gd name="connsiteY5" fmla="*/ 78543 h 164789"/>
                <a:gd name="connsiteX6" fmla="*/ 45732 w 121133"/>
                <a:gd name="connsiteY6" fmla="*/ 78543 h 164789"/>
                <a:gd name="connsiteX7" fmla="*/ 33321 w 121133"/>
                <a:gd name="connsiteY7" fmla="*/ 78543 h 164789"/>
                <a:gd name="connsiteX8" fmla="*/ 33321 w 121133"/>
                <a:gd name="connsiteY8" fmla="*/ 164790 h 164789"/>
                <a:gd name="connsiteX9" fmla="*/ 33321 w 121133"/>
                <a:gd name="connsiteY9" fmla="*/ 91924 h 164789"/>
                <a:gd name="connsiteX10" fmla="*/ 80656 w 121133"/>
                <a:gd name="connsiteY10" fmla="*/ 164790 h 164789"/>
                <a:gd name="connsiteX11" fmla="*/ 121133 w 121133"/>
                <a:gd name="connsiteY11" fmla="*/ 164790 h 164789"/>
                <a:gd name="connsiteX12" fmla="*/ 82818 w 121133"/>
                <a:gd name="connsiteY12" fmla="*/ 105155 h 164789"/>
                <a:gd name="connsiteX13" fmla="*/ 102423 w 121133"/>
                <a:gd name="connsiteY13" fmla="*/ 89725 h 164789"/>
                <a:gd name="connsiteX14" fmla="*/ 112859 w 121133"/>
                <a:gd name="connsiteY14" fmla="*/ 58342 h 164789"/>
                <a:gd name="connsiteX15" fmla="*/ 112859 w 121133"/>
                <a:gd name="connsiteY15" fmla="*/ 54205 h 164789"/>
                <a:gd name="connsiteX16" fmla="*/ 96906 w 121133"/>
                <a:gd name="connsiteY16" fmla="*/ 16933 h 164789"/>
                <a:gd name="connsiteX17" fmla="*/ 53746 w 121133"/>
                <a:gd name="connsiteY17" fmla="*/ 12 h 164789"/>
                <a:gd name="connsiteX18" fmla="*/ 0 w 121133"/>
                <a:gd name="connsiteY18" fmla="*/ 12 h 164789"/>
                <a:gd name="connsiteX19" fmla="*/ 0 w 121133"/>
                <a:gd name="connsiteY19" fmla="*/ 164790 h 16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133" h="164789">
                  <a:moveTo>
                    <a:pt x="33321" y="32848"/>
                  </a:moveTo>
                  <a:lnTo>
                    <a:pt x="51957" y="32848"/>
                  </a:lnTo>
                  <a:cubicBezTo>
                    <a:pt x="59325" y="32508"/>
                    <a:pt x="66575" y="34822"/>
                    <a:pt x="72382" y="39371"/>
                  </a:cubicBezTo>
                  <a:cubicBezTo>
                    <a:pt x="76586" y="43570"/>
                    <a:pt x="78945" y="49269"/>
                    <a:pt x="78941" y="55211"/>
                  </a:cubicBezTo>
                  <a:cubicBezTo>
                    <a:pt x="79296" y="67735"/>
                    <a:pt x="69437" y="78178"/>
                    <a:pt x="56914" y="78543"/>
                  </a:cubicBezTo>
                  <a:lnTo>
                    <a:pt x="45732" y="78543"/>
                  </a:lnTo>
                  <a:lnTo>
                    <a:pt x="45732" y="78543"/>
                  </a:lnTo>
                  <a:lnTo>
                    <a:pt x="33321" y="78543"/>
                  </a:lnTo>
                  <a:close/>
                  <a:moveTo>
                    <a:pt x="33321" y="164790"/>
                  </a:moveTo>
                  <a:lnTo>
                    <a:pt x="33321" y="91924"/>
                  </a:lnTo>
                  <a:lnTo>
                    <a:pt x="80656" y="164790"/>
                  </a:lnTo>
                  <a:lnTo>
                    <a:pt x="121133" y="164790"/>
                  </a:lnTo>
                  <a:lnTo>
                    <a:pt x="82818" y="105155"/>
                  </a:lnTo>
                  <a:cubicBezTo>
                    <a:pt x="90932" y="102416"/>
                    <a:pt x="97853" y="96968"/>
                    <a:pt x="102423" y="89725"/>
                  </a:cubicBezTo>
                  <a:cubicBezTo>
                    <a:pt x="109132" y="80630"/>
                    <a:pt x="112784" y="69643"/>
                    <a:pt x="112859" y="58342"/>
                  </a:cubicBezTo>
                  <a:lnTo>
                    <a:pt x="112859" y="54205"/>
                  </a:lnTo>
                  <a:cubicBezTo>
                    <a:pt x="112859" y="35979"/>
                    <a:pt x="106933" y="26810"/>
                    <a:pt x="96906" y="16933"/>
                  </a:cubicBezTo>
                  <a:cubicBezTo>
                    <a:pt x="85337" y="5785"/>
                    <a:pt x="69810" y="-303"/>
                    <a:pt x="53746" y="12"/>
                  </a:cubicBezTo>
                  <a:lnTo>
                    <a:pt x="0" y="12"/>
                  </a:lnTo>
                  <a:lnTo>
                    <a:pt x="0" y="164790"/>
                  </a:lnTo>
                  <a:close/>
                </a:path>
              </a:pathLst>
            </a:custGeom>
            <a:solidFill>
              <a:srgbClr val="E2E2E3"/>
            </a:solidFill>
            <a:ln w="3718" cap="flat">
              <a:noFill/>
              <a:prstDash val="solid"/>
              <a:miter/>
            </a:ln>
          </p:spPr>
          <p:txBody>
            <a:bodyPr rtlCol="0" anchor="ctr"/>
            <a:lstStyle/>
            <a:p>
              <a:endParaRPr lang="en-US" dirty="0"/>
            </a:p>
          </p:txBody>
        </p:sp>
        <p:sp>
          <p:nvSpPr>
            <p:cNvPr id="20" name="Freeform: Shape 19">
              <a:extLst>
                <a:ext uri="{FF2B5EF4-FFF2-40B4-BE49-F238E27FC236}">
                  <a16:creationId xmlns:a16="http://schemas.microsoft.com/office/drawing/2014/main" id="{4FB7B3CB-DD9B-4147-943D-9685E9BA2329}"/>
                </a:ext>
              </a:extLst>
            </p:cNvPr>
            <p:cNvSpPr/>
            <p:nvPr/>
          </p:nvSpPr>
          <p:spPr>
            <a:xfrm>
              <a:off x="681161" y="6590003"/>
              <a:ext cx="114275" cy="164778"/>
            </a:xfrm>
            <a:custGeom>
              <a:avLst/>
              <a:gdLst>
                <a:gd name="connsiteX0" fmla="*/ 40552 w 114275"/>
                <a:gd name="connsiteY0" fmla="*/ 164778 h 164778"/>
                <a:gd name="connsiteX1" fmla="*/ 73798 w 114275"/>
                <a:gd name="connsiteY1" fmla="*/ 164778 h 164778"/>
                <a:gd name="connsiteX2" fmla="*/ 73798 w 114275"/>
                <a:gd name="connsiteY2" fmla="*/ 32836 h 164778"/>
                <a:gd name="connsiteX3" fmla="*/ 114275 w 114275"/>
                <a:gd name="connsiteY3" fmla="*/ 32836 h 164778"/>
                <a:gd name="connsiteX4" fmla="*/ 114275 w 114275"/>
                <a:gd name="connsiteY4" fmla="*/ 0 h 164778"/>
                <a:gd name="connsiteX5" fmla="*/ 0 w 114275"/>
                <a:gd name="connsiteY5" fmla="*/ 0 h 164778"/>
                <a:gd name="connsiteX6" fmla="*/ 0 w 114275"/>
                <a:gd name="connsiteY6" fmla="*/ 32836 h 164778"/>
                <a:gd name="connsiteX7" fmla="*/ 40552 w 114275"/>
                <a:gd name="connsiteY7" fmla="*/ 32836 h 164778"/>
                <a:gd name="connsiteX8" fmla="*/ 40552 w 114275"/>
                <a:gd name="connsiteY8" fmla="*/ 164778 h 16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275" h="164778">
                  <a:moveTo>
                    <a:pt x="40552" y="164778"/>
                  </a:moveTo>
                  <a:lnTo>
                    <a:pt x="73798" y="164778"/>
                  </a:lnTo>
                  <a:lnTo>
                    <a:pt x="73798" y="32836"/>
                  </a:lnTo>
                  <a:lnTo>
                    <a:pt x="114275" y="32836"/>
                  </a:lnTo>
                  <a:lnTo>
                    <a:pt x="114275" y="0"/>
                  </a:lnTo>
                  <a:lnTo>
                    <a:pt x="0" y="0"/>
                  </a:lnTo>
                  <a:lnTo>
                    <a:pt x="0" y="32836"/>
                  </a:lnTo>
                  <a:lnTo>
                    <a:pt x="40552" y="32836"/>
                  </a:lnTo>
                  <a:lnTo>
                    <a:pt x="40552" y="164778"/>
                  </a:lnTo>
                  <a:close/>
                </a:path>
              </a:pathLst>
            </a:custGeom>
            <a:solidFill>
              <a:srgbClr val="E2E2E3"/>
            </a:solidFill>
            <a:ln w="3718"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FABD583C-55CD-4554-AD1F-87CE3EE2B3BE}"/>
                </a:ext>
              </a:extLst>
            </p:cNvPr>
            <p:cNvSpPr/>
            <p:nvPr/>
          </p:nvSpPr>
          <p:spPr>
            <a:xfrm>
              <a:off x="809749" y="6590003"/>
              <a:ext cx="121095" cy="164778"/>
            </a:xfrm>
            <a:custGeom>
              <a:avLst/>
              <a:gdLst>
                <a:gd name="connsiteX0" fmla="*/ 33023 w 121095"/>
                <a:gd name="connsiteY0" fmla="*/ 98770 h 164778"/>
                <a:gd name="connsiteX1" fmla="*/ 88110 w 121095"/>
                <a:gd name="connsiteY1" fmla="*/ 98770 h 164778"/>
                <a:gd name="connsiteX2" fmla="*/ 88110 w 121095"/>
                <a:gd name="connsiteY2" fmla="*/ 164778 h 164778"/>
                <a:gd name="connsiteX3" fmla="*/ 121096 w 121095"/>
                <a:gd name="connsiteY3" fmla="*/ 164778 h 164778"/>
                <a:gd name="connsiteX4" fmla="*/ 121096 w 121095"/>
                <a:gd name="connsiteY4" fmla="*/ 0 h 164778"/>
                <a:gd name="connsiteX5" fmla="*/ 88110 w 121095"/>
                <a:gd name="connsiteY5" fmla="*/ 0 h 164778"/>
                <a:gd name="connsiteX6" fmla="*/ 88110 w 121095"/>
                <a:gd name="connsiteY6" fmla="*/ 65934 h 164778"/>
                <a:gd name="connsiteX7" fmla="*/ 33023 w 121095"/>
                <a:gd name="connsiteY7" fmla="*/ 65934 h 164778"/>
                <a:gd name="connsiteX8" fmla="*/ 33023 w 121095"/>
                <a:gd name="connsiteY8" fmla="*/ 0 h 164778"/>
                <a:gd name="connsiteX9" fmla="*/ 0 w 121095"/>
                <a:gd name="connsiteY9" fmla="*/ 0 h 164778"/>
                <a:gd name="connsiteX10" fmla="*/ 0 w 121095"/>
                <a:gd name="connsiteY10" fmla="*/ 164778 h 164778"/>
                <a:gd name="connsiteX11" fmla="*/ 33023 w 121095"/>
                <a:gd name="connsiteY11" fmla="*/ 164778 h 164778"/>
                <a:gd name="connsiteX12" fmla="*/ 33023 w 121095"/>
                <a:gd name="connsiteY12" fmla="*/ 98770 h 16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095" h="164778">
                  <a:moveTo>
                    <a:pt x="33023" y="98770"/>
                  </a:moveTo>
                  <a:lnTo>
                    <a:pt x="88110" y="98770"/>
                  </a:lnTo>
                  <a:lnTo>
                    <a:pt x="88110" y="164778"/>
                  </a:lnTo>
                  <a:lnTo>
                    <a:pt x="121096" y="164778"/>
                  </a:lnTo>
                  <a:lnTo>
                    <a:pt x="121096" y="0"/>
                  </a:lnTo>
                  <a:lnTo>
                    <a:pt x="88110" y="0"/>
                  </a:lnTo>
                  <a:lnTo>
                    <a:pt x="88110" y="65934"/>
                  </a:lnTo>
                  <a:lnTo>
                    <a:pt x="33023" y="65934"/>
                  </a:lnTo>
                  <a:lnTo>
                    <a:pt x="33023" y="0"/>
                  </a:lnTo>
                  <a:lnTo>
                    <a:pt x="0" y="0"/>
                  </a:lnTo>
                  <a:lnTo>
                    <a:pt x="0" y="164778"/>
                  </a:lnTo>
                  <a:lnTo>
                    <a:pt x="33023" y="164778"/>
                  </a:lnTo>
                  <a:lnTo>
                    <a:pt x="33023" y="98770"/>
                  </a:lnTo>
                  <a:close/>
                </a:path>
              </a:pathLst>
            </a:custGeom>
            <a:solidFill>
              <a:srgbClr val="E2E2E3"/>
            </a:solidFill>
            <a:ln w="3718"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4C68DE25-FDEC-4607-950A-0C1B563C978C}"/>
                </a:ext>
              </a:extLst>
            </p:cNvPr>
            <p:cNvSpPr/>
            <p:nvPr/>
          </p:nvSpPr>
          <p:spPr>
            <a:xfrm>
              <a:off x="223838" y="6589593"/>
              <a:ext cx="132463" cy="168580"/>
            </a:xfrm>
            <a:custGeom>
              <a:avLst/>
              <a:gdLst>
                <a:gd name="connsiteX0" fmla="*/ 0 w 132463"/>
                <a:gd name="connsiteY0" fmla="*/ 165412 h 168580"/>
                <a:gd name="connsiteX1" fmla="*/ 33097 w 132463"/>
                <a:gd name="connsiteY1" fmla="*/ 165412 h 168580"/>
                <a:gd name="connsiteX2" fmla="*/ 33097 w 132463"/>
                <a:gd name="connsiteY2" fmla="*/ 73910 h 168580"/>
                <a:gd name="connsiteX3" fmla="*/ 132464 w 132463"/>
                <a:gd name="connsiteY3" fmla="*/ 168580 h 168580"/>
                <a:gd name="connsiteX4" fmla="*/ 132464 w 132463"/>
                <a:gd name="connsiteY4" fmla="*/ 0 h 168580"/>
                <a:gd name="connsiteX5" fmla="*/ 99255 w 132463"/>
                <a:gd name="connsiteY5" fmla="*/ 0 h 168580"/>
                <a:gd name="connsiteX6" fmla="*/ 99255 w 132463"/>
                <a:gd name="connsiteY6" fmla="*/ 91502 h 168580"/>
                <a:gd name="connsiteX7" fmla="*/ 48490 w 132463"/>
                <a:gd name="connsiteY7" fmla="*/ 43161 h 168580"/>
                <a:gd name="connsiteX8" fmla="*/ 0 w 132463"/>
                <a:gd name="connsiteY8" fmla="*/ 91651 h 168580"/>
                <a:gd name="connsiteX9" fmla="*/ 0 w 132463"/>
                <a:gd name="connsiteY9" fmla="*/ 165412 h 16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463" h="168580">
                  <a:moveTo>
                    <a:pt x="0" y="165412"/>
                  </a:moveTo>
                  <a:lnTo>
                    <a:pt x="33097" y="165412"/>
                  </a:lnTo>
                  <a:lnTo>
                    <a:pt x="33097" y="73910"/>
                  </a:lnTo>
                  <a:lnTo>
                    <a:pt x="132464" y="168580"/>
                  </a:lnTo>
                  <a:lnTo>
                    <a:pt x="132464" y="0"/>
                  </a:lnTo>
                  <a:lnTo>
                    <a:pt x="99255" y="0"/>
                  </a:lnTo>
                  <a:lnTo>
                    <a:pt x="99255" y="91502"/>
                  </a:lnTo>
                  <a:lnTo>
                    <a:pt x="48490" y="43161"/>
                  </a:lnTo>
                  <a:lnTo>
                    <a:pt x="0" y="91651"/>
                  </a:lnTo>
                  <a:lnTo>
                    <a:pt x="0" y="165412"/>
                  </a:lnTo>
                  <a:close/>
                </a:path>
              </a:pathLst>
            </a:custGeom>
            <a:solidFill>
              <a:srgbClr val="E2E2E3"/>
            </a:solidFill>
            <a:ln w="3718" cap="flat">
              <a:no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C394CB6C-AED2-489D-9E6B-5051A8A5A7BB}"/>
                </a:ext>
              </a:extLst>
            </p:cNvPr>
            <p:cNvSpPr/>
            <p:nvPr/>
          </p:nvSpPr>
          <p:spPr>
            <a:xfrm>
              <a:off x="223838" y="6586537"/>
              <a:ext cx="48490" cy="94707"/>
            </a:xfrm>
            <a:custGeom>
              <a:avLst/>
              <a:gdLst>
                <a:gd name="connsiteX0" fmla="*/ 0 w 48490"/>
                <a:gd name="connsiteY0" fmla="*/ 94707 h 94707"/>
                <a:gd name="connsiteX1" fmla="*/ 48490 w 48490"/>
                <a:gd name="connsiteY1" fmla="*/ 46180 h 94707"/>
                <a:gd name="connsiteX2" fmla="*/ 0 w 48490"/>
                <a:gd name="connsiteY2" fmla="*/ 0 h 94707"/>
                <a:gd name="connsiteX3" fmla="*/ 0 w 48490"/>
                <a:gd name="connsiteY3" fmla="*/ 94707 h 94707"/>
              </a:gdLst>
              <a:ahLst/>
              <a:cxnLst>
                <a:cxn ang="0">
                  <a:pos x="connsiteX0" y="connsiteY0"/>
                </a:cxn>
                <a:cxn ang="0">
                  <a:pos x="connsiteX1" y="connsiteY1"/>
                </a:cxn>
                <a:cxn ang="0">
                  <a:pos x="connsiteX2" y="connsiteY2"/>
                </a:cxn>
                <a:cxn ang="0">
                  <a:pos x="connsiteX3" y="connsiteY3"/>
                </a:cxn>
              </a:cxnLst>
              <a:rect l="l" t="t" r="r" b="b"/>
              <a:pathLst>
                <a:path w="48490" h="94707">
                  <a:moveTo>
                    <a:pt x="0" y="94707"/>
                  </a:moveTo>
                  <a:lnTo>
                    <a:pt x="48490" y="46180"/>
                  </a:lnTo>
                  <a:lnTo>
                    <a:pt x="0" y="0"/>
                  </a:lnTo>
                  <a:lnTo>
                    <a:pt x="0" y="94707"/>
                  </a:lnTo>
                  <a:close/>
                </a:path>
              </a:pathLst>
            </a:custGeom>
            <a:solidFill>
              <a:schemeClr val="accent3"/>
            </a:solidFill>
            <a:ln w="3718"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1462529076"/>
      </p:ext>
    </p:extLst>
  </p:cSld>
  <p:clrMapOvr>
    <a:overrideClrMapping bg1="dk1" tx1="lt1" bg2="dk2" tx2="lt2" accent1="accent1" accent2="accent2" accent3="accent3" accent4="accent4" accent5="accent5" accent6="accent6" hlink="hlink" folHlink="folHlink"/>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1_Subsection Divider Teal">
    <p:bg>
      <p:bgPr>
        <a:solidFill>
          <a:schemeClr val="accent3"/>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5023233-F6FC-4927-94AC-4F8681FC8475}"/>
              </a:ext>
            </a:extLst>
          </p:cNvPr>
          <p:cNvSpPr>
            <a:spLocks noGrp="1"/>
          </p:cNvSpPr>
          <p:nvPr>
            <p:ph type="body" sz="quarter" idx="21" hasCustomPrompt="1"/>
          </p:nvPr>
        </p:nvSpPr>
        <p:spPr>
          <a:xfrm>
            <a:off x="2714625" y="1828800"/>
            <a:ext cx="6762750" cy="3200400"/>
          </a:xfrm>
          <a:ln>
            <a:solidFill>
              <a:schemeClr val="tx1"/>
            </a:solidFill>
          </a:ln>
        </p:spPr>
        <p:txBody>
          <a:bodyPr/>
          <a:lstStyle>
            <a:lvl1pPr>
              <a:defRPr/>
            </a:lvl1pPr>
          </a:lstStyle>
          <a:p>
            <a:pPr lvl="0"/>
            <a:r>
              <a:rPr lang="en-US"/>
              <a:t> </a:t>
            </a:r>
          </a:p>
        </p:txBody>
      </p:sp>
      <p:sp>
        <p:nvSpPr>
          <p:cNvPr id="66" name="Text Placeholder 43">
            <a:extLst>
              <a:ext uri="{FF2B5EF4-FFF2-40B4-BE49-F238E27FC236}">
                <a16:creationId xmlns:a16="http://schemas.microsoft.com/office/drawing/2014/main" id="{B71C1A23-9EDF-4C92-98F1-0130A7178B36}"/>
              </a:ext>
            </a:extLst>
          </p:cNvPr>
          <p:cNvSpPr>
            <a:spLocks noGrp="1"/>
          </p:cNvSpPr>
          <p:nvPr>
            <p:ph type="body" sz="quarter" idx="27" hasCustomPrompt="1"/>
          </p:nvPr>
        </p:nvSpPr>
        <p:spPr>
          <a:xfrm>
            <a:off x="2714625" y="1828800"/>
            <a:ext cx="272115" cy="272115"/>
          </a:xfrm>
          <a:custGeom>
            <a:avLst/>
            <a:gdLst>
              <a:gd name="connsiteX0" fmla="*/ 0 w 272115"/>
              <a:gd name="connsiteY0" fmla="*/ 0 h 272115"/>
              <a:gd name="connsiteX1" fmla="*/ 272115 w 272115"/>
              <a:gd name="connsiteY1" fmla="*/ 0 h 272115"/>
              <a:gd name="connsiteX2" fmla="*/ 0 w 272115"/>
              <a:gd name="connsiteY2" fmla="*/ 272115 h 272115"/>
            </a:gdLst>
            <a:ahLst/>
            <a:cxnLst>
              <a:cxn ang="0">
                <a:pos x="connsiteX0" y="connsiteY0"/>
              </a:cxn>
              <a:cxn ang="0">
                <a:pos x="connsiteX1" y="connsiteY1"/>
              </a:cxn>
              <a:cxn ang="0">
                <a:pos x="connsiteX2" y="connsiteY2"/>
              </a:cxn>
            </a:cxnLst>
            <a:rect l="l" t="t" r="r" b="b"/>
            <a:pathLst>
              <a:path w="272115" h="272115">
                <a:moveTo>
                  <a:pt x="0" y="0"/>
                </a:moveTo>
                <a:lnTo>
                  <a:pt x="272115" y="0"/>
                </a:lnTo>
                <a:lnTo>
                  <a:pt x="0" y="272115"/>
                </a:lnTo>
                <a:close/>
              </a:path>
            </a:pathLst>
          </a:custGeom>
          <a:solidFill>
            <a:schemeClr val="tx1"/>
          </a:solidFill>
        </p:spPr>
        <p:txBody>
          <a:bodyPr wrap="square">
            <a:noAutofit/>
          </a:bodyPr>
          <a:lstStyle/>
          <a:p>
            <a:pPr lvl="0"/>
            <a:r>
              <a:rPr lang="en-US"/>
              <a:t> </a:t>
            </a:r>
          </a:p>
        </p:txBody>
      </p:sp>
      <p:sp>
        <p:nvSpPr>
          <p:cNvPr id="2" name="Title 1">
            <a:extLst>
              <a:ext uri="{FF2B5EF4-FFF2-40B4-BE49-F238E27FC236}">
                <a16:creationId xmlns:a16="http://schemas.microsoft.com/office/drawing/2014/main" id="{844F0621-2390-4957-AD47-60FDBAA34491}"/>
              </a:ext>
            </a:extLst>
          </p:cNvPr>
          <p:cNvSpPr>
            <a:spLocks noGrp="1"/>
          </p:cNvSpPr>
          <p:nvPr>
            <p:ph type="title" hasCustomPrompt="1"/>
          </p:nvPr>
        </p:nvSpPr>
        <p:spPr>
          <a:xfrm>
            <a:off x="3028950" y="2232661"/>
            <a:ext cx="6134100" cy="2392678"/>
          </a:xfrm>
        </p:spPr>
        <p:txBody>
          <a:bodyPr anchor="ctr"/>
          <a:lstStyle>
            <a:lvl1pPr algn="ctr">
              <a:defRPr sz="2800" b="1">
                <a:solidFill>
                  <a:schemeClr val="tx1"/>
                </a:solidFill>
              </a:defRPr>
            </a:lvl1pPr>
          </a:lstStyle>
          <a:p>
            <a:r>
              <a:rPr lang="en-US"/>
              <a:t>Click to insert section divider name</a:t>
            </a:r>
          </a:p>
        </p:txBody>
      </p:sp>
      <p:sp>
        <p:nvSpPr>
          <p:cNvPr id="36" name="Slide Number Placeholder 4">
            <a:extLst>
              <a:ext uri="{FF2B5EF4-FFF2-40B4-BE49-F238E27FC236}">
                <a16:creationId xmlns:a16="http://schemas.microsoft.com/office/drawing/2014/main" id="{6A3B74FE-6C78-45C8-B9FA-8391A6052964}"/>
              </a:ext>
            </a:extLst>
          </p:cNvPr>
          <p:cNvSpPr>
            <a:spLocks noGrp="1"/>
          </p:cNvSpPr>
          <p:nvPr>
            <p:ph type="sldNum" sz="quarter" idx="12"/>
          </p:nvPr>
        </p:nvSpPr>
        <p:spPr>
          <a:xfrm>
            <a:off x="11610974" y="6538912"/>
            <a:ext cx="445293" cy="263525"/>
          </a:xfrm>
        </p:spPr>
        <p:txBody>
          <a:bodyPr/>
          <a:lstStyle/>
          <a:p>
            <a:fld id="{5034EE70-12A8-400F-8E3D-398CDD8B315D}" type="slidenum">
              <a:rPr lang="en-US" smtClean="0"/>
              <a:pPr/>
              <a:t>‹#›</a:t>
            </a:fld>
            <a:endParaRPr lang="en-US" dirty="0"/>
          </a:p>
        </p:txBody>
      </p:sp>
      <p:sp>
        <p:nvSpPr>
          <p:cNvPr id="49" name="TextBox 48">
            <a:extLst>
              <a:ext uri="{FF2B5EF4-FFF2-40B4-BE49-F238E27FC236}">
                <a16:creationId xmlns:a16="http://schemas.microsoft.com/office/drawing/2014/main" id="{71315377-B799-4E9E-99F8-42F78BAA7BD3}"/>
              </a:ext>
            </a:extLst>
          </p:cNvPr>
          <p:cNvSpPr txBox="1"/>
          <p:nvPr userDrawn="1"/>
        </p:nvSpPr>
        <p:spPr>
          <a:xfrm>
            <a:off x="9817769" y="6576218"/>
            <a:ext cx="1771776" cy="171450"/>
          </a:xfrm>
          <a:prstGeom prst="rect">
            <a:avLst/>
          </a:prstGeom>
          <a:noFill/>
        </p:spPr>
        <p:txBody>
          <a:bodyPr wrap="square" rtlCol="0">
            <a:noAutofit/>
          </a:bodyPr>
          <a:lstStyle/>
          <a:p>
            <a:pPr algn="ctr">
              <a:lnSpc>
                <a:spcPct val="90000"/>
              </a:lnSpc>
              <a:spcAft>
                <a:spcPts val="600"/>
              </a:spcAft>
            </a:pPr>
            <a:r>
              <a:rPr lang="en-US" sz="700" cap="all" spc="10" baseline="0" dirty="0"/>
              <a:t>Proprietary and Confidential</a:t>
            </a:r>
          </a:p>
        </p:txBody>
      </p:sp>
      <p:sp>
        <p:nvSpPr>
          <p:cNvPr id="35" name="Freeform: Shape 34">
            <a:extLst>
              <a:ext uri="{FF2B5EF4-FFF2-40B4-BE49-F238E27FC236}">
                <a16:creationId xmlns:a16="http://schemas.microsoft.com/office/drawing/2014/main" id="{F25C5F94-5CB8-4D8F-9531-B808017F917B}"/>
              </a:ext>
            </a:extLst>
          </p:cNvPr>
          <p:cNvSpPr/>
          <p:nvPr userDrawn="1"/>
        </p:nvSpPr>
        <p:spPr>
          <a:xfrm>
            <a:off x="223837" y="223838"/>
            <a:ext cx="11744326" cy="6262686"/>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dirty="0">
              <a:solidFill>
                <a:schemeClr val="tx1"/>
              </a:solidFill>
            </a:endParaRPr>
          </a:p>
        </p:txBody>
      </p:sp>
      <p:sp>
        <p:nvSpPr>
          <p:cNvPr id="24" name="Footer Placeholder 4">
            <a:extLst>
              <a:ext uri="{FF2B5EF4-FFF2-40B4-BE49-F238E27FC236}">
                <a16:creationId xmlns:a16="http://schemas.microsoft.com/office/drawing/2014/main" id="{8AA76261-3AFF-452D-8EC9-F16F7C0637D3}"/>
              </a:ext>
            </a:extLst>
          </p:cNvPr>
          <p:cNvSpPr>
            <a:spLocks noGrp="1"/>
          </p:cNvSpPr>
          <p:nvPr>
            <p:ph type="ftr" sz="quarter" idx="3"/>
          </p:nvPr>
        </p:nvSpPr>
        <p:spPr>
          <a:xfrm>
            <a:off x="4648200" y="6534150"/>
            <a:ext cx="5169569" cy="263525"/>
          </a:xfrm>
          <a:prstGeom prst="rect">
            <a:avLst/>
          </a:prstGeom>
        </p:spPr>
        <p:txBody>
          <a:bodyPr vert="horz" wrap="square" lIns="91440" tIns="45720" rIns="91440" bIns="45720" rtlCol="0" anchor="ctr">
            <a:noAutofit/>
          </a:bodyPr>
          <a:lstStyle>
            <a:lvl1pPr algn="r">
              <a:lnSpc>
                <a:spcPct val="90000"/>
              </a:lnSpc>
              <a:spcAft>
                <a:spcPts val="600"/>
              </a:spcAft>
              <a:defRPr sz="600">
                <a:solidFill>
                  <a:schemeClr val="tx1"/>
                </a:solidFill>
              </a:defRPr>
            </a:lvl1pPr>
          </a:lstStyle>
          <a:p>
            <a:endParaRPr lang="en-US" sz="600" noProof="0" dirty="0"/>
          </a:p>
        </p:txBody>
      </p:sp>
      <p:grpSp>
        <p:nvGrpSpPr>
          <p:cNvPr id="9" name="Graphic 46">
            <a:extLst>
              <a:ext uri="{FF2B5EF4-FFF2-40B4-BE49-F238E27FC236}">
                <a16:creationId xmlns:a16="http://schemas.microsoft.com/office/drawing/2014/main" id="{08946ACE-AD7B-468F-AA88-A368A0ADDAE5}"/>
              </a:ext>
            </a:extLst>
          </p:cNvPr>
          <p:cNvGrpSpPr/>
          <p:nvPr userDrawn="1"/>
        </p:nvGrpSpPr>
        <p:grpSpPr>
          <a:xfrm>
            <a:off x="223838" y="6586537"/>
            <a:ext cx="1852878" cy="171636"/>
            <a:chOff x="223838" y="6586537"/>
            <a:chExt cx="1852878" cy="171636"/>
          </a:xfrm>
          <a:solidFill>
            <a:srgbClr val="E2E2E3"/>
          </a:solidFill>
        </p:grpSpPr>
        <p:sp>
          <p:nvSpPr>
            <p:cNvPr id="10" name="Freeform: Shape 9">
              <a:extLst>
                <a:ext uri="{FF2B5EF4-FFF2-40B4-BE49-F238E27FC236}">
                  <a16:creationId xmlns:a16="http://schemas.microsoft.com/office/drawing/2014/main" id="{DD7E4484-7F85-4E27-B07A-1083CF441D53}"/>
                </a:ext>
              </a:extLst>
            </p:cNvPr>
            <p:cNvSpPr/>
            <p:nvPr/>
          </p:nvSpPr>
          <p:spPr>
            <a:xfrm>
              <a:off x="1015600" y="6590823"/>
              <a:ext cx="114610" cy="163250"/>
            </a:xfrm>
            <a:custGeom>
              <a:avLst/>
              <a:gdLst>
                <a:gd name="connsiteX0" fmla="*/ 97913 w 114610"/>
                <a:gd name="connsiteY0" fmla="*/ 163250 h 163250"/>
                <a:gd name="connsiteX1" fmla="*/ 114611 w 114610"/>
                <a:gd name="connsiteY1" fmla="*/ 163250 h 163250"/>
                <a:gd name="connsiteX2" fmla="*/ 114611 w 114610"/>
                <a:gd name="connsiteY2" fmla="*/ 0 h 163250"/>
                <a:gd name="connsiteX3" fmla="*/ 97913 w 114610"/>
                <a:gd name="connsiteY3" fmla="*/ 0 h 163250"/>
                <a:gd name="connsiteX4" fmla="*/ 97913 w 114610"/>
                <a:gd name="connsiteY4" fmla="*/ 73351 h 163250"/>
                <a:gd name="connsiteX5" fmla="*/ 16698 w 114610"/>
                <a:gd name="connsiteY5" fmla="*/ 73351 h 163250"/>
                <a:gd name="connsiteX6" fmla="*/ 16698 w 114610"/>
                <a:gd name="connsiteY6" fmla="*/ 0 h 163250"/>
                <a:gd name="connsiteX7" fmla="*/ 0 w 114610"/>
                <a:gd name="connsiteY7" fmla="*/ 0 h 163250"/>
                <a:gd name="connsiteX8" fmla="*/ 0 w 114610"/>
                <a:gd name="connsiteY8" fmla="*/ 163250 h 163250"/>
                <a:gd name="connsiteX9" fmla="*/ 16698 w 114610"/>
                <a:gd name="connsiteY9" fmla="*/ 163250 h 163250"/>
                <a:gd name="connsiteX10" fmla="*/ 16698 w 114610"/>
                <a:gd name="connsiteY10" fmla="*/ 89937 h 163250"/>
                <a:gd name="connsiteX11" fmla="*/ 97913 w 114610"/>
                <a:gd name="connsiteY11" fmla="*/ 89937 h 163250"/>
                <a:gd name="connsiteX12" fmla="*/ 97913 w 114610"/>
                <a:gd name="connsiteY12" fmla="*/ 16325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610" h="163250">
                  <a:moveTo>
                    <a:pt x="97913" y="163250"/>
                  </a:moveTo>
                  <a:lnTo>
                    <a:pt x="114611" y="163250"/>
                  </a:lnTo>
                  <a:lnTo>
                    <a:pt x="114611" y="0"/>
                  </a:lnTo>
                  <a:lnTo>
                    <a:pt x="97913" y="0"/>
                  </a:lnTo>
                  <a:lnTo>
                    <a:pt x="97913" y="73351"/>
                  </a:lnTo>
                  <a:lnTo>
                    <a:pt x="16698" y="73351"/>
                  </a:lnTo>
                  <a:lnTo>
                    <a:pt x="16698" y="0"/>
                  </a:lnTo>
                  <a:lnTo>
                    <a:pt x="0" y="0"/>
                  </a:lnTo>
                  <a:lnTo>
                    <a:pt x="0" y="163250"/>
                  </a:lnTo>
                  <a:lnTo>
                    <a:pt x="16698" y="163250"/>
                  </a:lnTo>
                  <a:lnTo>
                    <a:pt x="16698" y="89937"/>
                  </a:lnTo>
                  <a:lnTo>
                    <a:pt x="97913" y="89937"/>
                  </a:lnTo>
                  <a:lnTo>
                    <a:pt x="97913" y="163250"/>
                  </a:lnTo>
                  <a:close/>
                </a:path>
              </a:pathLst>
            </a:custGeom>
            <a:solidFill>
              <a:srgbClr val="E2E2E3"/>
            </a:solidFill>
            <a:ln w="3718" cap="flat">
              <a:noFill/>
              <a:prstDash val="solid"/>
              <a:miter/>
            </a:ln>
          </p:spPr>
          <p:txBody>
            <a:bodyPr rtlCol="0" anchor="ctr"/>
            <a:lstStyle/>
            <a:p>
              <a:endParaRPr lang="en-US" dirty="0"/>
            </a:p>
          </p:txBody>
        </p:sp>
        <p:sp>
          <p:nvSpPr>
            <p:cNvPr id="11" name="Freeform: Shape 10">
              <a:extLst>
                <a:ext uri="{FF2B5EF4-FFF2-40B4-BE49-F238E27FC236}">
                  <a16:creationId xmlns:a16="http://schemas.microsoft.com/office/drawing/2014/main" id="{4828C33B-A0B4-4E8E-A204-BC2798A15F1A}"/>
                </a:ext>
              </a:extLst>
            </p:cNvPr>
            <p:cNvSpPr/>
            <p:nvPr/>
          </p:nvSpPr>
          <p:spPr>
            <a:xfrm>
              <a:off x="1158761" y="6590823"/>
              <a:ext cx="16809" cy="163250"/>
            </a:xfrm>
            <a:custGeom>
              <a:avLst/>
              <a:gdLst>
                <a:gd name="connsiteX0" fmla="*/ 0 w 16809"/>
                <a:gd name="connsiteY0" fmla="*/ 0 h 163250"/>
                <a:gd name="connsiteX1" fmla="*/ 16810 w 16809"/>
                <a:gd name="connsiteY1" fmla="*/ 0 h 163250"/>
                <a:gd name="connsiteX2" fmla="*/ 16810 w 16809"/>
                <a:gd name="connsiteY2" fmla="*/ 163250 h 163250"/>
                <a:gd name="connsiteX3" fmla="*/ 0 w 16809"/>
                <a:gd name="connsiteY3" fmla="*/ 163250 h 163250"/>
              </a:gdLst>
              <a:ahLst/>
              <a:cxnLst>
                <a:cxn ang="0">
                  <a:pos x="connsiteX0" y="connsiteY0"/>
                </a:cxn>
                <a:cxn ang="0">
                  <a:pos x="connsiteX1" y="connsiteY1"/>
                </a:cxn>
                <a:cxn ang="0">
                  <a:pos x="connsiteX2" y="connsiteY2"/>
                </a:cxn>
                <a:cxn ang="0">
                  <a:pos x="connsiteX3" y="connsiteY3"/>
                </a:cxn>
              </a:cxnLst>
              <a:rect l="l" t="t" r="r" b="b"/>
              <a:pathLst>
                <a:path w="16809" h="163250">
                  <a:moveTo>
                    <a:pt x="0" y="0"/>
                  </a:moveTo>
                  <a:lnTo>
                    <a:pt x="16810" y="0"/>
                  </a:lnTo>
                  <a:lnTo>
                    <a:pt x="16810" y="163250"/>
                  </a:lnTo>
                  <a:lnTo>
                    <a:pt x="0" y="163250"/>
                  </a:lnTo>
                  <a:close/>
                </a:path>
              </a:pathLst>
            </a:custGeom>
            <a:solidFill>
              <a:srgbClr val="E2E2E3"/>
            </a:solidFill>
            <a:ln w="3718" cap="flat">
              <a:noFill/>
              <a:prstDash val="solid"/>
              <a:miter/>
            </a:ln>
          </p:spPr>
          <p:txBody>
            <a:bodyPr rtlCol="0" anchor="ctr"/>
            <a:lstStyle/>
            <a:p>
              <a:endParaRPr lang="en-US" dirty="0"/>
            </a:p>
          </p:txBody>
        </p:sp>
        <p:sp>
          <p:nvSpPr>
            <p:cNvPr id="12" name="Freeform: Shape 11">
              <a:extLst>
                <a:ext uri="{FF2B5EF4-FFF2-40B4-BE49-F238E27FC236}">
                  <a16:creationId xmlns:a16="http://schemas.microsoft.com/office/drawing/2014/main" id="{539209B0-6DAF-41BA-97CA-0FA9C31B649E}"/>
                </a:ext>
              </a:extLst>
            </p:cNvPr>
            <p:cNvSpPr/>
            <p:nvPr/>
          </p:nvSpPr>
          <p:spPr>
            <a:xfrm>
              <a:off x="1197184" y="6589704"/>
              <a:ext cx="165642" cy="165862"/>
            </a:xfrm>
            <a:custGeom>
              <a:avLst/>
              <a:gdLst>
                <a:gd name="connsiteX0" fmla="*/ 24343 w 165642"/>
                <a:gd name="connsiteY0" fmla="*/ 141596 h 165862"/>
                <a:gd name="connsiteX1" fmla="*/ 114652 w 165642"/>
                <a:gd name="connsiteY1" fmla="*/ 159859 h 165862"/>
                <a:gd name="connsiteX2" fmla="*/ 141600 w 165642"/>
                <a:gd name="connsiteY2" fmla="*/ 141558 h 165862"/>
                <a:gd name="connsiteX3" fmla="*/ 160869 w 165642"/>
                <a:gd name="connsiteY3" fmla="*/ 110996 h 165862"/>
                <a:gd name="connsiteX4" fmla="*/ 165640 w 165642"/>
                <a:gd name="connsiteY4" fmla="*/ 81514 h 165862"/>
                <a:gd name="connsiteX5" fmla="*/ 91283 w 165642"/>
                <a:gd name="connsiteY5" fmla="*/ 81514 h 165862"/>
                <a:gd name="connsiteX6" fmla="*/ 91283 w 165642"/>
                <a:gd name="connsiteY6" fmla="*/ 96720 h 165862"/>
                <a:gd name="connsiteX7" fmla="*/ 149352 w 165642"/>
                <a:gd name="connsiteY7" fmla="*/ 96720 h 165862"/>
                <a:gd name="connsiteX8" fmla="*/ 142606 w 165642"/>
                <a:gd name="connsiteY8" fmla="*/ 110996 h 165862"/>
                <a:gd name="connsiteX9" fmla="*/ 133623 w 165642"/>
                <a:gd name="connsiteY9" fmla="*/ 124935 h 165862"/>
                <a:gd name="connsiteX10" fmla="*/ 121547 w 165642"/>
                <a:gd name="connsiteY10" fmla="*/ 136415 h 165862"/>
                <a:gd name="connsiteX11" fmla="*/ 103471 w 165642"/>
                <a:gd name="connsiteY11" fmla="*/ 145621 h 165862"/>
                <a:gd name="connsiteX12" fmla="*/ 57962 w 165642"/>
                <a:gd name="connsiteY12" fmla="*/ 143944 h 165862"/>
                <a:gd name="connsiteX13" fmla="*/ 36717 w 165642"/>
                <a:gd name="connsiteY13" fmla="*/ 129445 h 165862"/>
                <a:gd name="connsiteX14" fmla="*/ 22330 w 165642"/>
                <a:gd name="connsiteY14" fmla="*/ 108163 h 165862"/>
                <a:gd name="connsiteX15" fmla="*/ 22330 w 165642"/>
                <a:gd name="connsiteY15" fmla="*/ 57734 h 165862"/>
                <a:gd name="connsiteX16" fmla="*/ 36717 w 165642"/>
                <a:gd name="connsiteY16" fmla="*/ 36452 h 165862"/>
                <a:gd name="connsiteX17" fmla="*/ 58036 w 165642"/>
                <a:gd name="connsiteY17" fmla="*/ 21916 h 165862"/>
                <a:gd name="connsiteX18" fmla="*/ 83232 w 165642"/>
                <a:gd name="connsiteY18" fmla="*/ 17034 h 165862"/>
                <a:gd name="connsiteX19" fmla="*/ 108391 w 165642"/>
                <a:gd name="connsiteY19" fmla="*/ 21916 h 165862"/>
                <a:gd name="connsiteX20" fmla="*/ 122106 w 165642"/>
                <a:gd name="connsiteY20" fmla="*/ 29818 h 165862"/>
                <a:gd name="connsiteX21" fmla="*/ 134145 w 165642"/>
                <a:gd name="connsiteY21" fmla="*/ 17704 h 165862"/>
                <a:gd name="connsiteX22" fmla="*/ 129374 w 165642"/>
                <a:gd name="connsiteY22" fmla="*/ 14275 h 165862"/>
                <a:gd name="connsiteX23" fmla="*/ 114988 w 165642"/>
                <a:gd name="connsiteY23" fmla="*/ 6448 h 165862"/>
                <a:gd name="connsiteX24" fmla="*/ 99520 w 165642"/>
                <a:gd name="connsiteY24" fmla="*/ 1640 h 165862"/>
                <a:gd name="connsiteX25" fmla="*/ 82934 w 165642"/>
                <a:gd name="connsiteY25" fmla="*/ 0 h 165862"/>
                <a:gd name="connsiteX26" fmla="*/ 76001 w 165642"/>
                <a:gd name="connsiteY26" fmla="*/ 0 h 165862"/>
                <a:gd name="connsiteX27" fmla="*/ 51104 w 165642"/>
                <a:gd name="connsiteY27" fmla="*/ 5889 h 165862"/>
                <a:gd name="connsiteX28" fmla="*/ 24306 w 165642"/>
                <a:gd name="connsiteY28" fmla="*/ 24264 h 165862"/>
                <a:gd name="connsiteX29" fmla="*/ 6042 w 165642"/>
                <a:gd name="connsiteY29" fmla="*/ 51137 h 165862"/>
                <a:gd name="connsiteX30" fmla="*/ 4 w 165642"/>
                <a:gd name="connsiteY30" fmla="*/ 83042 h 165862"/>
                <a:gd name="connsiteX31" fmla="*/ 6042 w 165642"/>
                <a:gd name="connsiteY31" fmla="*/ 114909 h 165862"/>
                <a:gd name="connsiteX32" fmla="*/ 24268 w 165642"/>
                <a:gd name="connsiteY32" fmla="*/ 141707 h 16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65642" h="165862">
                  <a:moveTo>
                    <a:pt x="24343" y="141596"/>
                  </a:moveTo>
                  <a:cubicBezTo>
                    <a:pt x="48141" y="165094"/>
                    <a:pt x="83594" y="172264"/>
                    <a:pt x="114652" y="159859"/>
                  </a:cubicBezTo>
                  <a:cubicBezTo>
                    <a:pt x="124719" y="155530"/>
                    <a:pt x="133866" y="149319"/>
                    <a:pt x="141600" y="141558"/>
                  </a:cubicBezTo>
                  <a:cubicBezTo>
                    <a:pt x="150347" y="133035"/>
                    <a:pt x="156948" y="122562"/>
                    <a:pt x="160869" y="110996"/>
                  </a:cubicBezTo>
                  <a:cubicBezTo>
                    <a:pt x="164108" y="101507"/>
                    <a:pt x="165722" y="91539"/>
                    <a:pt x="165640" y="81514"/>
                  </a:cubicBezTo>
                  <a:lnTo>
                    <a:pt x="91283" y="81514"/>
                  </a:lnTo>
                  <a:lnTo>
                    <a:pt x="91283" y="96720"/>
                  </a:lnTo>
                  <a:lnTo>
                    <a:pt x="149352" y="96720"/>
                  </a:lnTo>
                  <a:lnTo>
                    <a:pt x="142606" y="110996"/>
                  </a:lnTo>
                  <a:cubicBezTo>
                    <a:pt x="140217" y="116006"/>
                    <a:pt x="137198" y="120690"/>
                    <a:pt x="133623" y="124935"/>
                  </a:cubicBezTo>
                  <a:cubicBezTo>
                    <a:pt x="130083" y="129240"/>
                    <a:pt x="126027" y="133095"/>
                    <a:pt x="121547" y="136415"/>
                  </a:cubicBezTo>
                  <a:cubicBezTo>
                    <a:pt x="116076" y="140470"/>
                    <a:pt x="109967" y="143582"/>
                    <a:pt x="103471" y="145621"/>
                  </a:cubicBezTo>
                  <a:cubicBezTo>
                    <a:pt x="88569" y="150385"/>
                    <a:pt x="72472" y="149792"/>
                    <a:pt x="57962" y="143944"/>
                  </a:cubicBezTo>
                  <a:cubicBezTo>
                    <a:pt x="49975" y="140595"/>
                    <a:pt x="42748" y="135663"/>
                    <a:pt x="36717" y="129445"/>
                  </a:cubicBezTo>
                  <a:cubicBezTo>
                    <a:pt x="30597" y="123344"/>
                    <a:pt x="25711" y="116117"/>
                    <a:pt x="22330" y="108163"/>
                  </a:cubicBezTo>
                  <a:cubicBezTo>
                    <a:pt x="15819" y="91984"/>
                    <a:pt x="15819" y="73913"/>
                    <a:pt x="22330" y="57734"/>
                  </a:cubicBezTo>
                  <a:cubicBezTo>
                    <a:pt x="25729" y="49791"/>
                    <a:pt x="30612" y="42568"/>
                    <a:pt x="36717" y="36452"/>
                  </a:cubicBezTo>
                  <a:cubicBezTo>
                    <a:pt x="42792" y="30244"/>
                    <a:pt x="50038" y="25303"/>
                    <a:pt x="58036" y="21916"/>
                  </a:cubicBezTo>
                  <a:cubicBezTo>
                    <a:pt x="66013" y="18581"/>
                    <a:pt x="74589" y="16919"/>
                    <a:pt x="83232" y="17034"/>
                  </a:cubicBezTo>
                  <a:cubicBezTo>
                    <a:pt x="91861" y="16956"/>
                    <a:pt x="100418" y="18617"/>
                    <a:pt x="108391" y="21916"/>
                  </a:cubicBezTo>
                  <a:cubicBezTo>
                    <a:pt x="113251" y="24012"/>
                    <a:pt x="117854" y="26664"/>
                    <a:pt x="122106" y="29818"/>
                  </a:cubicBezTo>
                  <a:lnTo>
                    <a:pt x="134145" y="17704"/>
                  </a:lnTo>
                  <a:cubicBezTo>
                    <a:pt x="132356" y="16363"/>
                    <a:pt x="130791" y="15244"/>
                    <a:pt x="129374" y="14275"/>
                  </a:cubicBezTo>
                  <a:cubicBezTo>
                    <a:pt x="124820" y="11246"/>
                    <a:pt x="120004" y="8627"/>
                    <a:pt x="114988" y="6448"/>
                  </a:cubicBezTo>
                  <a:cubicBezTo>
                    <a:pt x="110001" y="4347"/>
                    <a:pt x="104820" y="2737"/>
                    <a:pt x="99520" y="1640"/>
                  </a:cubicBezTo>
                  <a:cubicBezTo>
                    <a:pt x="94060" y="534"/>
                    <a:pt x="88502" y="-15"/>
                    <a:pt x="82934" y="0"/>
                  </a:cubicBezTo>
                  <a:lnTo>
                    <a:pt x="76001" y="0"/>
                  </a:lnTo>
                  <a:cubicBezTo>
                    <a:pt x="67440" y="610"/>
                    <a:pt x="59032" y="2598"/>
                    <a:pt x="51104" y="5889"/>
                  </a:cubicBezTo>
                  <a:cubicBezTo>
                    <a:pt x="41022" y="10138"/>
                    <a:pt x="31902" y="16389"/>
                    <a:pt x="24306" y="24264"/>
                  </a:cubicBezTo>
                  <a:cubicBezTo>
                    <a:pt x="16490" y="31918"/>
                    <a:pt x="10284" y="41054"/>
                    <a:pt x="6042" y="51137"/>
                  </a:cubicBezTo>
                  <a:cubicBezTo>
                    <a:pt x="1965" y="61275"/>
                    <a:pt x="-89" y="72114"/>
                    <a:pt x="4" y="83042"/>
                  </a:cubicBezTo>
                  <a:cubicBezTo>
                    <a:pt x="-107" y="93959"/>
                    <a:pt x="1946" y="104789"/>
                    <a:pt x="6042" y="114909"/>
                  </a:cubicBezTo>
                  <a:cubicBezTo>
                    <a:pt x="10206" y="125003"/>
                    <a:pt x="16411" y="134126"/>
                    <a:pt x="24268" y="141707"/>
                  </a:cubicBezTo>
                </a:path>
              </a:pathLst>
            </a:custGeom>
            <a:solidFill>
              <a:srgbClr val="E2E2E3"/>
            </a:solidFill>
            <a:ln w="3718" cap="flat">
              <a:noFill/>
              <a:prstDash val="solid"/>
              <a:miter/>
            </a:ln>
          </p:spPr>
          <p:txBody>
            <a:bodyPr rtlCol="0" anchor="ctr"/>
            <a:lstStyle/>
            <a:p>
              <a:endParaRPr lang="en-US" dirty="0"/>
            </a:p>
          </p:txBody>
        </p:sp>
        <p:sp>
          <p:nvSpPr>
            <p:cNvPr id="13" name="Freeform: Shape 12">
              <a:extLst>
                <a:ext uri="{FF2B5EF4-FFF2-40B4-BE49-F238E27FC236}">
                  <a16:creationId xmlns:a16="http://schemas.microsoft.com/office/drawing/2014/main" id="{447456FD-DB74-49E7-90A0-6FD6B0EDD296}"/>
                </a:ext>
              </a:extLst>
            </p:cNvPr>
            <p:cNvSpPr/>
            <p:nvPr/>
          </p:nvSpPr>
          <p:spPr>
            <a:xfrm>
              <a:off x="1384590" y="6590823"/>
              <a:ext cx="114573" cy="163250"/>
            </a:xfrm>
            <a:custGeom>
              <a:avLst/>
              <a:gdLst>
                <a:gd name="connsiteX0" fmla="*/ 97876 w 114573"/>
                <a:gd name="connsiteY0" fmla="*/ 163250 h 163250"/>
                <a:gd name="connsiteX1" fmla="*/ 114573 w 114573"/>
                <a:gd name="connsiteY1" fmla="*/ 163250 h 163250"/>
                <a:gd name="connsiteX2" fmla="*/ 114573 w 114573"/>
                <a:gd name="connsiteY2" fmla="*/ 0 h 163250"/>
                <a:gd name="connsiteX3" fmla="*/ 97876 w 114573"/>
                <a:gd name="connsiteY3" fmla="*/ 0 h 163250"/>
                <a:gd name="connsiteX4" fmla="*/ 97876 w 114573"/>
                <a:gd name="connsiteY4" fmla="*/ 73351 h 163250"/>
                <a:gd name="connsiteX5" fmla="*/ 16660 w 114573"/>
                <a:gd name="connsiteY5" fmla="*/ 73351 h 163250"/>
                <a:gd name="connsiteX6" fmla="*/ 16660 w 114573"/>
                <a:gd name="connsiteY6" fmla="*/ 0 h 163250"/>
                <a:gd name="connsiteX7" fmla="*/ 0 w 114573"/>
                <a:gd name="connsiteY7" fmla="*/ 0 h 163250"/>
                <a:gd name="connsiteX8" fmla="*/ 0 w 114573"/>
                <a:gd name="connsiteY8" fmla="*/ 163250 h 163250"/>
                <a:gd name="connsiteX9" fmla="*/ 16660 w 114573"/>
                <a:gd name="connsiteY9" fmla="*/ 163250 h 163250"/>
                <a:gd name="connsiteX10" fmla="*/ 16660 w 114573"/>
                <a:gd name="connsiteY10" fmla="*/ 89937 h 163250"/>
                <a:gd name="connsiteX11" fmla="*/ 97876 w 114573"/>
                <a:gd name="connsiteY11" fmla="*/ 89937 h 163250"/>
                <a:gd name="connsiteX12" fmla="*/ 97876 w 114573"/>
                <a:gd name="connsiteY12" fmla="*/ 16325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573" h="163250">
                  <a:moveTo>
                    <a:pt x="97876" y="163250"/>
                  </a:moveTo>
                  <a:lnTo>
                    <a:pt x="114573" y="163250"/>
                  </a:lnTo>
                  <a:lnTo>
                    <a:pt x="114573" y="0"/>
                  </a:lnTo>
                  <a:lnTo>
                    <a:pt x="97876" y="0"/>
                  </a:lnTo>
                  <a:lnTo>
                    <a:pt x="97876" y="73351"/>
                  </a:lnTo>
                  <a:lnTo>
                    <a:pt x="16660" y="73351"/>
                  </a:lnTo>
                  <a:lnTo>
                    <a:pt x="16660" y="0"/>
                  </a:lnTo>
                  <a:lnTo>
                    <a:pt x="0" y="0"/>
                  </a:lnTo>
                  <a:lnTo>
                    <a:pt x="0" y="163250"/>
                  </a:lnTo>
                  <a:lnTo>
                    <a:pt x="16660" y="163250"/>
                  </a:lnTo>
                  <a:lnTo>
                    <a:pt x="16660" y="89937"/>
                  </a:lnTo>
                  <a:lnTo>
                    <a:pt x="97876" y="89937"/>
                  </a:lnTo>
                  <a:lnTo>
                    <a:pt x="97876" y="163250"/>
                  </a:lnTo>
                  <a:close/>
                </a:path>
              </a:pathLst>
            </a:custGeom>
            <a:solidFill>
              <a:srgbClr val="E2E2E3"/>
            </a:solidFill>
            <a:ln w="3718" cap="flat">
              <a:noFill/>
              <a:prstDash val="solid"/>
              <a:miter/>
            </a:ln>
          </p:spPr>
          <p:txBody>
            <a:bodyPr rtlCol="0" anchor="ctr"/>
            <a:lstStyle/>
            <a:p>
              <a:endParaRPr lang="en-US" dirty="0"/>
            </a:p>
          </p:txBody>
        </p:sp>
        <p:sp>
          <p:nvSpPr>
            <p:cNvPr id="14" name="Freeform: Shape 13">
              <a:extLst>
                <a:ext uri="{FF2B5EF4-FFF2-40B4-BE49-F238E27FC236}">
                  <a16:creationId xmlns:a16="http://schemas.microsoft.com/office/drawing/2014/main" id="{62C6C1C1-3203-4E7D-A0F1-9ACA1B3387B2}"/>
                </a:ext>
              </a:extLst>
            </p:cNvPr>
            <p:cNvSpPr/>
            <p:nvPr/>
          </p:nvSpPr>
          <p:spPr>
            <a:xfrm>
              <a:off x="1527751" y="6590823"/>
              <a:ext cx="90346" cy="163250"/>
            </a:xfrm>
            <a:custGeom>
              <a:avLst/>
              <a:gdLst>
                <a:gd name="connsiteX0" fmla="*/ 16810 w 90346"/>
                <a:gd name="connsiteY0" fmla="*/ 0 h 163250"/>
                <a:gd name="connsiteX1" fmla="*/ 0 w 90346"/>
                <a:gd name="connsiteY1" fmla="*/ 0 h 163250"/>
                <a:gd name="connsiteX2" fmla="*/ 0 w 90346"/>
                <a:gd name="connsiteY2" fmla="*/ 163250 h 163250"/>
                <a:gd name="connsiteX3" fmla="*/ 90347 w 90346"/>
                <a:gd name="connsiteY3" fmla="*/ 163250 h 163250"/>
                <a:gd name="connsiteX4" fmla="*/ 90347 w 90346"/>
                <a:gd name="connsiteY4" fmla="*/ 146813 h 163250"/>
                <a:gd name="connsiteX5" fmla="*/ 16810 w 90346"/>
                <a:gd name="connsiteY5" fmla="*/ 146813 h 163250"/>
                <a:gd name="connsiteX6" fmla="*/ 16810 w 90346"/>
                <a:gd name="connsiteY6" fmla="*/ 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346" h="163250">
                  <a:moveTo>
                    <a:pt x="16810" y="0"/>
                  </a:moveTo>
                  <a:lnTo>
                    <a:pt x="0" y="0"/>
                  </a:lnTo>
                  <a:lnTo>
                    <a:pt x="0" y="163250"/>
                  </a:lnTo>
                  <a:lnTo>
                    <a:pt x="90347" y="163250"/>
                  </a:lnTo>
                  <a:lnTo>
                    <a:pt x="90347" y="146813"/>
                  </a:lnTo>
                  <a:lnTo>
                    <a:pt x="16810" y="146813"/>
                  </a:lnTo>
                  <a:lnTo>
                    <a:pt x="16810" y="0"/>
                  </a:lnTo>
                  <a:close/>
                </a:path>
              </a:pathLst>
            </a:custGeom>
            <a:solidFill>
              <a:srgbClr val="E2E2E3"/>
            </a:solidFill>
            <a:ln w="3718"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5E0AA6A4-4F77-48FF-88D1-910F13080682}"/>
                </a:ext>
              </a:extLst>
            </p:cNvPr>
            <p:cNvSpPr/>
            <p:nvPr/>
          </p:nvSpPr>
          <p:spPr>
            <a:xfrm>
              <a:off x="1640796" y="6593991"/>
              <a:ext cx="136563" cy="160268"/>
            </a:xfrm>
            <a:custGeom>
              <a:avLst/>
              <a:gdLst>
                <a:gd name="connsiteX0" fmla="*/ 36191 w 136563"/>
                <a:gd name="connsiteY0" fmla="*/ 119866 h 160268"/>
                <a:gd name="connsiteX1" fmla="*/ 37943 w 136563"/>
                <a:gd name="connsiteY1" fmla="*/ 115803 h 160268"/>
                <a:gd name="connsiteX2" fmla="*/ 51696 w 136563"/>
                <a:gd name="connsiteY2" fmla="*/ 81700 h 160268"/>
                <a:gd name="connsiteX3" fmla="*/ 65673 w 136563"/>
                <a:gd name="connsiteY3" fmla="*/ 47223 h 160268"/>
                <a:gd name="connsiteX4" fmla="*/ 68356 w 136563"/>
                <a:gd name="connsiteY4" fmla="*/ 41036 h 160268"/>
                <a:gd name="connsiteX5" fmla="*/ 71040 w 136563"/>
                <a:gd name="connsiteY5" fmla="*/ 47261 h 160268"/>
                <a:gd name="connsiteX6" fmla="*/ 84756 w 136563"/>
                <a:gd name="connsiteY6" fmla="*/ 81700 h 160268"/>
                <a:gd name="connsiteX7" fmla="*/ 98546 w 136563"/>
                <a:gd name="connsiteY7" fmla="*/ 115803 h 160268"/>
                <a:gd name="connsiteX8" fmla="*/ 100298 w 136563"/>
                <a:gd name="connsiteY8" fmla="*/ 119866 h 160268"/>
                <a:gd name="connsiteX9" fmla="*/ 118636 w 136563"/>
                <a:gd name="connsiteY9" fmla="*/ 160268 h 160268"/>
                <a:gd name="connsiteX10" fmla="*/ 136563 w 136563"/>
                <a:gd name="connsiteY10" fmla="*/ 160268 h 160268"/>
                <a:gd name="connsiteX11" fmla="*/ 68319 w 136563"/>
                <a:gd name="connsiteY11" fmla="*/ 0 h 160268"/>
                <a:gd name="connsiteX12" fmla="*/ 0 w 136563"/>
                <a:gd name="connsiteY12" fmla="*/ 160268 h 160268"/>
                <a:gd name="connsiteX13" fmla="*/ 18002 w 136563"/>
                <a:gd name="connsiteY13" fmla="*/ 160268 h 160268"/>
                <a:gd name="connsiteX14" fmla="*/ 30488 w 136563"/>
                <a:gd name="connsiteY14" fmla="*/ 132426 h 160268"/>
                <a:gd name="connsiteX15" fmla="*/ 106113 w 136563"/>
                <a:gd name="connsiteY15" fmla="*/ 132426 h 160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6563" h="160268">
                  <a:moveTo>
                    <a:pt x="36191" y="119866"/>
                  </a:moveTo>
                  <a:lnTo>
                    <a:pt x="37943" y="115803"/>
                  </a:lnTo>
                  <a:cubicBezTo>
                    <a:pt x="42452" y="105255"/>
                    <a:pt x="47074" y="93776"/>
                    <a:pt x="51696" y="81700"/>
                  </a:cubicBezTo>
                  <a:cubicBezTo>
                    <a:pt x="56318" y="69624"/>
                    <a:pt x="61088" y="57846"/>
                    <a:pt x="65673" y="47223"/>
                  </a:cubicBezTo>
                  <a:lnTo>
                    <a:pt x="68356" y="41036"/>
                  </a:lnTo>
                  <a:lnTo>
                    <a:pt x="71040" y="47261"/>
                  </a:lnTo>
                  <a:cubicBezTo>
                    <a:pt x="75550" y="57883"/>
                    <a:pt x="80171" y="69624"/>
                    <a:pt x="84756" y="81700"/>
                  </a:cubicBezTo>
                  <a:cubicBezTo>
                    <a:pt x="89340" y="93776"/>
                    <a:pt x="93925" y="105255"/>
                    <a:pt x="98546" y="115803"/>
                  </a:cubicBezTo>
                  <a:lnTo>
                    <a:pt x="100298" y="119866"/>
                  </a:lnTo>
                  <a:close/>
                  <a:moveTo>
                    <a:pt x="118636" y="160268"/>
                  </a:moveTo>
                  <a:lnTo>
                    <a:pt x="136563" y="160268"/>
                  </a:lnTo>
                  <a:lnTo>
                    <a:pt x="68319" y="0"/>
                  </a:lnTo>
                  <a:lnTo>
                    <a:pt x="0" y="160268"/>
                  </a:lnTo>
                  <a:lnTo>
                    <a:pt x="18002" y="160268"/>
                  </a:lnTo>
                  <a:lnTo>
                    <a:pt x="30488" y="132426"/>
                  </a:lnTo>
                  <a:lnTo>
                    <a:pt x="106113" y="132426"/>
                  </a:lnTo>
                  <a:close/>
                </a:path>
              </a:pathLst>
            </a:custGeom>
            <a:solidFill>
              <a:srgbClr val="E2E2E3"/>
            </a:solidFill>
            <a:ln w="3718"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CC770D02-AA55-4F44-B1EE-A7519DCB3915}"/>
                </a:ext>
              </a:extLst>
            </p:cNvPr>
            <p:cNvSpPr/>
            <p:nvPr/>
          </p:nvSpPr>
          <p:spPr>
            <a:xfrm>
              <a:off x="1800505" y="6590487"/>
              <a:ext cx="127208" cy="164070"/>
            </a:xfrm>
            <a:custGeom>
              <a:avLst/>
              <a:gdLst>
                <a:gd name="connsiteX0" fmla="*/ 110436 w 127208"/>
                <a:gd name="connsiteY0" fmla="*/ 119120 h 164070"/>
                <a:gd name="connsiteX1" fmla="*/ 0 w 127208"/>
                <a:gd name="connsiteY1" fmla="*/ 3019 h 164070"/>
                <a:gd name="connsiteX2" fmla="*/ 0 w 127208"/>
                <a:gd name="connsiteY2" fmla="*/ 164070 h 164070"/>
                <a:gd name="connsiteX3" fmla="*/ 16810 w 127208"/>
                <a:gd name="connsiteY3" fmla="*/ 164070 h 164070"/>
                <a:gd name="connsiteX4" fmla="*/ 16810 w 127208"/>
                <a:gd name="connsiteY4" fmla="*/ 44540 h 164070"/>
                <a:gd name="connsiteX5" fmla="*/ 127208 w 127208"/>
                <a:gd name="connsiteY5" fmla="*/ 162244 h 164070"/>
                <a:gd name="connsiteX6" fmla="*/ 127208 w 127208"/>
                <a:gd name="connsiteY6" fmla="*/ 0 h 164070"/>
                <a:gd name="connsiteX7" fmla="*/ 110436 w 127208"/>
                <a:gd name="connsiteY7" fmla="*/ 0 h 164070"/>
                <a:gd name="connsiteX8" fmla="*/ 110436 w 127208"/>
                <a:gd name="connsiteY8" fmla="*/ 119120 h 16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208" h="164070">
                  <a:moveTo>
                    <a:pt x="110436" y="119120"/>
                  </a:moveTo>
                  <a:lnTo>
                    <a:pt x="0" y="3019"/>
                  </a:lnTo>
                  <a:lnTo>
                    <a:pt x="0" y="164070"/>
                  </a:lnTo>
                  <a:lnTo>
                    <a:pt x="16810" y="164070"/>
                  </a:lnTo>
                  <a:lnTo>
                    <a:pt x="16810" y="44540"/>
                  </a:lnTo>
                  <a:lnTo>
                    <a:pt x="127208" y="162244"/>
                  </a:lnTo>
                  <a:lnTo>
                    <a:pt x="127208" y="0"/>
                  </a:lnTo>
                  <a:lnTo>
                    <a:pt x="110436" y="0"/>
                  </a:lnTo>
                  <a:lnTo>
                    <a:pt x="110436" y="119120"/>
                  </a:lnTo>
                  <a:close/>
                </a:path>
              </a:pathLst>
            </a:custGeom>
            <a:solidFill>
              <a:srgbClr val="E2E2E3"/>
            </a:solidFill>
            <a:ln w="3718" cap="flat">
              <a:no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BA3B1237-5055-49A4-8D0D-1CD1A470E21F}"/>
                </a:ext>
              </a:extLst>
            </p:cNvPr>
            <p:cNvSpPr/>
            <p:nvPr/>
          </p:nvSpPr>
          <p:spPr>
            <a:xfrm>
              <a:off x="1956301" y="6590935"/>
              <a:ext cx="120414" cy="163325"/>
            </a:xfrm>
            <a:custGeom>
              <a:avLst/>
              <a:gdLst>
                <a:gd name="connsiteX0" fmla="*/ 64704 w 120414"/>
                <a:gd name="connsiteY0" fmla="*/ 142080 h 163325"/>
                <a:gd name="connsiteX1" fmla="*/ 38912 w 120414"/>
                <a:gd name="connsiteY1" fmla="*/ 146478 h 163325"/>
                <a:gd name="connsiteX2" fmla="*/ 16549 w 120414"/>
                <a:gd name="connsiteY2" fmla="*/ 146478 h 163325"/>
                <a:gd name="connsiteX3" fmla="*/ 16549 w 120414"/>
                <a:gd name="connsiteY3" fmla="*/ 16474 h 163325"/>
                <a:gd name="connsiteX4" fmla="*/ 38539 w 120414"/>
                <a:gd name="connsiteY4" fmla="*/ 16474 h 163325"/>
                <a:gd name="connsiteX5" fmla="*/ 64629 w 120414"/>
                <a:gd name="connsiteY5" fmla="*/ 20872 h 163325"/>
                <a:gd name="connsiteX6" fmla="*/ 85650 w 120414"/>
                <a:gd name="connsiteY6" fmla="*/ 34476 h 163325"/>
                <a:gd name="connsiteX7" fmla="*/ 99180 w 120414"/>
                <a:gd name="connsiteY7" fmla="*/ 55535 h 163325"/>
                <a:gd name="connsiteX8" fmla="*/ 103578 w 120414"/>
                <a:gd name="connsiteY8" fmla="*/ 81625 h 163325"/>
                <a:gd name="connsiteX9" fmla="*/ 99180 w 120414"/>
                <a:gd name="connsiteY9" fmla="*/ 107715 h 163325"/>
                <a:gd name="connsiteX10" fmla="*/ 85799 w 120414"/>
                <a:gd name="connsiteY10" fmla="*/ 128811 h 163325"/>
                <a:gd name="connsiteX11" fmla="*/ 64815 w 120414"/>
                <a:gd name="connsiteY11" fmla="*/ 142266 h 163325"/>
                <a:gd name="connsiteX12" fmla="*/ 114983 w 120414"/>
                <a:gd name="connsiteY12" fmla="*/ 113492 h 163325"/>
                <a:gd name="connsiteX13" fmla="*/ 114983 w 120414"/>
                <a:gd name="connsiteY13" fmla="*/ 50130 h 163325"/>
                <a:gd name="connsiteX14" fmla="*/ 98845 w 120414"/>
                <a:gd name="connsiteY14" fmla="*/ 24040 h 163325"/>
                <a:gd name="connsiteX15" fmla="*/ 71487 w 120414"/>
                <a:gd name="connsiteY15" fmla="*/ 6187 h 163325"/>
                <a:gd name="connsiteX16" fmla="*/ 43161 w 120414"/>
                <a:gd name="connsiteY16" fmla="*/ 0 h 163325"/>
                <a:gd name="connsiteX17" fmla="*/ 0 w 120414"/>
                <a:gd name="connsiteY17" fmla="*/ 0 h 163325"/>
                <a:gd name="connsiteX18" fmla="*/ 0 w 120414"/>
                <a:gd name="connsiteY18" fmla="*/ 163325 h 163325"/>
                <a:gd name="connsiteX19" fmla="*/ 38688 w 120414"/>
                <a:gd name="connsiteY19" fmla="*/ 163325 h 163325"/>
                <a:gd name="connsiteX20" fmla="*/ 71487 w 120414"/>
                <a:gd name="connsiteY20" fmla="*/ 156989 h 163325"/>
                <a:gd name="connsiteX21" fmla="*/ 98509 w 120414"/>
                <a:gd name="connsiteY21" fmla="*/ 139322 h 163325"/>
                <a:gd name="connsiteX22" fmla="*/ 114760 w 120414"/>
                <a:gd name="connsiteY22" fmla="*/ 113232 h 16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0414" h="163325">
                  <a:moveTo>
                    <a:pt x="64704" y="142080"/>
                  </a:moveTo>
                  <a:cubicBezTo>
                    <a:pt x="56437" y="145074"/>
                    <a:pt x="47704" y="146564"/>
                    <a:pt x="38912" y="146478"/>
                  </a:cubicBezTo>
                  <a:lnTo>
                    <a:pt x="16549" y="146478"/>
                  </a:lnTo>
                  <a:lnTo>
                    <a:pt x="16549" y="16474"/>
                  </a:lnTo>
                  <a:lnTo>
                    <a:pt x="38539" y="16474"/>
                  </a:lnTo>
                  <a:cubicBezTo>
                    <a:pt x="47428" y="16361"/>
                    <a:pt x="56269" y="17850"/>
                    <a:pt x="64629" y="20872"/>
                  </a:cubicBezTo>
                  <a:cubicBezTo>
                    <a:pt x="72486" y="23938"/>
                    <a:pt x="79635" y="28566"/>
                    <a:pt x="85650" y="34476"/>
                  </a:cubicBezTo>
                  <a:cubicBezTo>
                    <a:pt x="91610" y="40450"/>
                    <a:pt x="96224" y="47630"/>
                    <a:pt x="99180" y="55535"/>
                  </a:cubicBezTo>
                  <a:cubicBezTo>
                    <a:pt x="102195" y="63898"/>
                    <a:pt x="103686" y="72735"/>
                    <a:pt x="103578" y="81625"/>
                  </a:cubicBezTo>
                  <a:cubicBezTo>
                    <a:pt x="103690" y="90516"/>
                    <a:pt x="102203" y="99353"/>
                    <a:pt x="99180" y="107715"/>
                  </a:cubicBezTo>
                  <a:cubicBezTo>
                    <a:pt x="96258" y="115613"/>
                    <a:pt x="91700" y="122803"/>
                    <a:pt x="85799" y="128811"/>
                  </a:cubicBezTo>
                  <a:cubicBezTo>
                    <a:pt x="79855" y="134752"/>
                    <a:pt x="72695" y="139342"/>
                    <a:pt x="64815" y="142266"/>
                  </a:cubicBezTo>
                  <a:moveTo>
                    <a:pt x="114983" y="113492"/>
                  </a:moveTo>
                  <a:cubicBezTo>
                    <a:pt x="122225" y="92993"/>
                    <a:pt x="122225" y="70630"/>
                    <a:pt x="114983" y="50130"/>
                  </a:cubicBezTo>
                  <a:cubicBezTo>
                    <a:pt x="111647" y="40324"/>
                    <a:pt x="106131" y="31404"/>
                    <a:pt x="98845" y="24040"/>
                  </a:cubicBezTo>
                  <a:cubicBezTo>
                    <a:pt x="91036" y="16288"/>
                    <a:pt x="81726" y="10213"/>
                    <a:pt x="71487" y="6187"/>
                  </a:cubicBezTo>
                  <a:cubicBezTo>
                    <a:pt x="62456" y="2562"/>
                    <a:pt x="52881" y="471"/>
                    <a:pt x="43161" y="0"/>
                  </a:cubicBezTo>
                  <a:lnTo>
                    <a:pt x="0" y="0"/>
                  </a:lnTo>
                  <a:lnTo>
                    <a:pt x="0" y="163325"/>
                  </a:lnTo>
                  <a:lnTo>
                    <a:pt x="38688" y="163325"/>
                  </a:lnTo>
                  <a:cubicBezTo>
                    <a:pt x="49929" y="163357"/>
                    <a:pt x="61066" y="161205"/>
                    <a:pt x="71487" y="156989"/>
                  </a:cubicBezTo>
                  <a:cubicBezTo>
                    <a:pt x="81618" y="153032"/>
                    <a:pt x="90820" y="147016"/>
                    <a:pt x="98509" y="139322"/>
                  </a:cubicBezTo>
                  <a:cubicBezTo>
                    <a:pt x="105826" y="131963"/>
                    <a:pt x="111383" y="123044"/>
                    <a:pt x="114760" y="113232"/>
                  </a:cubicBezTo>
                </a:path>
              </a:pathLst>
            </a:custGeom>
            <a:solidFill>
              <a:srgbClr val="E2E2E3"/>
            </a:solidFill>
            <a:ln w="3718" cap="flat">
              <a:noFill/>
              <a:prstDash val="solid"/>
              <a:miter/>
            </a:ln>
          </p:spPr>
          <p:txBody>
            <a:bodyPr rtlCol="0" anchor="ctr"/>
            <a:lstStyle/>
            <a:p>
              <a:endParaRPr lang="en-US" dirty="0"/>
            </a:p>
          </p:txBody>
        </p:sp>
        <p:sp>
          <p:nvSpPr>
            <p:cNvPr id="18" name="Freeform: Shape 17">
              <a:extLst>
                <a:ext uri="{FF2B5EF4-FFF2-40B4-BE49-F238E27FC236}">
                  <a16:creationId xmlns:a16="http://schemas.microsoft.com/office/drawing/2014/main" id="{A7A48502-14EA-4EEF-88AE-8D0F8AA7DDD5}"/>
                </a:ext>
              </a:extLst>
            </p:cNvPr>
            <p:cNvSpPr/>
            <p:nvPr/>
          </p:nvSpPr>
          <p:spPr>
            <a:xfrm>
              <a:off x="370754" y="6588754"/>
              <a:ext cx="167181" cy="167152"/>
            </a:xfrm>
            <a:custGeom>
              <a:avLst/>
              <a:gdLst>
                <a:gd name="connsiteX0" fmla="*/ 48014 w 167181"/>
                <a:gd name="connsiteY0" fmla="*/ 48062 h 167152"/>
                <a:gd name="connsiteX1" fmla="*/ 118646 w 167181"/>
                <a:gd name="connsiteY1" fmla="*/ 47877 h 167152"/>
                <a:gd name="connsiteX2" fmla="*/ 118830 w 167181"/>
                <a:gd name="connsiteY2" fmla="*/ 48062 h 167152"/>
                <a:gd name="connsiteX3" fmla="*/ 133739 w 167181"/>
                <a:gd name="connsiteY3" fmla="*/ 83544 h 167152"/>
                <a:gd name="connsiteX4" fmla="*/ 118830 w 167181"/>
                <a:gd name="connsiteY4" fmla="*/ 119027 h 167152"/>
                <a:gd name="connsiteX5" fmla="*/ 48014 w 167181"/>
                <a:gd name="connsiteY5" fmla="*/ 119027 h 167152"/>
                <a:gd name="connsiteX6" fmla="*/ 33292 w 167181"/>
                <a:gd name="connsiteY6" fmla="*/ 83507 h 167152"/>
                <a:gd name="connsiteX7" fmla="*/ 48014 w 167181"/>
                <a:gd name="connsiteY7" fmla="*/ 48024 h 167152"/>
                <a:gd name="connsiteX8" fmla="*/ 83460 w 167181"/>
                <a:gd name="connsiteY8" fmla="*/ 167108 h 167152"/>
                <a:gd name="connsiteX9" fmla="*/ 142573 w 167181"/>
                <a:gd name="connsiteY9" fmla="*/ 142806 h 167152"/>
                <a:gd name="connsiteX10" fmla="*/ 167172 w 167181"/>
                <a:gd name="connsiteY10" fmla="*/ 83693 h 167152"/>
                <a:gd name="connsiteX11" fmla="*/ 142573 w 167181"/>
                <a:gd name="connsiteY11" fmla="*/ 24543 h 167152"/>
                <a:gd name="connsiteX12" fmla="*/ 24924 w 167181"/>
                <a:gd name="connsiteY12" fmla="*/ 24189 h 167152"/>
                <a:gd name="connsiteX13" fmla="*/ 24533 w 167181"/>
                <a:gd name="connsiteY13" fmla="*/ 24580 h 167152"/>
                <a:gd name="connsiteX14" fmla="*/ 8 w 167181"/>
                <a:gd name="connsiteY14" fmla="*/ 83731 h 167152"/>
                <a:gd name="connsiteX15" fmla="*/ 24533 w 167181"/>
                <a:gd name="connsiteY15" fmla="*/ 142844 h 167152"/>
                <a:gd name="connsiteX16" fmla="*/ 83609 w 167181"/>
                <a:gd name="connsiteY16" fmla="*/ 167145 h 16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7181" h="167152">
                  <a:moveTo>
                    <a:pt x="48014" y="48062"/>
                  </a:moveTo>
                  <a:cubicBezTo>
                    <a:pt x="67467" y="28506"/>
                    <a:pt x="99090" y="28424"/>
                    <a:pt x="118646" y="47877"/>
                  </a:cubicBezTo>
                  <a:cubicBezTo>
                    <a:pt x="118707" y="47938"/>
                    <a:pt x="118769" y="48000"/>
                    <a:pt x="118830" y="48062"/>
                  </a:cubicBezTo>
                  <a:cubicBezTo>
                    <a:pt x="128486" y="57324"/>
                    <a:pt x="133882" y="70166"/>
                    <a:pt x="133739" y="83544"/>
                  </a:cubicBezTo>
                  <a:cubicBezTo>
                    <a:pt x="133931" y="96933"/>
                    <a:pt x="128527" y="109794"/>
                    <a:pt x="118830" y="119027"/>
                  </a:cubicBezTo>
                  <a:cubicBezTo>
                    <a:pt x="99245" y="138511"/>
                    <a:pt x="67599" y="138511"/>
                    <a:pt x="48014" y="119027"/>
                  </a:cubicBezTo>
                  <a:cubicBezTo>
                    <a:pt x="38418" y="109724"/>
                    <a:pt x="33090" y="96871"/>
                    <a:pt x="33292" y="83507"/>
                  </a:cubicBezTo>
                  <a:cubicBezTo>
                    <a:pt x="33145" y="70165"/>
                    <a:pt x="38464" y="57343"/>
                    <a:pt x="48014" y="48024"/>
                  </a:cubicBezTo>
                  <a:moveTo>
                    <a:pt x="83460" y="167108"/>
                  </a:moveTo>
                  <a:cubicBezTo>
                    <a:pt x="105663" y="167458"/>
                    <a:pt x="127035" y="158672"/>
                    <a:pt x="142573" y="142806"/>
                  </a:cubicBezTo>
                  <a:cubicBezTo>
                    <a:pt x="158615" y="127366"/>
                    <a:pt x="167524" y="105957"/>
                    <a:pt x="167172" y="83693"/>
                  </a:cubicBezTo>
                  <a:cubicBezTo>
                    <a:pt x="167485" y="61427"/>
                    <a:pt x="158583" y="40021"/>
                    <a:pt x="142573" y="24543"/>
                  </a:cubicBezTo>
                  <a:cubicBezTo>
                    <a:pt x="110183" y="-8042"/>
                    <a:pt x="57510" y="-8201"/>
                    <a:pt x="24924" y="24189"/>
                  </a:cubicBezTo>
                  <a:cubicBezTo>
                    <a:pt x="24793" y="24319"/>
                    <a:pt x="24663" y="24450"/>
                    <a:pt x="24533" y="24580"/>
                  </a:cubicBezTo>
                  <a:cubicBezTo>
                    <a:pt x="8591" y="40099"/>
                    <a:pt x="-276" y="61485"/>
                    <a:pt x="8" y="83731"/>
                  </a:cubicBezTo>
                  <a:cubicBezTo>
                    <a:pt x="-310" y="105972"/>
                    <a:pt x="8564" y="127360"/>
                    <a:pt x="24533" y="142844"/>
                  </a:cubicBezTo>
                  <a:cubicBezTo>
                    <a:pt x="40084" y="158666"/>
                    <a:pt x="61426" y="167445"/>
                    <a:pt x="83609" y="167145"/>
                  </a:cubicBezTo>
                </a:path>
              </a:pathLst>
            </a:custGeom>
            <a:solidFill>
              <a:srgbClr val="E2E2E3"/>
            </a:solidFill>
            <a:ln w="3718"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CB2758F6-0BE4-4B75-8978-69932601AA40}"/>
                </a:ext>
              </a:extLst>
            </p:cNvPr>
            <p:cNvSpPr/>
            <p:nvPr/>
          </p:nvSpPr>
          <p:spPr>
            <a:xfrm>
              <a:off x="552052" y="6589991"/>
              <a:ext cx="121133" cy="164789"/>
            </a:xfrm>
            <a:custGeom>
              <a:avLst/>
              <a:gdLst>
                <a:gd name="connsiteX0" fmla="*/ 33321 w 121133"/>
                <a:gd name="connsiteY0" fmla="*/ 32848 h 164789"/>
                <a:gd name="connsiteX1" fmla="*/ 51957 w 121133"/>
                <a:gd name="connsiteY1" fmla="*/ 32848 h 164789"/>
                <a:gd name="connsiteX2" fmla="*/ 72382 w 121133"/>
                <a:gd name="connsiteY2" fmla="*/ 39371 h 164789"/>
                <a:gd name="connsiteX3" fmla="*/ 78941 w 121133"/>
                <a:gd name="connsiteY3" fmla="*/ 55211 h 164789"/>
                <a:gd name="connsiteX4" fmla="*/ 56914 w 121133"/>
                <a:gd name="connsiteY4" fmla="*/ 78543 h 164789"/>
                <a:gd name="connsiteX5" fmla="*/ 45732 w 121133"/>
                <a:gd name="connsiteY5" fmla="*/ 78543 h 164789"/>
                <a:gd name="connsiteX6" fmla="*/ 45732 w 121133"/>
                <a:gd name="connsiteY6" fmla="*/ 78543 h 164789"/>
                <a:gd name="connsiteX7" fmla="*/ 33321 w 121133"/>
                <a:gd name="connsiteY7" fmla="*/ 78543 h 164789"/>
                <a:gd name="connsiteX8" fmla="*/ 33321 w 121133"/>
                <a:gd name="connsiteY8" fmla="*/ 164790 h 164789"/>
                <a:gd name="connsiteX9" fmla="*/ 33321 w 121133"/>
                <a:gd name="connsiteY9" fmla="*/ 91924 h 164789"/>
                <a:gd name="connsiteX10" fmla="*/ 80656 w 121133"/>
                <a:gd name="connsiteY10" fmla="*/ 164790 h 164789"/>
                <a:gd name="connsiteX11" fmla="*/ 121133 w 121133"/>
                <a:gd name="connsiteY11" fmla="*/ 164790 h 164789"/>
                <a:gd name="connsiteX12" fmla="*/ 82818 w 121133"/>
                <a:gd name="connsiteY12" fmla="*/ 105155 h 164789"/>
                <a:gd name="connsiteX13" fmla="*/ 102423 w 121133"/>
                <a:gd name="connsiteY13" fmla="*/ 89725 h 164789"/>
                <a:gd name="connsiteX14" fmla="*/ 112859 w 121133"/>
                <a:gd name="connsiteY14" fmla="*/ 58342 h 164789"/>
                <a:gd name="connsiteX15" fmla="*/ 112859 w 121133"/>
                <a:gd name="connsiteY15" fmla="*/ 54205 h 164789"/>
                <a:gd name="connsiteX16" fmla="*/ 96906 w 121133"/>
                <a:gd name="connsiteY16" fmla="*/ 16933 h 164789"/>
                <a:gd name="connsiteX17" fmla="*/ 53746 w 121133"/>
                <a:gd name="connsiteY17" fmla="*/ 12 h 164789"/>
                <a:gd name="connsiteX18" fmla="*/ 0 w 121133"/>
                <a:gd name="connsiteY18" fmla="*/ 12 h 164789"/>
                <a:gd name="connsiteX19" fmla="*/ 0 w 121133"/>
                <a:gd name="connsiteY19" fmla="*/ 164790 h 16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133" h="164789">
                  <a:moveTo>
                    <a:pt x="33321" y="32848"/>
                  </a:moveTo>
                  <a:lnTo>
                    <a:pt x="51957" y="32848"/>
                  </a:lnTo>
                  <a:cubicBezTo>
                    <a:pt x="59325" y="32508"/>
                    <a:pt x="66575" y="34822"/>
                    <a:pt x="72382" y="39371"/>
                  </a:cubicBezTo>
                  <a:cubicBezTo>
                    <a:pt x="76586" y="43570"/>
                    <a:pt x="78945" y="49269"/>
                    <a:pt x="78941" y="55211"/>
                  </a:cubicBezTo>
                  <a:cubicBezTo>
                    <a:pt x="79296" y="67735"/>
                    <a:pt x="69437" y="78178"/>
                    <a:pt x="56914" y="78543"/>
                  </a:cubicBezTo>
                  <a:lnTo>
                    <a:pt x="45732" y="78543"/>
                  </a:lnTo>
                  <a:lnTo>
                    <a:pt x="45732" y="78543"/>
                  </a:lnTo>
                  <a:lnTo>
                    <a:pt x="33321" y="78543"/>
                  </a:lnTo>
                  <a:close/>
                  <a:moveTo>
                    <a:pt x="33321" y="164790"/>
                  </a:moveTo>
                  <a:lnTo>
                    <a:pt x="33321" y="91924"/>
                  </a:lnTo>
                  <a:lnTo>
                    <a:pt x="80656" y="164790"/>
                  </a:lnTo>
                  <a:lnTo>
                    <a:pt x="121133" y="164790"/>
                  </a:lnTo>
                  <a:lnTo>
                    <a:pt x="82818" y="105155"/>
                  </a:lnTo>
                  <a:cubicBezTo>
                    <a:pt x="90932" y="102416"/>
                    <a:pt x="97853" y="96968"/>
                    <a:pt x="102423" y="89725"/>
                  </a:cubicBezTo>
                  <a:cubicBezTo>
                    <a:pt x="109132" y="80630"/>
                    <a:pt x="112784" y="69643"/>
                    <a:pt x="112859" y="58342"/>
                  </a:cubicBezTo>
                  <a:lnTo>
                    <a:pt x="112859" y="54205"/>
                  </a:lnTo>
                  <a:cubicBezTo>
                    <a:pt x="112859" y="35979"/>
                    <a:pt x="106933" y="26810"/>
                    <a:pt x="96906" y="16933"/>
                  </a:cubicBezTo>
                  <a:cubicBezTo>
                    <a:pt x="85337" y="5785"/>
                    <a:pt x="69810" y="-303"/>
                    <a:pt x="53746" y="12"/>
                  </a:cubicBezTo>
                  <a:lnTo>
                    <a:pt x="0" y="12"/>
                  </a:lnTo>
                  <a:lnTo>
                    <a:pt x="0" y="164790"/>
                  </a:lnTo>
                  <a:close/>
                </a:path>
              </a:pathLst>
            </a:custGeom>
            <a:solidFill>
              <a:srgbClr val="E2E2E3"/>
            </a:solidFill>
            <a:ln w="3718" cap="flat">
              <a:noFill/>
              <a:prstDash val="solid"/>
              <a:miter/>
            </a:ln>
          </p:spPr>
          <p:txBody>
            <a:bodyPr rtlCol="0" anchor="ctr"/>
            <a:lstStyle/>
            <a:p>
              <a:endParaRPr lang="en-US" dirty="0"/>
            </a:p>
          </p:txBody>
        </p:sp>
        <p:sp>
          <p:nvSpPr>
            <p:cNvPr id="20" name="Freeform: Shape 19">
              <a:extLst>
                <a:ext uri="{FF2B5EF4-FFF2-40B4-BE49-F238E27FC236}">
                  <a16:creationId xmlns:a16="http://schemas.microsoft.com/office/drawing/2014/main" id="{2376D27C-1D4B-48D2-9AB4-F69793234F08}"/>
                </a:ext>
              </a:extLst>
            </p:cNvPr>
            <p:cNvSpPr/>
            <p:nvPr/>
          </p:nvSpPr>
          <p:spPr>
            <a:xfrm>
              <a:off x="681161" y="6590003"/>
              <a:ext cx="114275" cy="164778"/>
            </a:xfrm>
            <a:custGeom>
              <a:avLst/>
              <a:gdLst>
                <a:gd name="connsiteX0" fmla="*/ 40552 w 114275"/>
                <a:gd name="connsiteY0" fmla="*/ 164778 h 164778"/>
                <a:gd name="connsiteX1" fmla="*/ 73798 w 114275"/>
                <a:gd name="connsiteY1" fmla="*/ 164778 h 164778"/>
                <a:gd name="connsiteX2" fmla="*/ 73798 w 114275"/>
                <a:gd name="connsiteY2" fmla="*/ 32836 h 164778"/>
                <a:gd name="connsiteX3" fmla="*/ 114275 w 114275"/>
                <a:gd name="connsiteY3" fmla="*/ 32836 h 164778"/>
                <a:gd name="connsiteX4" fmla="*/ 114275 w 114275"/>
                <a:gd name="connsiteY4" fmla="*/ 0 h 164778"/>
                <a:gd name="connsiteX5" fmla="*/ 0 w 114275"/>
                <a:gd name="connsiteY5" fmla="*/ 0 h 164778"/>
                <a:gd name="connsiteX6" fmla="*/ 0 w 114275"/>
                <a:gd name="connsiteY6" fmla="*/ 32836 h 164778"/>
                <a:gd name="connsiteX7" fmla="*/ 40552 w 114275"/>
                <a:gd name="connsiteY7" fmla="*/ 32836 h 164778"/>
                <a:gd name="connsiteX8" fmla="*/ 40552 w 114275"/>
                <a:gd name="connsiteY8" fmla="*/ 164778 h 16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275" h="164778">
                  <a:moveTo>
                    <a:pt x="40552" y="164778"/>
                  </a:moveTo>
                  <a:lnTo>
                    <a:pt x="73798" y="164778"/>
                  </a:lnTo>
                  <a:lnTo>
                    <a:pt x="73798" y="32836"/>
                  </a:lnTo>
                  <a:lnTo>
                    <a:pt x="114275" y="32836"/>
                  </a:lnTo>
                  <a:lnTo>
                    <a:pt x="114275" y="0"/>
                  </a:lnTo>
                  <a:lnTo>
                    <a:pt x="0" y="0"/>
                  </a:lnTo>
                  <a:lnTo>
                    <a:pt x="0" y="32836"/>
                  </a:lnTo>
                  <a:lnTo>
                    <a:pt x="40552" y="32836"/>
                  </a:lnTo>
                  <a:lnTo>
                    <a:pt x="40552" y="164778"/>
                  </a:lnTo>
                  <a:close/>
                </a:path>
              </a:pathLst>
            </a:custGeom>
            <a:solidFill>
              <a:srgbClr val="E2E2E3"/>
            </a:solidFill>
            <a:ln w="3718"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91D3FCED-D301-4A0A-AFBA-168D495661C0}"/>
                </a:ext>
              </a:extLst>
            </p:cNvPr>
            <p:cNvSpPr/>
            <p:nvPr/>
          </p:nvSpPr>
          <p:spPr>
            <a:xfrm>
              <a:off x="809749" y="6590003"/>
              <a:ext cx="121095" cy="164778"/>
            </a:xfrm>
            <a:custGeom>
              <a:avLst/>
              <a:gdLst>
                <a:gd name="connsiteX0" fmla="*/ 33023 w 121095"/>
                <a:gd name="connsiteY0" fmla="*/ 98770 h 164778"/>
                <a:gd name="connsiteX1" fmla="*/ 88110 w 121095"/>
                <a:gd name="connsiteY1" fmla="*/ 98770 h 164778"/>
                <a:gd name="connsiteX2" fmla="*/ 88110 w 121095"/>
                <a:gd name="connsiteY2" fmla="*/ 164778 h 164778"/>
                <a:gd name="connsiteX3" fmla="*/ 121096 w 121095"/>
                <a:gd name="connsiteY3" fmla="*/ 164778 h 164778"/>
                <a:gd name="connsiteX4" fmla="*/ 121096 w 121095"/>
                <a:gd name="connsiteY4" fmla="*/ 0 h 164778"/>
                <a:gd name="connsiteX5" fmla="*/ 88110 w 121095"/>
                <a:gd name="connsiteY5" fmla="*/ 0 h 164778"/>
                <a:gd name="connsiteX6" fmla="*/ 88110 w 121095"/>
                <a:gd name="connsiteY6" fmla="*/ 65934 h 164778"/>
                <a:gd name="connsiteX7" fmla="*/ 33023 w 121095"/>
                <a:gd name="connsiteY7" fmla="*/ 65934 h 164778"/>
                <a:gd name="connsiteX8" fmla="*/ 33023 w 121095"/>
                <a:gd name="connsiteY8" fmla="*/ 0 h 164778"/>
                <a:gd name="connsiteX9" fmla="*/ 0 w 121095"/>
                <a:gd name="connsiteY9" fmla="*/ 0 h 164778"/>
                <a:gd name="connsiteX10" fmla="*/ 0 w 121095"/>
                <a:gd name="connsiteY10" fmla="*/ 164778 h 164778"/>
                <a:gd name="connsiteX11" fmla="*/ 33023 w 121095"/>
                <a:gd name="connsiteY11" fmla="*/ 164778 h 164778"/>
                <a:gd name="connsiteX12" fmla="*/ 33023 w 121095"/>
                <a:gd name="connsiteY12" fmla="*/ 98770 h 16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095" h="164778">
                  <a:moveTo>
                    <a:pt x="33023" y="98770"/>
                  </a:moveTo>
                  <a:lnTo>
                    <a:pt x="88110" y="98770"/>
                  </a:lnTo>
                  <a:lnTo>
                    <a:pt x="88110" y="164778"/>
                  </a:lnTo>
                  <a:lnTo>
                    <a:pt x="121096" y="164778"/>
                  </a:lnTo>
                  <a:lnTo>
                    <a:pt x="121096" y="0"/>
                  </a:lnTo>
                  <a:lnTo>
                    <a:pt x="88110" y="0"/>
                  </a:lnTo>
                  <a:lnTo>
                    <a:pt x="88110" y="65934"/>
                  </a:lnTo>
                  <a:lnTo>
                    <a:pt x="33023" y="65934"/>
                  </a:lnTo>
                  <a:lnTo>
                    <a:pt x="33023" y="0"/>
                  </a:lnTo>
                  <a:lnTo>
                    <a:pt x="0" y="0"/>
                  </a:lnTo>
                  <a:lnTo>
                    <a:pt x="0" y="164778"/>
                  </a:lnTo>
                  <a:lnTo>
                    <a:pt x="33023" y="164778"/>
                  </a:lnTo>
                  <a:lnTo>
                    <a:pt x="33023" y="98770"/>
                  </a:lnTo>
                  <a:close/>
                </a:path>
              </a:pathLst>
            </a:custGeom>
            <a:solidFill>
              <a:srgbClr val="E2E2E3"/>
            </a:solidFill>
            <a:ln w="3718"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DFC272E1-3680-4AD3-9F53-18B0E12A9C38}"/>
                </a:ext>
              </a:extLst>
            </p:cNvPr>
            <p:cNvSpPr/>
            <p:nvPr/>
          </p:nvSpPr>
          <p:spPr>
            <a:xfrm>
              <a:off x="223838" y="6589593"/>
              <a:ext cx="132463" cy="168580"/>
            </a:xfrm>
            <a:custGeom>
              <a:avLst/>
              <a:gdLst>
                <a:gd name="connsiteX0" fmla="*/ 0 w 132463"/>
                <a:gd name="connsiteY0" fmla="*/ 165412 h 168580"/>
                <a:gd name="connsiteX1" fmla="*/ 33097 w 132463"/>
                <a:gd name="connsiteY1" fmla="*/ 165412 h 168580"/>
                <a:gd name="connsiteX2" fmla="*/ 33097 w 132463"/>
                <a:gd name="connsiteY2" fmla="*/ 73910 h 168580"/>
                <a:gd name="connsiteX3" fmla="*/ 132464 w 132463"/>
                <a:gd name="connsiteY3" fmla="*/ 168580 h 168580"/>
                <a:gd name="connsiteX4" fmla="*/ 132464 w 132463"/>
                <a:gd name="connsiteY4" fmla="*/ 0 h 168580"/>
                <a:gd name="connsiteX5" fmla="*/ 99255 w 132463"/>
                <a:gd name="connsiteY5" fmla="*/ 0 h 168580"/>
                <a:gd name="connsiteX6" fmla="*/ 99255 w 132463"/>
                <a:gd name="connsiteY6" fmla="*/ 91502 h 168580"/>
                <a:gd name="connsiteX7" fmla="*/ 48490 w 132463"/>
                <a:gd name="connsiteY7" fmla="*/ 43161 h 168580"/>
                <a:gd name="connsiteX8" fmla="*/ 0 w 132463"/>
                <a:gd name="connsiteY8" fmla="*/ 91651 h 168580"/>
                <a:gd name="connsiteX9" fmla="*/ 0 w 132463"/>
                <a:gd name="connsiteY9" fmla="*/ 165412 h 16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463" h="168580">
                  <a:moveTo>
                    <a:pt x="0" y="165412"/>
                  </a:moveTo>
                  <a:lnTo>
                    <a:pt x="33097" y="165412"/>
                  </a:lnTo>
                  <a:lnTo>
                    <a:pt x="33097" y="73910"/>
                  </a:lnTo>
                  <a:lnTo>
                    <a:pt x="132464" y="168580"/>
                  </a:lnTo>
                  <a:lnTo>
                    <a:pt x="132464" y="0"/>
                  </a:lnTo>
                  <a:lnTo>
                    <a:pt x="99255" y="0"/>
                  </a:lnTo>
                  <a:lnTo>
                    <a:pt x="99255" y="91502"/>
                  </a:lnTo>
                  <a:lnTo>
                    <a:pt x="48490" y="43161"/>
                  </a:lnTo>
                  <a:lnTo>
                    <a:pt x="0" y="91651"/>
                  </a:lnTo>
                  <a:lnTo>
                    <a:pt x="0" y="165412"/>
                  </a:lnTo>
                  <a:close/>
                </a:path>
              </a:pathLst>
            </a:custGeom>
            <a:solidFill>
              <a:srgbClr val="E2E2E3"/>
            </a:solidFill>
            <a:ln w="3718" cap="flat">
              <a:no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38DE54ED-250F-4D85-9846-B532C0AA0789}"/>
                </a:ext>
              </a:extLst>
            </p:cNvPr>
            <p:cNvSpPr/>
            <p:nvPr/>
          </p:nvSpPr>
          <p:spPr>
            <a:xfrm>
              <a:off x="223838" y="6586537"/>
              <a:ext cx="48490" cy="94707"/>
            </a:xfrm>
            <a:custGeom>
              <a:avLst/>
              <a:gdLst>
                <a:gd name="connsiteX0" fmla="*/ 0 w 48490"/>
                <a:gd name="connsiteY0" fmla="*/ 94707 h 94707"/>
                <a:gd name="connsiteX1" fmla="*/ 48490 w 48490"/>
                <a:gd name="connsiteY1" fmla="*/ 46180 h 94707"/>
                <a:gd name="connsiteX2" fmla="*/ 0 w 48490"/>
                <a:gd name="connsiteY2" fmla="*/ 0 h 94707"/>
                <a:gd name="connsiteX3" fmla="*/ 0 w 48490"/>
                <a:gd name="connsiteY3" fmla="*/ 94707 h 94707"/>
              </a:gdLst>
              <a:ahLst/>
              <a:cxnLst>
                <a:cxn ang="0">
                  <a:pos x="connsiteX0" y="connsiteY0"/>
                </a:cxn>
                <a:cxn ang="0">
                  <a:pos x="connsiteX1" y="connsiteY1"/>
                </a:cxn>
                <a:cxn ang="0">
                  <a:pos x="connsiteX2" y="connsiteY2"/>
                </a:cxn>
                <a:cxn ang="0">
                  <a:pos x="connsiteX3" y="connsiteY3"/>
                </a:cxn>
              </a:cxnLst>
              <a:rect l="l" t="t" r="r" b="b"/>
              <a:pathLst>
                <a:path w="48490" h="94707">
                  <a:moveTo>
                    <a:pt x="0" y="94707"/>
                  </a:moveTo>
                  <a:lnTo>
                    <a:pt x="48490" y="46180"/>
                  </a:lnTo>
                  <a:lnTo>
                    <a:pt x="0" y="0"/>
                  </a:lnTo>
                  <a:lnTo>
                    <a:pt x="0" y="94707"/>
                  </a:lnTo>
                  <a:close/>
                </a:path>
              </a:pathLst>
            </a:custGeom>
            <a:solidFill>
              <a:srgbClr val="E2E2E3"/>
            </a:solidFill>
            <a:ln w="3718"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1307196031"/>
      </p:ext>
    </p:extLst>
  </p:cSld>
  <p:clrMapOvr>
    <a:overrideClrMapping bg1="dk1" tx1="lt1" bg2="dk2" tx2="lt2" accent1="accent1" accent2="accent2" accent3="accent3" accent4="accent4" accent5="accent5" accent6="accent6" hlink="hlink" folHlink="folHlink"/>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1_Subsection Divider Grey">
    <p:bg>
      <p:bgPr>
        <a:solidFill>
          <a:schemeClr val="accent4"/>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5023233-F6FC-4927-94AC-4F8681FC8475}"/>
              </a:ext>
            </a:extLst>
          </p:cNvPr>
          <p:cNvSpPr>
            <a:spLocks noGrp="1"/>
          </p:cNvSpPr>
          <p:nvPr>
            <p:ph type="body" sz="quarter" idx="21" hasCustomPrompt="1"/>
          </p:nvPr>
        </p:nvSpPr>
        <p:spPr>
          <a:xfrm>
            <a:off x="2714625" y="1828800"/>
            <a:ext cx="6762750" cy="3200400"/>
          </a:xfrm>
          <a:ln>
            <a:solidFill>
              <a:schemeClr val="tx1"/>
            </a:solidFill>
          </a:ln>
        </p:spPr>
        <p:txBody>
          <a:bodyPr/>
          <a:lstStyle>
            <a:lvl1pPr>
              <a:defRPr/>
            </a:lvl1pPr>
          </a:lstStyle>
          <a:p>
            <a:pPr lvl="0"/>
            <a:r>
              <a:rPr lang="en-US"/>
              <a:t> </a:t>
            </a:r>
          </a:p>
        </p:txBody>
      </p:sp>
      <p:sp>
        <p:nvSpPr>
          <p:cNvPr id="66" name="Text Placeholder 43">
            <a:extLst>
              <a:ext uri="{FF2B5EF4-FFF2-40B4-BE49-F238E27FC236}">
                <a16:creationId xmlns:a16="http://schemas.microsoft.com/office/drawing/2014/main" id="{B71C1A23-9EDF-4C92-98F1-0130A7178B36}"/>
              </a:ext>
            </a:extLst>
          </p:cNvPr>
          <p:cNvSpPr>
            <a:spLocks noGrp="1"/>
          </p:cNvSpPr>
          <p:nvPr>
            <p:ph type="body" sz="quarter" idx="27" hasCustomPrompt="1"/>
          </p:nvPr>
        </p:nvSpPr>
        <p:spPr>
          <a:xfrm>
            <a:off x="2714625" y="1828800"/>
            <a:ext cx="272115" cy="272115"/>
          </a:xfrm>
          <a:custGeom>
            <a:avLst/>
            <a:gdLst>
              <a:gd name="connsiteX0" fmla="*/ 0 w 272115"/>
              <a:gd name="connsiteY0" fmla="*/ 0 h 272115"/>
              <a:gd name="connsiteX1" fmla="*/ 272115 w 272115"/>
              <a:gd name="connsiteY1" fmla="*/ 0 h 272115"/>
              <a:gd name="connsiteX2" fmla="*/ 0 w 272115"/>
              <a:gd name="connsiteY2" fmla="*/ 272115 h 272115"/>
            </a:gdLst>
            <a:ahLst/>
            <a:cxnLst>
              <a:cxn ang="0">
                <a:pos x="connsiteX0" y="connsiteY0"/>
              </a:cxn>
              <a:cxn ang="0">
                <a:pos x="connsiteX1" y="connsiteY1"/>
              </a:cxn>
              <a:cxn ang="0">
                <a:pos x="connsiteX2" y="connsiteY2"/>
              </a:cxn>
            </a:cxnLst>
            <a:rect l="l" t="t" r="r" b="b"/>
            <a:pathLst>
              <a:path w="272115" h="272115">
                <a:moveTo>
                  <a:pt x="0" y="0"/>
                </a:moveTo>
                <a:lnTo>
                  <a:pt x="272115" y="0"/>
                </a:lnTo>
                <a:lnTo>
                  <a:pt x="0" y="272115"/>
                </a:lnTo>
                <a:close/>
              </a:path>
            </a:pathLst>
          </a:custGeom>
          <a:solidFill>
            <a:schemeClr val="tx1"/>
          </a:solidFill>
        </p:spPr>
        <p:txBody>
          <a:bodyPr wrap="square">
            <a:noAutofit/>
          </a:bodyPr>
          <a:lstStyle/>
          <a:p>
            <a:pPr lvl="0"/>
            <a:r>
              <a:rPr lang="en-US"/>
              <a:t> </a:t>
            </a:r>
          </a:p>
        </p:txBody>
      </p:sp>
      <p:sp>
        <p:nvSpPr>
          <p:cNvPr id="2" name="Title 1">
            <a:extLst>
              <a:ext uri="{FF2B5EF4-FFF2-40B4-BE49-F238E27FC236}">
                <a16:creationId xmlns:a16="http://schemas.microsoft.com/office/drawing/2014/main" id="{844F0621-2390-4957-AD47-60FDBAA34491}"/>
              </a:ext>
            </a:extLst>
          </p:cNvPr>
          <p:cNvSpPr>
            <a:spLocks noGrp="1"/>
          </p:cNvSpPr>
          <p:nvPr>
            <p:ph type="title" hasCustomPrompt="1"/>
          </p:nvPr>
        </p:nvSpPr>
        <p:spPr>
          <a:xfrm>
            <a:off x="3028950" y="2232661"/>
            <a:ext cx="6134100" cy="2392678"/>
          </a:xfrm>
        </p:spPr>
        <p:txBody>
          <a:bodyPr anchor="ctr"/>
          <a:lstStyle>
            <a:lvl1pPr algn="ctr">
              <a:defRPr sz="2800" b="1">
                <a:solidFill>
                  <a:schemeClr val="tx1"/>
                </a:solidFill>
              </a:defRPr>
            </a:lvl1pPr>
          </a:lstStyle>
          <a:p>
            <a:r>
              <a:rPr lang="en-US"/>
              <a:t>Click to insert section divider name</a:t>
            </a:r>
          </a:p>
        </p:txBody>
      </p:sp>
      <p:sp>
        <p:nvSpPr>
          <p:cNvPr id="36" name="Slide Number Placeholder 4">
            <a:extLst>
              <a:ext uri="{FF2B5EF4-FFF2-40B4-BE49-F238E27FC236}">
                <a16:creationId xmlns:a16="http://schemas.microsoft.com/office/drawing/2014/main" id="{6A3B74FE-6C78-45C8-B9FA-8391A6052964}"/>
              </a:ext>
            </a:extLst>
          </p:cNvPr>
          <p:cNvSpPr>
            <a:spLocks noGrp="1"/>
          </p:cNvSpPr>
          <p:nvPr>
            <p:ph type="sldNum" sz="quarter" idx="12"/>
          </p:nvPr>
        </p:nvSpPr>
        <p:spPr>
          <a:xfrm>
            <a:off x="11610974" y="6538912"/>
            <a:ext cx="445293" cy="263525"/>
          </a:xfrm>
        </p:spPr>
        <p:txBody>
          <a:bodyPr/>
          <a:lstStyle/>
          <a:p>
            <a:fld id="{5034EE70-12A8-400F-8E3D-398CDD8B315D}" type="slidenum">
              <a:rPr lang="en-US" smtClean="0"/>
              <a:pPr/>
              <a:t>‹#›</a:t>
            </a:fld>
            <a:endParaRPr lang="en-US" dirty="0"/>
          </a:p>
        </p:txBody>
      </p:sp>
      <p:sp>
        <p:nvSpPr>
          <p:cNvPr id="49" name="TextBox 48">
            <a:extLst>
              <a:ext uri="{FF2B5EF4-FFF2-40B4-BE49-F238E27FC236}">
                <a16:creationId xmlns:a16="http://schemas.microsoft.com/office/drawing/2014/main" id="{71315377-B799-4E9E-99F8-42F78BAA7BD3}"/>
              </a:ext>
            </a:extLst>
          </p:cNvPr>
          <p:cNvSpPr txBox="1"/>
          <p:nvPr userDrawn="1"/>
        </p:nvSpPr>
        <p:spPr>
          <a:xfrm>
            <a:off x="9817769" y="6576218"/>
            <a:ext cx="1771776" cy="171450"/>
          </a:xfrm>
          <a:prstGeom prst="rect">
            <a:avLst/>
          </a:prstGeom>
          <a:noFill/>
        </p:spPr>
        <p:txBody>
          <a:bodyPr wrap="square" rtlCol="0">
            <a:noAutofit/>
          </a:bodyPr>
          <a:lstStyle/>
          <a:p>
            <a:pPr algn="ctr">
              <a:lnSpc>
                <a:spcPct val="90000"/>
              </a:lnSpc>
              <a:spcAft>
                <a:spcPts val="600"/>
              </a:spcAft>
            </a:pPr>
            <a:r>
              <a:rPr lang="en-US" sz="700" cap="all" spc="10" baseline="0" dirty="0"/>
              <a:t>Proprietary and Confidential</a:t>
            </a:r>
          </a:p>
        </p:txBody>
      </p:sp>
      <p:sp>
        <p:nvSpPr>
          <p:cNvPr id="35" name="Freeform: Shape 34">
            <a:extLst>
              <a:ext uri="{FF2B5EF4-FFF2-40B4-BE49-F238E27FC236}">
                <a16:creationId xmlns:a16="http://schemas.microsoft.com/office/drawing/2014/main" id="{F25C5F94-5CB8-4D8F-9531-B808017F917B}"/>
              </a:ext>
            </a:extLst>
          </p:cNvPr>
          <p:cNvSpPr/>
          <p:nvPr userDrawn="1"/>
        </p:nvSpPr>
        <p:spPr>
          <a:xfrm>
            <a:off x="223837" y="223838"/>
            <a:ext cx="11744326" cy="6262686"/>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dirty="0">
              <a:solidFill>
                <a:schemeClr val="tx1"/>
              </a:solidFill>
            </a:endParaRPr>
          </a:p>
        </p:txBody>
      </p:sp>
      <p:sp>
        <p:nvSpPr>
          <p:cNvPr id="24" name="Footer Placeholder 4">
            <a:extLst>
              <a:ext uri="{FF2B5EF4-FFF2-40B4-BE49-F238E27FC236}">
                <a16:creationId xmlns:a16="http://schemas.microsoft.com/office/drawing/2014/main" id="{8AA76261-3AFF-452D-8EC9-F16F7C0637D3}"/>
              </a:ext>
            </a:extLst>
          </p:cNvPr>
          <p:cNvSpPr>
            <a:spLocks noGrp="1"/>
          </p:cNvSpPr>
          <p:nvPr>
            <p:ph type="ftr" sz="quarter" idx="3"/>
          </p:nvPr>
        </p:nvSpPr>
        <p:spPr>
          <a:xfrm>
            <a:off x="4648200" y="6534150"/>
            <a:ext cx="5169569" cy="263525"/>
          </a:xfrm>
          <a:prstGeom prst="rect">
            <a:avLst/>
          </a:prstGeom>
        </p:spPr>
        <p:txBody>
          <a:bodyPr vert="horz" wrap="square" lIns="91440" tIns="45720" rIns="91440" bIns="45720" rtlCol="0" anchor="ctr">
            <a:noAutofit/>
          </a:bodyPr>
          <a:lstStyle>
            <a:lvl1pPr algn="r">
              <a:lnSpc>
                <a:spcPct val="90000"/>
              </a:lnSpc>
              <a:spcAft>
                <a:spcPts val="600"/>
              </a:spcAft>
              <a:defRPr sz="600">
                <a:solidFill>
                  <a:schemeClr val="tx1"/>
                </a:solidFill>
              </a:defRPr>
            </a:lvl1pPr>
          </a:lstStyle>
          <a:p>
            <a:endParaRPr lang="en-US" sz="600" noProof="0" dirty="0"/>
          </a:p>
        </p:txBody>
      </p:sp>
      <p:grpSp>
        <p:nvGrpSpPr>
          <p:cNvPr id="9" name="Graphic 46">
            <a:extLst>
              <a:ext uri="{FF2B5EF4-FFF2-40B4-BE49-F238E27FC236}">
                <a16:creationId xmlns:a16="http://schemas.microsoft.com/office/drawing/2014/main" id="{D7A7D96B-6D59-44FE-94EE-1DD8258F8272}"/>
              </a:ext>
            </a:extLst>
          </p:cNvPr>
          <p:cNvGrpSpPr/>
          <p:nvPr userDrawn="1"/>
        </p:nvGrpSpPr>
        <p:grpSpPr>
          <a:xfrm>
            <a:off x="223838" y="6586537"/>
            <a:ext cx="1852878" cy="171636"/>
            <a:chOff x="223838" y="6586537"/>
            <a:chExt cx="1852878" cy="171636"/>
          </a:xfrm>
          <a:solidFill>
            <a:srgbClr val="E2E2E3"/>
          </a:solidFill>
        </p:grpSpPr>
        <p:sp>
          <p:nvSpPr>
            <p:cNvPr id="10" name="Freeform: Shape 9">
              <a:extLst>
                <a:ext uri="{FF2B5EF4-FFF2-40B4-BE49-F238E27FC236}">
                  <a16:creationId xmlns:a16="http://schemas.microsoft.com/office/drawing/2014/main" id="{B9DE7E6D-C3BA-43FF-9C7C-A396EA19791A}"/>
                </a:ext>
              </a:extLst>
            </p:cNvPr>
            <p:cNvSpPr/>
            <p:nvPr/>
          </p:nvSpPr>
          <p:spPr>
            <a:xfrm>
              <a:off x="1015600" y="6590823"/>
              <a:ext cx="114610" cy="163250"/>
            </a:xfrm>
            <a:custGeom>
              <a:avLst/>
              <a:gdLst>
                <a:gd name="connsiteX0" fmla="*/ 97913 w 114610"/>
                <a:gd name="connsiteY0" fmla="*/ 163250 h 163250"/>
                <a:gd name="connsiteX1" fmla="*/ 114611 w 114610"/>
                <a:gd name="connsiteY1" fmla="*/ 163250 h 163250"/>
                <a:gd name="connsiteX2" fmla="*/ 114611 w 114610"/>
                <a:gd name="connsiteY2" fmla="*/ 0 h 163250"/>
                <a:gd name="connsiteX3" fmla="*/ 97913 w 114610"/>
                <a:gd name="connsiteY3" fmla="*/ 0 h 163250"/>
                <a:gd name="connsiteX4" fmla="*/ 97913 w 114610"/>
                <a:gd name="connsiteY4" fmla="*/ 73351 h 163250"/>
                <a:gd name="connsiteX5" fmla="*/ 16698 w 114610"/>
                <a:gd name="connsiteY5" fmla="*/ 73351 h 163250"/>
                <a:gd name="connsiteX6" fmla="*/ 16698 w 114610"/>
                <a:gd name="connsiteY6" fmla="*/ 0 h 163250"/>
                <a:gd name="connsiteX7" fmla="*/ 0 w 114610"/>
                <a:gd name="connsiteY7" fmla="*/ 0 h 163250"/>
                <a:gd name="connsiteX8" fmla="*/ 0 w 114610"/>
                <a:gd name="connsiteY8" fmla="*/ 163250 h 163250"/>
                <a:gd name="connsiteX9" fmla="*/ 16698 w 114610"/>
                <a:gd name="connsiteY9" fmla="*/ 163250 h 163250"/>
                <a:gd name="connsiteX10" fmla="*/ 16698 w 114610"/>
                <a:gd name="connsiteY10" fmla="*/ 89937 h 163250"/>
                <a:gd name="connsiteX11" fmla="*/ 97913 w 114610"/>
                <a:gd name="connsiteY11" fmla="*/ 89937 h 163250"/>
                <a:gd name="connsiteX12" fmla="*/ 97913 w 114610"/>
                <a:gd name="connsiteY12" fmla="*/ 16325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610" h="163250">
                  <a:moveTo>
                    <a:pt x="97913" y="163250"/>
                  </a:moveTo>
                  <a:lnTo>
                    <a:pt x="114611" y="163250"/>
                  </a:lnTo>
                  <a:lnTo>
                    <a:pt x="114611" y="0"/>
                  </a:lnTo>
                  <a:lnTo>
                    <a:pt x="97913" y="0"/>
                  </a:lnTo>
                  <a:lnTo>
                    <a:pt x="97913" y="73351"/>
                  </a:lnTo>
                  <a:lnTo>
                    <a:pt x="16698" y="73351"/>
                  </a:lnTo>
                  <a:lnTo>
                    <a:pt x="16698" y="0"/>
                  </a:lnTo>
                  <a:lnTo>
                    <a:pt x="0" y="0"/>
                  </a:lnTo>
                  <a:lnTo>
                    <a:pt x="0" y="163250"/>
                  </a:lnTo>
                  <a:lnTo>
                    <a:pt x="16698" y="163250"/>
                  </a:lnTo>
                  <a:lnTo>
                    <a:pt x="16698" y="89937"/>
                  </a:lnTo>
                  <a:lnTo>
                    <a:pt x="97913" y="89937"/>
                  </a:lnTo>
                  <a:lnTo>
                    <a:pt x="97913" y="163250"/>
                  </a:lnTo>
                  <a:close/>
                </a:path>
              </a:pathLst>
            </a:custGeom>
            <a:solidFill>
              <a:srgbClr val="E2E2E3"/>
            </a:solidFill>
            <a:ln w="3718" cap="flat">
              <a:noFill/>
              <a:prstDash val="solid"/>
              <a:miter/>
            </a:ln>
          </p:spPr>
          <p:txBody>
            <a:bodyPr rtlCol="0" anchor="ctr"/>
            <a:lstStyle/>
            <a:p>
              <a:endParaRPr lang="en-US" dirty="0"/>
            </a:p>
          </p:txBody>
        </p:sp>
        <p:sp>
          <p:nvSpPr>
            <p:cNvPr id="11" name="Freeform: Shape 10">
              <a:extLst>
                <a:ext uri="{FF2B5EF4-FFF2-40B4-BE49-F238E27FC236}">
                  <a16:creationId xmlns:a16="http://schemas.microsoft.com/office/drawing/2014/main" id="{9724B243-6AAD-4DF1-8991-D1421D62827E}"/>
                </a:ext>
              </a:extLst>
            </p:cNvPr>
            <p:cNvSpPr/>
            <p:nvPr/>
          </p:nvSpPr>
          <p:spPr>
            <a:xfrm>
              <a:off x="1158761" y="6590823"/>
              <a:ext cx="16809" cy="163250"/>
            </a:xfrm>
            <a:custGeom>
              <a:avLst/>
              <a:gdLst>
                <a:gd name="connsiteX0" fmla="*/ 0 w 16809"/>
                <a:gd name="connsiteY0" fmla="*/ 0 h 163250"/>
                <a:gd name="connsiteX1" fmla="*/ 16810 w 16809"/>
                <a:gd name="connsiteY1" fmla="*/ 0 h 163250"/>
                <a:gd name="connsiteX2" fmla="*/ 16810 w 16809"/>
                <a:gd name="connsiteY2" fmla="*/ 163250 h 163250"/>
                <a:gd name="connsiteX3" fmla="*/ 0 w 16809"/>
                <a:gd name="connsiteY3" fmla="*/ 163250 h 163250"/>
              </a:gdLst>
              <a:ahLst/>
              <a:cxnLst>
                <a:cxn ang="0">
                  <a:pos x="connsiteX0" y="connsiteY0"/>
                </a:cxn>
                <a:cxn ang="0">
                  <a:pos x="connsiteX1" y="connsiteY1"/>
                </a:cxn>
                <a:cxn ang="0">
                  <a:pos x="connsiteX2" y="connsiteY2"/>
                </a:cxn>
                <a:cxn ang="0">
                  <a:pos x="connsiteX3" y="connsiteY3"/>
                </a:cxn>
              </a:cxnLst>
              <a:rect l="l" t="t" r="r" b="b"/>
              <a:pathLst>
                <a:path w="16809" h="163250">
                  <a:moveTo>
                    <a:pt x="0" y="0"/>
                  </a:moveTo>
                  <a:lnTo>
                    <a:pt x="16810" y="0"/>
                  </a:lnTo>
                  <a:lnTo>
                    <a:pt x="16810" y="163250"/>
                  </a:lnTo>
                  <a:lnTo>
                    <a:pt x="0" y="163250"/>
                  </a:lnTo>
                  <a:close/>
                </a:path>
              </a:pathLst>
            </a:custGeom>
            <a:solidFill>
              <a:srgbClr val="E2E2E3"/>
            </a:solidFill>
            <a:ln w="3718" cap="flat">
              <a:noFill/>
              <a:prstDash val="solid"/>
              <a:miter/>
            </a:ln>
          </p:spPr>
          <p:txBody>
            <a:bodyPr rtlCol="0" anchor="ctr"/>
            <a:lstStyle/>
            <a:p>
              <a:endParaRPr lang="en-US" dirty="0"/>
            </a:p>
          </p:txBody>
        </p:sp>
        <p:sp>
          <p:nvSpPr>
            <p:cNvPr id="12" name="Freeform: Shape 11">
              <a:extLst>
                <a:ext uri="{FF2B5EF4-FFF2-40B4-BE49-F238E27FC236}">
                  <a16:creationId xmlns:a16="http://schemas.microsoft.com/office/drawing/2014/main" id="{8F377E03-6478-4175-91A2-778A1D0450E9}"/>
                </a:ext>
              </a:extLst>
            </p:cNvPr>
            <p:cNvSpPr/>
            <p:nvPr/>
          </p:nvSpPr>
          <p:spPr>
            <a:xfrm>
              <a:off x="1197184" y="6589704"/>
              <a:ext cx="165642" cy="165862"/>
            </a:xfrm>
            <a:custGeom>
              <a:avLst/>
              <a:gdLst>
                <a:gd name="connsiteX0" fmla="*/ 24343 w 165642"/>
                <a:gd name="connsiteY0" fmla="*/ 141596 h 165862"/>
                <a:gd name="connsiteX1" fmla="*/ 114652 w 165642"/>
                <a:gd name="connsiteY1" fmla="*/ 159859 h 165862"/>
                <a:gd name="connsiteX2" fmla="*/ 141600 w 165642"/>
                <a:gd name="connsiteY2" fmla="*/ 141558 h 165862"/>
                <a:gd name="connsiteX3" fmla="*/ 160869 w 165642"/>
                <a:gd name="connsiteY3" fmla="*/ 110996 h 165862"/>
                <a:gd name="connsiteX4" fmla="*/ 165640 w 165642"/>
                <a:gd name="connsiteY4" fmla="*/ 81514 h 165862"/>
                <a:gd name="connsiteX5" fmla="*/ 91283 w 165642"/>
                <a:gd name="connsiteY5" fmla="*/ 81514 h 165862"/>
                <a:gd name="connsiteX6" fmla="*/ 91283 w 165642"/>
                <a:gd name="connsiteY6" fmla="*/ 96720 h 165862"/>
                <a:gd name="connsiteX7" fmla="*/ 149352 w 165642"/>
                <a:gd name="connsiteY7" fmla="*/ 96720 h 165862"/>
                <a:gd name="connsiteX8" fmla="*/ 142606 w 165642"/>
                <a:gd name="connsiteY8" fmla="*/ 110996 h 165862"/>
                <a:gd name="connsiteX9" fmla="*/ 133623 w 165642"/>
                <a:gd name="connsiteY9" fmla="*/ 124935 h 165862"/>
                <a:gd name="connsiteX10" fmla="*/ 121547 w 165642"/>
                <a:gd name="connsiteY10" fmla="*/ 136415 h 165862"/>
                <a:gd name="connsiteX11" fmla="*/ 103471 w 165642"/>
                <a:gd name="connsiteY11" fmla="*/ 145621 h 165862"/>
                <a:gd name="connsiteX12" fmla="*/ 57962 w 165642"/>
                <a:gd name="connsiteY12" fmla="*/ 143944 h 165862"/>
                <a:gd name="connsiteX13" fmla="*/ 36717 w 165642"/>
                <a:gd name="connsiteY13" fmla="*/ 129445 h 165862"/>
                <a:gd name="connsiteX14" fmla="*/ 22330 w 165642"/>
                <a:gd name="connsiteY14" fmla="*/ 108163 h 165862"/>
                <a:gd name="connsiteX15" fmla="*/ 22330 w 165642"/>
                <a:gd name="connsiteY15" fmla="*/ 57734 h 165862"/>
                <a:gd name="connsiteX16" fmla="*/ 36717 w 165642"/>
                <a:gd name="connsiteY16" fmla="*/ 36452 h 165862"/>
                <a:gd name="connsiteX17" fmla="*/ 58036 w 165642"/>
                <a:gd name="connsiteY17" fmla="*/ 21916 h 165862"/>
                <a:gd name="connsiteX18" fmla="*/ 83232 w 165642"/>
                <a:gd name="connsiteY18" fmla="*/ 17034 h 165862"/>
                <a:gd name="connsiteX19" fmla="*/ 108391 w 165642"/>
                <a:gd name="connsiteY19" fmla="*/ 21916 h 165862"/>
                <a:gd name="connsiteX20" fmla="*/ 122106 w 165642"/>
                <a:gd name="connsiteY20" fmla="*/ 29818 h 165862"/>
                <a:gd name="connsiteX21" fmla="*/ 134145 w 165642"/>
                <a:gd name="connsiteY21" fmla="*/ 17704 h 165862"/>
                <a:gd name="connsiteX22" fmla="*/ 129374 w 165642"/>
                <a:gd name="connsiteY22" fmla="*/ 14275 h 165862"/>
                <a:gd name="connsiteX23" fmla="*/ 114988 w 165642"/>
                <a:gd name="connsiteY23" fmla="*/ 6448 h 165862"/>
                <a:gd name="connsiteX24" fmla="*/ 99520 w 165642"/>
                <a:gd name="connsiteY24" fmla="*/ 1640 h 165862"/>
                <a:gd name="connsiteX25" fmla="*/ 82934 w 165642"/>
                <a:gd name="connsiteY25" fmla="*/ 0 h 165862"/>
                <a:gd name="connsiteX26" fmla="*/ 76001 w 165642"/>
                <a:gd name="connsiteY26" fmla="*/ 0 h 165862"/>
                <a:gd name="connsiteX27" fmla="*/ 51104 w 165642"/>
                <a:gd name="connsiteY27" fmla="*/ 5889 h 165862"/>
                <a:gd name="connsiteX28" fmla="*/ 24306 w 165642"/>
                <a:gd name="connsiteY28" fmla="*/ 24264 h 165862"/>
                <a:gd name="connsiteX29" fmla="*/ 6042 w 165642"/>
                <a:gd name="connsiteY29" fmla="*/ 51137 h 165862"/>
                <a:gd name="connsiteX30" fmla="*/ 4 w 165642"/>
                <a:gd name="connsiteY30" fmla="*/ 83042 h 165862"/>
                <a:gd name="connsiteX31" fmla="*/ 6042 w 165642"/>
                <a:gd name="connsiteY31" fmla="*/ 114909 h 165862"/>
                <a:gd name="connsiteX32" fmla="*/ 24268 w 165642"/>
                <a:gd name="connsiteY32" fmla="*/ 141707 h 16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65642" h="165862">
                  <a:moveTo>
                    <a:pt x="24343" y="141596"/>
                  </a:moveTo>
                  <a:cubicBezTo>
                    <a:pt x="48141" y="165094"/>
                    <a:pt x="83594" y="172264"/>
                    <a:pt x="114652" y="159859"/>
                  </a:cubicBezTo>
                  <a:cubicBezTo>
                    <a:pt x="124719" y="155530"/>
                    <a:pt x="133866" y="149319"/>
                    <a:pt x="141600" y="141558"/>
                  </a:cubicBezTo>
                  <a:cubicBezTo>
                    <a:pt x="150347" y="133035"/>
                    <a:pt x="156948" y="122562"/>
                    <a:pt x="160869" y="110996"/>
                  </a:cubicBezTo>
                  <a:cubicBezTo>
                    <a:pt x="164108" y="101507"/>
                    <a:pt x="165722" y="91539"/>
                    <a:pt x="165640" y="81514"/>
                  </a:cubicBezTo>
                  <a:lnTo>
                    <a:pt x="91283" y="81514"/>
                  </a:lnTo>
                  <a:lnTo>
                    <a:pt x="91283" y="96720"/>
                  </a:lnTo>
                  <a:lnTo>
                    <a:pt x="149352" y="96720"/>
                  </a:lnTo>
                  <a:lnTo>
                    <a:pt x="142606" y="110996"/>
                  </a:lnTo>
                  <a:cubicBezTo>
                    <a:pt x="140217" y="116006"/>
                    <a:pt x="137198" y="120690"/>
                    <a:pt x="133623" y="124935"/>
                  </a:cubicBezTo>
                  <a:cubicBezTo>
                    <a:pt x="130083" y="129240"/>
                    <a:pt x="126027" y="133095"/>
                    <a:pt x="121547" y="136415"/>
                  </a:cubicBezTo>
                  <a:cubicBezTo>
                    <a:pt x="116076" y="140470"/>
                    <a:pt x="109967" y="143582"/>
                    <a:pt x="103471" y="145621"/>
                  </a:cubicBezTo>
                  <a:cubicBezTo>
                    <a:pt x="88569" y="150385"/>
                    <a:pt x="72472" y="149792"/>
                    <a:pt x="57962" y="143944"/>
                  </a:cubicBezTo>
                  <a:cubicBezTo>
                    <a:pt x="49975" y="140595"/>
                    <a:pt x="42748" y="135663"/>
                    <a:pt x="36717" y="129445"/>
                  </a:cubicBezTo>
                  <a:cubicBezTo>
                    <a:pt x="30597" y="123344"/>
                    <a:pt x="25711" y="116117"/>
                    <a:pt x="22330" y="108163"/>
                  </a:cubicBezTo>
                  <a:cubicBezTo>
                    <a:pt x="15819" y="91984"/>
                    <a:pt x="15819" y="73913"/>
                    <a:pt x="22330" y="57734"/>
                  </a:cubicBezTo>
                  <a:cubicBezTo>
                    <a:pt x="25729" y="49791"/>
                    <a:pt x="30612" y="42568"/>
                    <a:pt x="36717" y="36452"/>
                  </a:cubicBezTo>
                  <a:cubicBezTo>
                    <a:pt x="42792" y="30244"/>
                    <a:pt x="50038" y="25303"/>
                    <a:pt x="58036" y="21916"/>
                  </a:cubicBezTo>
                  <a:cubicBezTo>
                    <a:pt x="66013" y="18581"/>
                    <a:pt x="74589" y="16919"/>
                    <a:pt x="83232" y="17034"/>
                  </a:cubicBezTo>
                  <a:cubicBezTo>
                    <a:pt x="91861" y="16956"/>
                    <a:pt x="100418" y="18617"/>
                    <a:pt x="108391" y="21916"/>
                  </a:cubicBezTo>
                  <a:cubicBezTo>
                    <a:pt x="113251" y="24012"/>
                    <a:pt x="117854" y="26664"/>
                    <a:pt x="122106" y="29818"/>
                  </a:cubicBezTo>
                  <a:lnTo>
                    <a:pt x="134145" y="17704"/>
                  </a:lnTo>
                  <a:cubicBezTo>
                    <a:pt x="132356" y="16363"/>
                    <a:pt x="130791" y="15244"/>
                    <a:pt x="129374" y="14275"/>
                  </a:cubicBezTo>
                  <a:cubicBezTo>
                    <a:pt x="124820" y="11246"/>
                    <a:pt x="120004" y="8627"/>
                    <a:pt x="114988" y="6448"/>
                  </a:cubicBezTo>
                  <a:cubicBezTo>
                    <a:pt x="110001" y="4347"/>
                    <a:pt x="104820" y="2737"/>
                    <a:pt x="99520" y="1640"/>
                  </a:cubicBezTo>
                  <a:cubicBezTo>
                    <a:pt x="94060" y="534"/>
                    <a:pt x="88502" y="-15"/>
                    <a:pt x="82934" y="0"/>
                  </a:cubicBezTo>
                  <a:lnTo>
                    <a:pt x="76001" y="0"/>
                  </a:lnTo>
                  <a:cubicBezTo>
                    <a:pt x="67440" y="610"/>
                    <a:pt x="59032" y="2598"/>
                    <a:pt x="51104" y="5889"/>
                  </a:cubicBezTo>
                  <a:cubicBezTo>
                    <a:pt x="41022" y="10138"/>
                    <a:pt x="31902" y="16389"/>
                    <a:pt x="24306" y="24264"/>
                  </a:cubicBezTo>
                  <a:cubicBezTo>
                    <a:pt x="16490" y="31918"/>
                    <a:pt x="10284" y="41054"/>
                    <a:pt x="6042" y="51137"/>
                  </a:cubicBezTo>
                  <a:cubicBezTo>
                    <a:pt x="1965" y="61275"/>
                    <a:pt x="-89" y="72114"/>
                    <a:pt x="4" y="83042"/>
                  </a:cubicBezTo>
                  <a:cubicBezTo>
                    <a:pt x="-107" y="93959"/>
                    <a:pt x="1946" y="104789"/>
                    <a:pt x="6042" y="114909"/>
                  </a:cubicBezTo>
                  <a:cubicBezTo>
                    <a:pt x="10206" y="125003"/>
                    <a:pt x="16411" y="134126"/>
                    <a:pt x="24268" y="141707"/>
                  </a:cubicBezTo>
                </a:path>
              </a:pathLst>
            </a:custGeom>
            <a:solidFill>
              <a:srgbClr val="E2E2E3"/>
            </a:solidFill>
            <a:ln w="3718" cap="flat">
              <a:noFill/>
              <a:prstDash val="solid"/>
              <a:miter/>
            </a:ln>
          </p:spPr>
          <p:txBody>
            <a:bodyPr rtlCol="0" anchor="ctr"/>
            <a:lstStyle/>
            <a:p>
              <a:endParaRPr lang="en-US" dirty="0"/>
            </a:p>
          </p:txBody>
        </p:sp>
        <p:sp>
          <p:nvSpPr>
            <p:cNvPr id="13" name="Freeform: Shape 12">
              <a:extLst>
                <a:ext uri="{FF2B5EF4-FFF2-40B4-BE49-F238E27FC236}">
                  <a16:creationId xmlns:a16="http://schemas.microsoft.com/office/drawing/2014/main" id="{C15AD14C-1A0B-48A0-A5CA-2255A5F4BE37}"/>
                </a:ext>
              </a:extLst>
            </p:cNvPr>
            <p:cNvSpPr/>
            <p:nvPr/>
          </p:nvSpPr>
          <p:spPr>
            <a:xfrm>
              <a:off x="1384590" y="6590823"/>
              <a:ext cx="114573" cy="163250"/>
            </a:xfrm>
            <a:custGeom>
              <a:avLst/>
              <a:gdLst>
                <a:gd name="connsiteX0" fmla="*/ 97876 w 114573"/>
                <a:gd name="connsiteY0" fmla="*/ 163250 h 163250"/>
                <a:gd name="connsiteX1" fmla="*/ 114573 w 114573"/>
                <a:gd name="connsiteY1" fmla="*/ 163250 h 163250"/>
                <a:gd name="connsiteX2" fmla="*/ 114573 w 114573"/>
                <a:gd name="connsiteY2" fmla="*/ 0 h 163250"/>
                <a:gd name="connsiteX3" fmla="*/ 97876 w 114573"/>
                <a:gd name="connsiteY3" fmla="*/ 0 h 163250"/>
                <a:gd name="connsiteX4" fmla="*/ 97876 w 114573"/>
                <a:gd name="connsiteY4" fmla="*/ 73351 h 163250"/>
                <a:gd name="connsiteX5" fmla="*/ 16660 w 114573"/>
                <a:gd name="connsiteY5" fmla="*/ 73351 h 163250"/>
                <a:gd name="connsiteX6" fmla="*/ 16660 w 114573"/>
                <a:gd name="connsiteY6" fmla="*/ 0 h 163250"/>
                <a:gd name="connsiteX7" fmla="*/ 0 w 114573"/>
                <a:gd name="connsiteY7" fmla="*/ 0 h 163250"/>
                <a:gd name="connsiteX8" fmla="*/ 0 w 114573"/>
                <a:gd name="connsiteY8" fmla="*/ 163250 h 163250"/>
                <a:gd name="connsiteX9" fmla="*/ 16660 w 114573"/>
                <a:gd name="connsiteY9" fmla="*/ 163250 h 163250"/>
                <a:gd name="connsiteX10" fmla="*/ 16660 w 114573"/>
                <a:gd name="connsiteY10" fmla="*/ 89937 h 163250"/>
                <a:gd name="connsiteX11" fmla="*/ 97876 w 114573"/>
                <a:gd name="connsiteY11" fmla="*/ 89937 h 163250"/>
                <a:gd name="connsiteX12" fmla="*/ 97876 w 114573"/>
                <a:gd name="connsiteY12" fmla="*/ 16325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573" h="163250">
                  <a:moveTo>
                    <a:pt x="97876" y="163250"/>
                  </a:moveTo>
                  <a:lnTo>
                    <a:pt x="114573" y="163250"/>
                  </a:lnTo>
                  <a:lnTo>
                    <a:pt x="114573" y="0"/>
                  </a:lnTo>
                  <a:lnTo>
                    <a:pt x="97876" y="0"/>
                  </a:lnTo>
                  <a:lnTo>
                    <a:pt x="97876" y="73351"/>
                  </a:lnTo>
                  <a:lnTo>
                    <a:pt x="16660" y="73351"/>
                  </a:lnTo>
                  <a:lnTo>
                    <a:pt x="16660" y="0"/>
                  </a:lnTo>
                  <a:lnTo>
                    <a:pt x="0" y="0"/>
                  </a:lnTo>
                  <a:lnTo>
                    <a:pt x="0" y="163250"/>
                  </a:lnTo>
                  <a:lnTo>
                    <a:pt x="16660" y="163250"/>
                  </a:lnTo>
                  <a:lnTo>
                    <a:pt x="16660" y="89937"/>
                  </a:lnTo>
                  <a:lnTo>
                    <a:pt x="97876" y="89937"/>
                  </a:lnTo>
                  <a:lnTo>
                    <a:pt x="97876" y="163250"/>
                  </a:lnTo>
                  <a:close/>
                </a:path>
              </a:pathLst>
            </a:custGeom>
            <a:solidFill>
              <a:srgbClr val="E2E2E3"/>
            </a:solidFill>
            <a:ln w="3718" cap="flat">
              <a:noFill/>
              <a:prstDash val="solid"/>
              <a:miter/>
            </a:ln>
          </p:spPr>
          <p:txBody>
            <a:bodyPr rtlCol="0" anchor="ctr"/>
            <a:lstStyle/>
            <a:p>
              <a:endParaRPr lang="en-US" dirty="0"/>
            </a:p>
          </p:txBody>
        </p:sp>
        <p:sp>
          <p:nvSpPr>
            <p:cNvPr id="14" name="Freeform: Shape 13">
              <a:extLst>
                <a:ext uri="{FF2B5EF4-FFF2-40B4-BE49-F238E27FC236}">
                  <a16:creationId xmlns:a16="http://schemas.microsoft.com/office/drawing/2014/main" id="{653062E4-E07D-449C-86C2-C93E8590DCEE}"/>
                </a:ext>
              </a:extLst>
            </p:cNvPr>
            <p:cNvSpPr/>
            <p:nvPr/>
          </p:nvSpPr>
          <p:spPr>
            <a:xfrm>
              <a:off x="1527751" y="6590823"/>
              <a:ext cx="90346" cy="163250"/>
            </a:xfrm>
            <a:custGeom>
              <a:avLst/>
              <a:gdLst>
                <a:gd name="connsiteX0" fmla="*/ 16810 w 90346"/>
                <a:gd name="connsiteY0" fmla="*/ 0 h 163250"/>
                <a:gd name="connsiteX1" fmla="*/ 0 w 90346"/>
                <a:gd name="connsiteY1" fmla="*/ 0 h 163250"/>
                <a:gd name="connsiteX2" fmla="*/ 0 w 90346"/>
                <a:gd name="connsiteY2" fmla="*/ 163250 h 163250"/>
                <a:gd name="connsiteX3" fmla="*/ 90347 w 90346"/>
                <a:gd name="connsiteY3" fmla="*/ 163250 h 163250"/>
                <a:gd name="connsiteX4" fmla="*/ 90347 w 90346"/>
                <a:gd name="connsiteY4" fmla="*/ 146813 h 163250"/>
                <a:gd name="connsiteX5" fmla="*/ 16810 w 90346"/>
                <a:gd name="connsiteY5" fmla="*/ 146813 h 163250"/>
                <a:gd name="connsiteX6" fmla="*/ 16810 w 90346"/>
                <a:gd name="connsiteY6" fmla="*/ 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346" h="163250">
                  <a:moveTo>
                    <a:pt x="16810" y="0"/>
                  </a:moveTo>
                  <a:lnTo>
                    <a:pt x="0" y="0"/>
                  </a:lnTo>
                  <a:lnTo>
                    <a:pt x="0" y="163250"/>
                  </a:lnTo>
                  <a:lnTo>
                    <a:pt x="90347" y="163250"/>
                  </a:lnTo>
                  <a:lnTo>
                    <a:pt x="90347" y="146813"/>
                  </a:lnTo>
                  <a:lnTo>
                    <a:pt x="16810" y="146813"/>
                  </a:lnTo>
                  <a:lnTo>
                    <a:pt x="16810" y="0"/>
                  </a:lnTo>
                  <a:close/>
                </a:path>
              </a:pathLst>
            </a:custGeom>
            <a:solidFill>
              <a:srgbClr val="E2E2E3"/>
            </a:solidFill>
            <a:ln w="3718"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D17CBDBB-F3DA-4F2B-9559-6B8D3195C973}"/>
                </a:ext>
              </a:extLst>
            </p:cNvPr>
            <p:cNvSpPr/>
            <p:nvPr/>
          </p:nvSpPr>
          <p:spPr>
            <a:xfrm>
              <a:off x="1640796" y="6593991"/>
              <a:ext cx="136563" cy="160268"/>
            </a:xfrm>
            <a:custGeom>
              <a:avLst/>
              <a:gdLst>
                <a:gd name="connsiteX0" fmla="*/ 36191 w 136563"/>
                <a:gd name="connsiteY0" fmla="*/ 119866 h 160268"/>
                <a:gd name="connsiteX1" fmla="*/ 37943 w 136563"/>
                <a:gd name="connsiteY1" fmla="*/ 115803 h 160268"/>
                <a:gd name="connsiteX2" fmla="*/ 51696 w 136563"/>
                <a:gd name="connsiteY2" fmla="*/ 81700 h 160268"/>
                <a:gd name="connsiteX3" fmla="*/ 65673 w 136563"/>
                <a:gd name="connsiteY3" fmla="*/ 47223 h 160268"/>
                <a:gd name="connsiteX4" fmla="*/ 68356 w 136563"/>
                <a:gd name="connsiteY4" fmla="*/ 41036 h 160268"/>
                <a:gd name="connsiteX5" fmla="*/ 71040 w 136563"/>
                <a:gd name="connsiteY5" fmla="*/ 47261 h 160268"/>
                <a:gd name="connsiteX6" fmla="*/ 84756 w 136563"/>
                <a:gd name="connsiteY6" fmla="*/ 81700 h 160268"/>
                <a:gd name="connsiteX7" fmla="*/ 98546 w 136563"/>
                <a:gd name="connsiteY7" fmla="*/ 115803 h 160268"/>
                <a:gd name="connsiteX8" fmla="*/ 100298 w 136563"/>
                <a:gd name="connsiteY8" fmla="*/ 119866 h 160268"/>
                <a:gd name="connsiteX9" fmla="*/ 118636 w 136563"/>
                <a:gd name="connsiteY9" fmla="*/ 160268 h 160268"/>
                <a:gd name="connsiteX10" fmla="*/ 136563 w 136563"/>
                <a:gd name="connsiteY10" fmla="*/ 160268 h 160268"/>
                <a:gd name="connsiteX11" fmla="*/ 68319 w 136563"/>
                <a:gd name="connsiteY11" fmla="*/ 0 h 160268"/>
                <a:gd name="connsiteX12" fmla="*/ 0 w 136563"/>
                <a:gd name="connsiteY12" fmla="*/ 160268 h 160268"/>
                <a:gd name="connsiteX13" fmla="*/ 18002 w 136563"/>
                <a:gd name="connsiteY13" fmla="*/ 160268 h 160268"/>
                <a:gd name="connsiteX14" fmla="*/ 30488 w 136563"/>
                <a:gd name="connsiteY14" fmla="*/ 132426 h 160268"/>
                <a:gd name="connsiteX15" fmla="*/ 106113 w 136563"/>
                <a:gd name="connsiteY15" fmla="*/ 132426 h 160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6563" h="160268">
                  <a:moveTo>
                    <a:pt x="36191" y="119866"/>
                  </a:moveTo>
                  <a:lnTo>
                    <a:pt x="37943" y="115803"/>
                  </a:lnTo>
                  <a:cubicBezTo>
                    <a:pt x="42452" y="105255"/>
                    <a:pt x="47074" y="93776"/>
                    <a:pt x="51696" y="81700"/>
                  </a:cubicBezTo>
                  <a:cubicBezTo>
                    <a:pt x="56318" y="69624"/>
                    <a:pt x="61088" y="57846"/>
                    <a:pt x="65673" y="47223"/>
                  </a:cubicBezTo>
                  <a:lnTo>
                    <a:pt x="68356" y="41036"/>
                  </a:lnTo>
                  <a:lnTo>
                    <a:pt x="71040" y="47261"/>
                  </a:lnTo>
                  <a:cubicBezTo>
                    <a:pt x="75550" y="57883"/>
                    <a:pt x="80171" y="69624"/>
                    <a:pt x="84756" y="81700"/>
                  </a:cubicBezTo>
                  <a:cubicBezTo>
                    <a:pt x="89340" y="93776"/>
                    <a:pt x="93925" y="105255"/>
                    <a:pt x="98546" y="115803"/>
                  </a:cubicBezTo>
                  <a:lnTo>
                    <a:pt x="100298" y="119866"/>
                  </a:lnTo>
                  <a:close/>
                  <a:moveTo>
                    <a:pt x="118636" y="160268"/>
                  </a:moveTo>
                  <a:lnTo>
                    <a:pt x="136563" y="160268"/>
                  </a:lnTo>
                  <a:lnTo>
                    <a:pt x="68319" y="0"/>
                  </a:lnTo>
                  <a:lnTo>
                    <a:pt x="0" y="160268"/>
                  </a:lnTo>
                  <a:lnTo>
                    <a:pt x="18002" y="160268"/>
                  </a:lnTo>
                  <a:lnTo>
                    <a:pt x="30488" y="132426"/>
                  </a:lnTo>
                  <a:lnTo>
                    <a:pt x="106113" y="132426"/>
                  </a:lnTo>
                  <a:close/>
                </a:path>
              </a:pathLst>
            </a:custGeom>
            <a:solidFill>
              <a:srgbClr val="E2E2E3"/>
            </a:solidFill>
            <a:ln w="3718"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F9FC29D7-53E2-4020-958C-2E3B537914EB}"/>
                </a:ext>
              </a:extLst>
            </p:cNvPr>
            <p:cNvSpPr/>
            <p:nvPr/>
          </p:nvSpPr>
          <p:spPr>
            <a:xfrm>
              <a:off x="1800505" y="6590487"/>
              <a:ext cx="127208" cy="164070"/>
            </a:xfrm>
            <a:custGeom>
              <a:avLst/>
              <a:gdLst>
                <a:gd name="connsiteX0" fmla="*/ 110436 w 127208"/>
                <a:gd name="connsiteY0" fmla="*/ 119120 h 164070"/>
                <a:gd name="connsiteX1" fmla="*/ 0 w 127208"/>
                <a:gd name="connsiteY1" fmla="*/ 3019 h 164070"/>
                <a:gd name="connsiteX2" fmla="*/ 0 w 127208"/>
                <a:gd name="connsiteY2" fmla="*/ 164070 h 164070"/>
                <a:gd name="connsiteX3" fmla="*/ 16810 w 127208"/>
                <a:gd name="connsiteY3" fmla="*/ 164070 h 164070"/>
                <a:gd name="connsiteX4" fmla="*/ 16810 w 127208"/>
                <a:gd name="connsiteY4" fmla="*/ 44540 h 164070"/>
                <a:gd name="connsiteX5" fmla="*/ 127208 w 127208"/>
                <a:gd name="connsiteY5" fmla="*/ 162244 h 164070"/>
                <a:gd name="connsiteX6" fmla="*/ 127208 w 127208"/>
                <a:gd name="connsiteY6" fmla="*/ 0 h 164070"/>
                <a:gd name="connsiteX7" fmla="*/ 110436 w 127208"/>
                <a:gd name="connsiteY7" fmla="*/ 0 h 164070"/>
                <a:gd name="connsiteX8" fmla="*/ 110436 w 127208"/>
                <a:gd name="connsiteY8" fmla="*/ 119120 h 16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208" h="164070">
                  <a:moveTo>
                    <a:pt x="110436" y="119120"/>
                  </a:moveTo>
                  <a:lnTo>
                    <a:pt x="0" y="3019"/>
                  </a:lnTo>
                  <a:lnTo>
                    <a:pt x="0" y="164070"/>
                  </a:lnTo>
                  <a:lnTo>
                    <a:pt x="16810" y="164070"/>
                  </a:lnTo>
                  <a:lnTo>
                    <a:pt x="16810" y="44540"/>
                  </a:lnTo>
                  <a:lnTo>
                    <a:pt x="127208" y="162244"/>
                  </a:lnTo>
                  <a:lnTo>
                    <a:pt x="127208" y="0"/>
                  </a:lnTo>
                  <a:lnTo>
                    <a:pt x="110436" y="0"/>
                  </a:lnTo>
                  <a:lnTo>
                    <a:pt x="110436" y="119120"/>
                  </a:lnTo>
                  <a:close/>
                </a:path>
              </a:pathLst>
            </a:custGeom>
            <a:solidFill>
              <a:srgbClr val="E2E2E3"/>
            </a:solidFill>
            <a:ln w="3718" cap="flat">
              <a:no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A1418998-30EC-40FB-9D2E-553D339F35EB}"/>
                </a:ext>
              </a:extLst>
            </p:cNvPr>
            <p:cNvSpPr/>
            <p:nvPr/>
          </p:nvSpPr>
          <p:spPr>
            <a:xfrm>
              <a:off x="1956301" y="6590935"/>
              <a:ext cx="120414" cy="163325"/>
            </a:xfrm>
            <a:custGeom>
              <a:avLst/>
              <a:gdLst>
                <a:gd name="connsiteX0" fmla="*/ 64704 w 120414"/>
                <a:gd name="connsiteY0" fmla="*/ 142080 h 163325"/>
                <a:gd name="connsiteX1" fmla="*/ 38912 w 120414"/>
                <a:gd name="connsiteY1" fmla="*/ 146478 h 163325"/>
                <a:gd name="connsiteX2" fmla="*/ 16549 w 120414"/>
                <a:gd name="connsiteY2" fmla="*/ 146478 h 163325"/>
                <a:gd name="connsiteX3" fmla="*/ 16549 w 120414"/>
                <a:gd name="connsiteY3" fmla="*/ 16474 h 163325"/>
                <a:gd name="connsiteX4" fmla="*/ 38539 w 120414"/>
                <a:gd name="connsiteY4" fmla="*/ 16474 h 163325"/>
                <a:gd name="connsiteX5" fmla="*/ 64629 w 120414"/>
                <a:gd name="connsiteY5" fmla="*/ 20872 h 163325"/>
                <a:gd name="connsiteX6" fmla="*/ 85650 w 120414"/>
                <a:gd name="connsiteY6" fmla="*/ 34476 h 163325"/>
                <a:gd name="connsiteX7" fmla="*/ 99180 w 120414"/>
                <a:gd name="connsiteY7" fmla="*/ 55535 h 163325"/>
                <a:gd name="connsiteX8" fmla="*/ 103578 w 120414"/>
                <a:gd name="connsiteY8" fmla="*/ 81625 h 163325"/>
                <a:gd name="connsiteX9" fmla="*/ 99180 w 120414"/>
                <a:gd name="connsiteY9" fmla="*/ 107715 h 163325"/>
                <a:gd name="connsiteX10" fmla="*/ 85799 w 120414"/>
                <a:gd name="connsiteY10" fmla="*/ 128811 h 163325"/>
                <a:gd name="connsiteX11" fmla="*/ 64815 w 120414"/>
                <a:gd name="connsiteY11" fmla="*/ 142266 h 163325"/>
                <a:gd name="connsiteX12" fmla="*/ 114983 w 120414"/>
                <a:gd name="connsiteY12" fmla="*/ 113492 h 163325"/>
                <a:gd name="connsiteX13" fmla="*/ 114983 w 120414"/>
                <a:gd name="connsiteY13" fmla="*/ 50130 h 163325"/>
                <a:gd name="connsiteX14" fmla="*/ 98845 w 120414"/>
                <a:gd name="connsiteY14" fmla="*/ 24040 h 163325"/>
                <a:gd name="connsiteX15" fmla="*/ 71487 w 120414"/>
                <a:gd name="connsiteY15" fmla="*/ 6187 h 163325"/>
                <a:gd name="connsiteX16" fmla="*/ 43161 w 120414"/>
                <a:gd name="connsiteY16" fmla="*/ 0 h 163325"/>
                <a:gd name="connsiteX17" fmla="*/ 0 w 120414"/>
                <a:gd name="connsiteY17" fmla="*/ 0 h 163325"/>
                <a:gd name="connsiteX18" fmla="*/ 0 w 120414"/>
                <a:gd name="connsiteY18" fmla="*/ 163325 h 163325"/>
                <a:gd name="connsiteX19" fmla="*/ 38688 w 120414"/>
                <a:gd name="connsiteY19" fmla="*/ 163325 h 163325"/>
                <a:gd name="connsiteX20" fmla="*/ 71487 w 120414"/>
                <a:gd name="connsiteY20" fmla="*/ 156989 h 163325"/>
                <a:gd name="connsiteX21" fmla="*/ 98509 w 120414"/>
                <a:gd name="connsiteY21" fmla="*/ 139322 h 163325"/>
                <a:gd name="connsiteX22" fmla="*/ 114760 w 120414"/>
                <a:gd name="connsiteY22" fmla="*/ 113232 h 16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0414" h="163325">
                  <a:moveTo>
                    <a:pt x="64704" y="142080"/>
                  </a:moveTo>
                  <a:cubicBezTo>
                    <a:pt x="56437" y="145074"/>
                    <a:pt x="47704" y="146564"/>
                    <a:pt x="38912" y="146478"/>
                  </a:cubicBezTo>
                  <a:lnTo>
                    <a:pt x="16549" y="146478"/>
                  </a:lnTo>
                  <a:lnTo>
                    <a:pt x="16549" y="16474"/>
                  </a:lnTo>
                  <a:lnTo>
                    <a:pt x="38539" y="16474"/>
                  </a:lnTo>
                  <a:cubicBezTo>
                    <a:pt x="47428" y="16361"/>
                    <a:pt x="56269" y="17850"/>
                    <a:pt x="64629" y="20872"/>
                  </a:cubicBezTo>
                  <a:cubicBezTo>
                    <a:pt x="72486" y="23938"/>
                    <a:pt x="79635" y="28566"/>
                    <a:pt x="85650" y="34476"/>
                  </a:cubicBezTo>
                  <a:cubicBezTo>
                    <a:pt x="91610" y="40450"/>
                    <a:pt x="96224" y="47630"/>
                    <a:pt x="99180" y="55535"/>
                  </a:cubicBezTo>
                  <a:cubicBezTo>
                    <a:pt x="102195" y="63898"/>
                    <a:pt x="103686" y="72735"/>
                    <a:pt x="103578" y="81625"/>
                  </a:cubicBezTo>
                  <a:cubicBezTo>
                    <a:pt x="103690" y="90516"/>
                    <a:pt x="102203" y="99353"/>
                    <a:pt x="99180" y="107715"/>
                  </a:cubicBezTo>
                  <a:cubicBezTo>
                    <a:pt x="96258" y="115613"/>
                    <a:pt x="91700" y="122803"/>
                    <a:pt x="85799" y="128811"/>
                  </a:cubicBezTo>
                  <a:cubicBezTo>
                    <a:pt x="79855" y="134752"/>
                    <a:pt x="72695" y="139342"/>
                    <a:pt x="64815" y="142266"/>
                  </a:cubicBezTo>
                  <a:moveTo>
                    <a:pt x="114983" y="113492"/>
                  </a:moveTo>
                  <a:cubicBezTo>
                    <a:pt x="122225" y="92993"/>
                    <a:pt x="122225" y="70630"/>
                    <a:pt x="114983" y="50130"/>
                  </a:cubicBezTo>
                  <a:cubicBezTo>
                    <a:pt x="111647" y="40324"/>
                    <a:pt x="106131" y="31404"/>
                    <a:pt x="98845" y="24040"/>
                  </a:cubicBezTo>
                  <a:cubicBezTo>
                    <a:pt x="91036" y="16288"/>
                    <a:pt x="81726" y="10213"/>
                    <a:pt x="71487" y="6187"/>
                  </a:cubicBezTo>
                  <a:cubicBezTo>
                    <a:pt x="62456" y="2562"/>
                    <a:pt x="52881" y="471"/>
                    <a:pt x="43161" y="0"/>
                  </a:cubicBezTo>
                  <a:lnTo>
                    <a:pt x="0" y="0"/>
                  </a:lnTo>
                  <a:lnTo>
                    <a:pt x="0" y="163325"/>
                  </a:lnTo>
                  <a:lnTo>
                    <a:pt x="38688" y="163325"/>
                  </a:lnTo>
                  <a:cubicBezTo>
                    <a:pt x="49929" y="163357"/>
                    <a:pt x="61066" y="161205"/>
                    <a:pt x="71487" y="156989"/>
                  </a:cubicBezTo>
                  <a:cubicBezTo>
                    <a:pt x="81618" y="153032"/>
                    <a:pt x="90820" y="147016"/>
                    <a:pt x="98509" y="139322"/>
                  </a:cubicBezTo>
                  <a:cubicBezTo>
                    <a:pt x="105826" y="131963"/>
                    <a:pt x="111383" y="123044"/>
                    <a:pt x="114760" y="113232"/>
                  </a:cubicBezTo>
                </a:path>
              </a:pathLst>
            </a:custGeom>
            <a:solidFill>
              <a:srgbClr val="E2E2E3"/>
            </a:solidFill>
            <a:ln w="3718" cap="flat">
              <a:noFill/>
              <a:prstDash val="solid"/>
              <a:miter/>
            </a:ln>
          </p:spPr>
          <p:txBody>
            <a:bodyPr rtlCol="0" anchor="ctr"/>
            <a:lstStyle/>
            <a:p>
              <a:endParaRPr lang="en-US" dirty="0"/>
            </a:p>
          </p:txBody>
        </p:sp>
        <p:sp>
          <p:nvSpPr>
            <p:cNvPr id="18" name="Freeform: Shape 17">
              <a:extLst>
                <a:ext uri="{FF2B5EF4-FFF2-40B4-BE49-F238E27FC236}">
                  <a16:creationId xmlns:a16="http://schemas.microsoft.com/office/drawing/2014/main" id="{4A12FEA2-BE6B-4716-BA9C-7A186DBABD0C}"/>
                </a:ext>
              </a:extLst>
            </p:cNvPr>
            <p:cNvSpPr/>
            <p:nvPr/>
          </p:nvSpPr>
          <p:spPr>
            <a:xfrm>
              <a:off x="370754" y="6588754"/>
              <a:ext cx="167181" cy="167152"/>
            </a:xfrm>
            <a:custGeom>
              <a:avLst/>
              <a:gdLst>
                <a:gd name="connsiteX0" fmla="*/ 48014 w 167181"/>
                <a:gd name="connsiteY0" fmla="*/ 48062 h 167152"/>
                <a:gd name="connsiteX1" fmla="*/ 118646 w 167181"/>
                <a:gd name="connsiteY1" fmla="*/ 47877 h 167152"/>
                <a:gd name="connsiteX2" fmla="*/ 118830 w 167181"/>
                <a:gd name="connsiteY2" fmla="*/ 48062 h 167152"/>
                <a:gd name="connsiteX3" fmla="*/ 133739 w 167181"/>
                <a:gd name="connsiteY3" fmla="*/ 83544 h 167152"/>
                <a:gd name="connsiteX4" fmla="*/ 118830 w 167181"/>
                <a:gd name="connsiteY4" fmla="*/ 119027 h 167152"/>
                <a:gd name="connsiteX5" fmla="*/ 48014 w 167181"/>
                <a:gd name="connsiteY5" fmla="*/ 119027 h 167152"/>
                <a:gd name="connsiteX6" fmla="*/ 33292 w 167181"/>
                <a:gd name="connsiteY6" fmla="*/ 83507 h 167152"/>
                <a:gd name="connsiteX7" fmla="*/ 48014 w 167181"/>
                <a:gd name="connsiteY7" fmla="*/ 48024 h 167152"/>
                <a:gd name="connsiteX8" fmla="*/ 83460 w 167181"/>
                <a:gd name="connsiteY8" fmla="*/ 167108 h 167152"/>
                <a:gd name="connsiteX9" fmla="*/ 142573 w 167181"/>
                <a:gd name="connsiteY9" fmla="*/ 142806 h 167152"/>
                <a:gd name="connsiteX10" fmla="*/ 167172 w 167181"/>
                <a:gd name="connsiteY10" fmla="*/ 83693 h 167152"/>
                <a:gd name="connsiteX11" fmla="*/ 142573 w 167181"/>
                <a:gd name="connsiteY11" fmla="*/ 24543 h 167152"/>
                <a:gd name="connsiteX12" fmla="*/ 24924 w 167181"/>
                <a:gd name="connsiteY12" fmla="*/ 24189 h 167152"/>
                <a:gd name="connsiteX13" fmla="*/ 24533 w 167181"/>
                <a:gd name="connsiteY13" fmla="*/ 24580 h 167152"/>
                <a:gd name="connsiteX14" fmla="*/ 8 w 167181"/>
                <a:gd name="connsiteY14" fmla="*/ 83731 h 167152"/>
                <a:gd name="connsiteX15" fmla="*/ 24533 w 167181"/>
                <a:gd name="connsiteY15" fmla="*/ 142844 h 167152"/>
                <a:gd name="connsiteX16" fmla="*/ 83609 w 167181"/>
                <a:gd name="connsiteY16" fmla="*/ 167145 h 16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7181" h="167152">
                  <a:moveTo>
                    <a:pt x="48014" y="48062"/>
                  </a:moveTo>
                  <a:cubicBezTo>
                    <a:pt x="67467" y="28506"/>
                    <a:pt x="99090" y="28424"/>
                    <a:pt x="118646" y="47877"/>
                  </a:cubicBezTo>
                  <a:cubicBezTo>
                    <a:pt x="118707" y="47938"/>
                    <a:pt x="118769" y="48000"/>
                    <a:pt x="118830" y="48062"/>
                  </a:cubicBezTo>
                  <a:cubicBezTo>
                    <a:pt x="128486" y="57324"/>
                    <a:pt x="133882" y="70166"/>
                    <a:pt x="133739" y="83544"/>
                  </a:cubicBezTo>
                  <a:cubicBezTo>
                    <a:pt x="133931" y="96933"/>
                    <a:pt x="128527" y="109794"/>
                    <a:pt x="118830" y="119027"/>
                  </a:cubicBezTo>
                  <a:cubicBezTo>
                    <a:pt x="99245" y="138511"/>
                    <a:pt x="67599" y="138511"/>
                    <a:pt x="48014" y="119027"/>
                  </a:cubicBezTo>
                  <a:cubicBezTo>
                    <a:pt x="38418" y="109724"/>
                    <a:pt x="33090" y="96871"/>
                    <a:pt x="33292" y="83507"/>
                  </a:cubicBezTo>
                  <a:cubicBezTo>
                    <a:pt x="33145" y="70165"/>
                    <a:pt x="38464" y="57343"/>
                    <a:pt x="48014" y="48024"/>
                  </a:cubicBezTo>
                  <a:moveTo>
                    <a:pt x="83460" y="167108"/>
                  </a:moveTo>
                  <a:cubicBezTo>
                    <a:pt x="105663" y="167458"/>
                    <a:pt x="127035" y="158672"/>
                    <a:pt x="142573" y="142806"/>
                  </a:cubicBezTo>
                  <a:cubicBezTo>
                    <a:pt x="158615" y="127366"/>
                    <a:pt x="167524" y="105957"/>
                    <a:pt x="167172" y="83693"/>
                  </a:cubicBezTo>
                  <a:cubicBezTo>
                    <a:pt x="167485" y="61427"/>
                    <a:pt x="158583" y="40021"/>
                    <a:pt x="142573" y="24543"/>
                  </a:cubicBezTo>
                  <a:cubicBezTo>
                    <a:pt x="110183" y="-8042"/>
                    <a:pt x="57510" y="-8201"/>
                    <a:pt x="24924" y="24189"/>
                  </a:cubicBezTo>
                  <a:cubicBezTo>
                    <a:pt x="24793" y="24319"/>
                    <a:pt x="24663" y="24450"/>
                    <a:pt x="24533" y="24580"/>
                  </a:cubicBezTo>
                  <a:cubicBezTo>
                    <a:pt x="8591" y="40099"/>
                    <a:pt x="-276" y="61485"/>
                    <a:pt x="8" y="83731"/>
                  </a:cubicBezTo>
                  <a:cubicBezTo>
                    <a:pt x="-310" y="105972"/>
                    <a:pt x="8564" y="127360"/>
                    <a:pt x="24533" y="142844"/>
                  </a:cubicBezTo>
                  <a:cubicBezTo>
                    <a:pt x="40084" y="158666"/>
                    <a:pt x="61426" y="167445"/>
                    <a:pt x="83609" y="167145"/>
                  </a:cubicBezTo>
                </a:path>
              </a:pathLst>
            </a:custGeom>
            <a:solidFill>
              <a:srgbClr val="E2E2E3"/>
            </a:solidFill>
            <a:ln w="3718"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01668489-0C3E-46CD-83F1-654D575A527F}"/>
                </a:ext>
              </a:extLst>
            </p:cNvPr>
            <p:cNvSpPr/>
            <p:nvPr/>
          </p:nvSpPr>
          <p:spPr>
            <a:xfrm>
              <a:off x="552052" y="6589991"/>
              <a:ext cx="121133" cy="164789"/>
            </a:xfrm>
            <a:custGeom>
              <a:avLst/>
              <a:gdLst>
                <a:gd name="connsiteX0" fmla="*/ 33321 w 121133"/>
                <a:gd name="connsiteY0" fmla="*/ 32848 h 164789"/>
                <a:gd name="connsiteX1" fmla="*/ 51957 w 121133"/>
                <a:gd name="connsiteY1" fmla="*/ 32848 h 164789"/>
                <a:gd name="connsiteX2" fmla="*/ 72382 w 121133"/>
                <a:gd name="connsiteY2" fmla="*/ 39371 h 164789"/>
                <a:gd name="connsiteX3" fmla="*/ 78941 w 121133"/>
                <a:gd name="connsiteY3" fmla="*/ 55211 h 164789"/>
                <a:gd name="connsiteX4" fmla="*/ 56914 w 121133"/>
                <a:gd name="connsiteY4" fmla="*/ 78543 h 164789"/>
                <a:gd name="connsiteX5" fmla="*/ 45732 w 121133"/>
                <a:gd name="connsiteY5" fmla="*/ 78543 h 164789"/>
                <a:gd name="connsiteX6" fmla="*/ 45732 w 121133"/>
                <a:gd name="connsiteY6" fmla="*/ 78543 h 164789"/>
                <a:gd name="connsiteX7" fmla="*/ 33321 w 121133"/>
                <a:gd name="connsiteY7" fmla="*/ 78543 h 164789"/>
                <a:gd name="connsiteX8" fmla="*/ 33321 w 121133"/>
                <a:gd name="connsiteY8" fmla="*/ 164790 h 164789"/>
                <a:gd name="connsiteX9" fmla="*/ 33321 w 121133"/>
                <a:gd name="connsiteY9" fmla="*/ 91924 h 164789"/>
                <a:gd name="connsiteX10" fmla="*/ 80656 w 121133"/>
                <a:gd name="connsiteY10" fmla="*/ 164790 h 164789"/>
                <a:gd name="connsiteX11" fmla="*/ 121133 w 121133"/>
                <a:gd name="connsiteY11" fmla="*/ 164790 h 164789"/>
                <a:gd name="connsiteX12" fmla="*/ 82818 w 121133"/>
                <a:gd name="connsiteY12" fmla="*/ 105155 h 164789"/>
                <a:gd name="connsiteX13" fmla="*/ 102423 w 121133"/>
                <a:gd name="connsiteY13" fmla="*/ 89725 h 164789"/>
                <a:gd name="connsiteX14" fmla="*/ 112859 w 121133"/>
                <a:gd name="connsiteY14" fmla="*/ 58342 h 164789"/>
                <a:gd name="connsiteX15" fmla="*/ 112859 w 121133"/>
                <a:gd name="connsiteY15" fmla="*/ 54205 h 164789"/>
                <a:gd name="connsiteX16" fmla="*/ 96906 w 121133"/>
                <a:gd name="connsiteY16" fmla="*/ 16933 h 164789"/>
                <a:gd name="connsiteX17" fmla="*/ 53746 w 121133"/>
                <a:gd name="connsiteY17" fmla="*/ 12 h 164789"/>
                <a:gd name="connsiteX18" fmla="*/ 0 w 121133"/>
                <a:gd name="connsiteY18" fmla="*/ 12 h 164789"/>
                <a:gd name="connsiteX19" fmla="*/ 0 w 121133"/>
                <a:gd name="connsiteY19" fmla="*/ 164790 h 16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133" h="164789">
                  <a:moveTo>
                    <a:pt x="33321" y="32848"/>
                  </a:moveTo>
                  <a:lnTo>
                    <a:pt x="51957" y="32848"/>
                  </a:lnTo>
                  <a:cubicBezTo>
                    <a:pt x="59325" y="32508"/>
                    <a:pt x="66575" y="34822"/>
                    <a:pt x="72382" y="39371"/>
                  </a:cubicBezTo>
                  <a:cubicBezTo>
                    <a:pt x="76586" y="43570"/>
                    <a:pt x="78945" y="49269"/>
                    <a:pt x="78941" y="55211"/>
                  </a:cubicBezTo>
                  <a:cubicBezTo>
                    <a:pt x="79296" y="67735"/>
                    <a:pt x="69437" y="78178"/>
                    <a:pt x="56914" y="78543"/>
                  </a:cubicBezTo>
                  <a:lnTo>
                    <a:pt x="45732" y="78543"/>
                  </a:lnTo>
                  <a:lnTo>
                    <a:pt x="45732" y="78543"/>
                  </a:lnTo>
                  <a:lnTo>
                    <a:pt x="33321" y="78543"/>
                  </a:lnTo>
                  <a:close/>
                  <a:moveTo>
                    <a:pt x="33321" y="164790"/>
                  </a:moveTo>
                  <a:lnTo>
                    <a:pt x="33321" y="91924"/>
                  </a:lnTo>
                  <a:lnTo>
                    <a:pt x="80656" y="164790"/>
                  </a:lnTo>
                  <a:lnTo>
                    <a:pt x="121133" y="164790"/>
                  </a:lnTo>
                  <a:lnTo>
                    <a:pt x="82818" y="105155"/>
                  </a:lnTo>
                  <a:cubicBezTo>
                    <a:pt x="90932" y="102416"/>
                    <a:pt x="97853" y="96968"/>
                    <a:pt x="102423" y="89725"/>
                  </a:cubicBezTo>
                  <a:cubicBezTo>
                    <a:pt x="109132" y="80630"/>
                    <a:pt x="112784" y="69643"/>
                    <a:pt x="112859" y="58342"/>
                  </a:cubicBezTo>
                  <a:lnTo>
                    <a:pt x="112859" y="54205"/>
                  </a:lnTo>
                  <a:cubicBezTo>
                    <a:pt x="112859" y="35979"/>
                    <a:pt x="106933" y="26810"/>
                    <a:pt x="96906" y="16933"/>
                  </a:cubicBezTo>
                  <a:cubicBezTo>
                    <a:pt x="85337" y="5785"/>
                    <a:pt x="69810" y="-303"/>
                    <a:pt x="53746" y="12"/>
                  </a:cubicBezTo>
                  <a:lnTo>
                    <a:pt x="0" y="12"/>
                  </a:lnTo>
                  <a:lnTo>
                    <a:pt x="0" y="164790"/>
                  </a:lnTo>
                  <a:close/>
                </a:path>
              </a:pathLst>
            </a:custGeom>
            <a:solidFill>
              <a:srgbClr val="E2E2E3"/>
            </a:solidFill>
            <a:ln w="3718" cap="flat">
              <a:noFill/>
              <a:prstDash val="solid"/>
              <a:miter/>
            </a:ln>
          </p:spPr>
          <p:txBody>
            <a:bodyPr rtlCol="0" anchor="ctr"/>
            <a:lstStyle/>
            <a:p>
              <a:endParaRPr lang="en-US" dirty="0"/>
            </a:p>
          </p:txBody>
        </p:sp>
        <p:sp>
          <p:nvSpPr>
            <p:cNvPr id="20" name="Freeform: Shape 19">
              <a:extLst>
                <a:ext uri="{FF2B5EF4-FFF2-40B4-BE49-F238E27FC236}">
                  <a16:creationId xmlns:a16="http://schemas.microsoft.com/office/drawing/2014/main" id="{1FDD86A0-39EC-4FC5-B786-78BFC1A07F1D}"/>
                </a:ext>
              </a:extLst>
            </p:cNvPr>
            <p:cNvSpPr/>
            <p:nvPr/>
          </p:nvSpPr>
          <p:spPr>
            <a:xfrm>
              <a:off x="681161" y="6590003"/>
              <a:ext cx="114275" cy="164778"/>
            </a:xfrm>
            <a:custGeom>
              <a:avLst/>
              <a:gdLst>
                <a:gd name="connsiteX0" fmla="*/ 40552 w 114275"/>
                <a:gd name="connsiteY0" fmla="*/ 164778 h 164778"/>
                <a:gd name="connsiteX1" fmla="*/ 73798 w 114275"/>
                <a:gd name="connsiteY1" fmla="*/ 164778 h 164778"/>
                <a:gd name="connsiteX2" fmla="*/ 73798 w 114275"/>
                <a:gd name="connsiteY2" fmla="*/ 32836 h 164778"/>
                <a:gd name="connsiteX3" fmla="*/ 114275 w 114275"/>
                <a:gd name="connsiteY3" fmla="*/ 32836 h 164778"/>
                <a:gd name="connsiteX4" fmla="*/ 114275 w 114275"/>
                <a:gd name="connsiteY4" fmla="*/ 0 h 164778"/>
                <a:gd name="connsiteX5" fmla="*/ 0 w 114275"/>
                <a:gd name="connsiteY5" fmla="*/ 0 h 164778"/>
                <a:gd name="connsiteX6" fmla="*/ 0 w 114275"/>
                <a:gd name="connsiteY6" fmla="*/ 32836 h 164778"/>
                <a:gd name="connsiteX7" fmla="*/ 40552 w 114275"/>
                <a:gd name="connsiteY7" fmla="*/ 32836 h 164778"/>
                <a:gd name="connsiteX8" fmla="*/ 40552 w 114275"/>
                <a:gd name="connsiteY8" fmla="*/ 164778 h 16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275" h="164778">
                  <a:moveTo>
                    <a:pt x="40552" y="164778"/>
                  </a:moveTo>
                  <a:lnTo>
                    <a:pt x="73798" y="164778"/>
                  </a:lnTo>
                  <a:lnTo>
                    <a:pt x="73798" y="32836"/>
                  </a:lnTo>
                  <a:lnTo>
                    <a:pt x="114275" y="32836"/>
                  </a:lnTo>
                  <a:lnTo>
                    <a:pt x="114275" y="0"/>
                  </a:lnTo>
                  <a:lnTo>
                    <a:pt x="0" y="0"/>
                  </a:lnTo>
                  <a:lnTo>
                    <a:pt x="0" y="32836"/>
                  </a:lnTo>
                  <a:lnTo>
                    <a:pt x="40552" y="32836"/>
                  </a:lnTo>
                  <a:lnTo>
                    <a:pt x="40552" y="164778"/>
                  </a:lnTo>
                  <a:close/>
                </a:path>
              </a:pathLst>
            </a:custGeom>
            <a:solidFill>
              <a:srgbClr val="E2E2E3"/>
            </a:solidFill>
            <a:ln w="3718"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3B0AE477-EBD7-44D2-A997-AC6F35009405}"/>
                </a:ext>
              </a:extLst>
            </p:cNvPr>
            <p:cNvSpPr/>
            <p:nvPr/>
          </p:nvSpPr>
          <p:spPr>
            <a:xfrm>
              <a:off x="809749" y="6590003"/>
              <a:ext cx="121095" cy="164778"/>
            </a:xfrm>
            <a:custGeom>
              <a:avLst/>
              <a:gdLst>
                <a:gd name="connsiteX0" fmla="*/ 33023 w 121095"/>
                <a:gd name="connsiteY0" fmla="*/ 98770 h 164778"/>
                <a:gd name="connsiteX1" fmla="*/ 88110 w 121095"/>
                <a:gd name="connsiteY1" fmla="*/ 98770 h 164778"/>
                <a:gd name="connsiteX2" fmla="*/ 88110 w 121095"/>
                <a:gd name="connsiteY2" fmla="*/ 164778 h 164778"/>
                <a:gd name="connsiteX3" fmla="*/ 121096 w 121095"/>
                <a:gd name="connsiteY3" fmla="*/ 164778 h 164778"/>
                <a:gd name="connsiteX4" fmla="*/ 121096 w 121095"/>
                <a:gd name="connsiteY4" fmla="*/ 0 h 164778"/>
                <a:gd name="connsiteX5" fmla="*/ 88110 w 121095"/>
                <a:gd name="connsiteY5" fmla="*/ 0 h 164778"/>
                <a:gd name="connsiteX6" fmla="*/ 88110 w 121095"/>
                <a:gd name="connsiteY6" fmla="*/ 65934 h 164778"/>
                <a:gd name="connsiteX7" fmla="*/ 33023 w 121095"/>
                <a:gd name="connsiteY7" fmla="*/ 65934 h 164778"/>
                <a:gd name="connsiteX8" fmla="*/ 33023 w 121095"/>
                <a:gd name="connsiteY8" fmla="*/ 0 h 164778"/>
                <a:gd name="connsiteX9" fmla="*/ 0 w 121095"/>
                <a:gd name="connsiteY9" fmla="*/ 0 h 164778"/>
                <a:gd name="connsiteX10" fmla="*/ 0 w 121095"/>
                <a:gd name="connsiteY10" fmla="*/ 164778 h 164778"/>
                <a:gd name="connsiteX11" fmla="*/ 33023 w 121095"/>
                <a:gd name="connsiteY11" fmla="*/ 164778 h 164778"/>
                <a:gd name="connsiteX12" fmla="*/ 33023 w 121095"/>
                <a:gd name="connsiteY12" fmla="*/ 98770 h 16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095" h="164778">
                  <a:moveTo>
                    <a:pt x="33023" y="98770"/>
                  </a:moveTo>
                  <a:lnTo>
                    <a:pt x="88110" y="98770"/>
                  </a:lnTo>
                  <a:lnTo>
                    <a:pt x="88110" y="164778"/>
                  </a:lnTo>
                  <a:lnTo>
                    <a:pt x="121096" y="164778"/>
                  </a:lnTo>
                  <a:lnTo>
                    <a:pt x="121096" y="0"/>
                  </a:lnTo>
                  <a:lnTo>
                    <a:pt x="88110" y="0"/>
                  </a:lnTo>
                  <a:lnTo>
                    <a:pt x="88110" y="65934"/>
                  </a:lnTo>
                  <a:lnTo>
                    <a:pt x="33023" y="65934"/>
                  </a:lnTo>
                  <a:lnTo>
                    <a:pt x="33023" y="0"/>
                  </a:lnTo>
                  <a:lnTo>
                    <a:pt x="0" y="0"/>
                  </a:lnTo>
                  <a:lnTo>
                    <a:pt x="0" y="164778"/>
                  </a:lnTo>
                  <a:lnTo>
                    <a:pt x="33023" y="164778"/>
                  </a:lnTo>
                  <a:lnTo>
                    <a:pt x="33023" y="98770"/>
                  </a:lnTo>
                  <a:close/>
                </a:path>
              </a:pathLst>
            </a:custGeom>
            <a:solidFill>
              <a:srgbClr val="E2E2E3"/>
            </a:solidFill>
            <a:ln w="3718"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5C5EBF9D-7D28-47D7-BE38-64D71938260A}"/>
                </a:ext>
              </a:extLst>
            </p:cNvPr>
            <p:cNvSpPr/>
            <p:nvPr/>
          </p:nvSpPr>
          <p:spPr>
            <a:xfrm>
              <a:off x="223838" y="6589593"/>
              <a:ext cx="132463" cy="168580"/>
            </a:xfrm>
            <a:custGeom>
              <a:avLst/>
              <a:gdLst>
                <a:gd name="connsiteX0" fmla="*/ 0 w 132463"/>
                <a:gd name="connsiteY0" fmla="*/ 165412 h 168580"/>
                <a:gd name="connsiteX1" fmla="*/ 33097 w 132463"/>
                <a:gd name="connsiteY1" fmla="*/ 165412 h 168580"/>
                <a:gd name="connsiteX2" fmla="*/ 33097 w 132463"/>
                <a:gd name="connsiteY2" fmla="*/ 73910 h 168580"/>
                <a:gd name="connsiteX3" fmla="*/ 132464 w 132463"/>
                <a:gd name="connsiteY3" fmla="*/ 168580 h 168580"/>
                <a:gd name="connsiteX4" fmla="*/ 132464 w 132463"/>
                <a:gd name="connsiteY4" fmla="*/ 0 h 168580"/>
                <a:gd name="connsiteX5" fmla="*/ 99255 w 132463"/>
                <a:gd name="connsiteY5" fmla="*/ 0 h 168580"/>
                <a:gd name="connsiteX6" fmla="*/ 99255 w 132463"/>
                <a:gd name="connsiteY6" fmla="*/ 91502 h 168580"/>
                <a:gd name="connsiteX7" fmla="*/ 48490 w 132463"/>
                <a:gd name="connsiteY7" fmla="*/ 43161 h 168580"/>
                <a:gd name="connsiteX8" fmla="*/ 0 w 132463"/>
                <a:gd name="connsiteY8" fmla="*/ 91651 h 168580"/>
                <a:gd name="connsiteX9" fmla="*/ 0 w 132463"/>
                <a:gd name="connsiteY9" fmla="*/ 165412 h 16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463" h="168580">
                  <a:moveTo>
                    <a:pt x="0" y="165412"/>
                  </a:moveTo>
                  <a:lnTo>
                    <a:pt x="33097" y="165412"/>
                  </a:lnTo>
                  <a:lnTo>
                    <a:pt x="33097" y="73910"/>
                  </a:lnTo>
                  <a:lnTo>
                    <a:pt x="132464" y="168580"/>
                  </a:lnTo>
                  <a:lnTo>
                    <a:pt x="132464" y="0"/>
                  </a:lnTo>
                  <a:lnTo>
                    <a:pt x="99255" y="0"/>
                  </a:lnTo>
                  <a:lnTo>
                    <a:pt x="99255" y="91502"/>
                  </a:lnTo>
                  <a:lnTo>
                    <a:pt x="48490" y="43161"/>
                  </a:lnTo>
                  <a:lnTo>
                    <a:pt x="0" y="91651"/>
                  </a:lnTo>
                  <a:lnTo>
                    <a:pt x="0" y="165412"/>
                  </a:lnTo>
                  <a:close/>
                </a:path>
              </a:pathLst>
            </a:custGeom>
            <a:solidFill>
              <a:srgbClr val="E2E2E3"/>
            </a:solidFill>
            <a:ln w="3718" cap="flat">
              <a:no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53835161-DB6D-4906-B508-2BCCEFADAEA0}"/>
                </a:ext>
              </a:extLst>
            </p:cNvPr>
            <p:cNvSpPr/>
            <p:nvPr/>
          </p:nvSpPr>
          <p:spPr>
            <a:xfrm>
              <a:off x="223838" y="6586537"/>
              <a:ext cx="48490" cy="94707"/>
            </a:xfrm>
            <a:custGeom>
              <a:avLst/>
              <a:gdLst>
                <a:gd name="connsiteX0" fmla="*/ 0 w 48490"/>
                <a:gd name="connsiteY0" fmla="*/ 94707 h 94707"/>
                <a:gd name="connsiteX1" fmla="*/ 48490 w 48490"/>
                <a:gd name="connsiteY1" fmla="*/ 46180 h 94707"/>
                <a:gd name="connsiteX2" fmla="*/ 0 w 48490"/>
                <a:gd name="connsiteY2" fmla="*/ 0 h 94707"/>
                <a:gd name="connsiteX3" fmla="*/ 0 w 48490"/>
                <a:gd name="connsiteY3" fmla="*/ 94707 h 94707"/>
              </a:gdLst>
              <a:ahLst/>
              <a:cxnLst>
                <a:cxn ang="0">
                  <a:pos x="connsiteX0" y="connsiteY0"/>
                </a:cxn>
                <a:cxn ang="0">
                  <a:pos x="connsiteX1" y="connsiteY1"/>
                </a:cxn>
                <a:cxn ang="0">
                  <a:pos x="connsiteX2" y="connsiteY2"/>
                </a:cxn>
                <a:cxn ang="0">
                  <a:pos x="connsiteX3" y="connsiteY3"/>
                </a:cxn>
              </a:cxnLst>
              <a:rect l="l" t="t" r="r" b="b"/>
              <a:pathLst>
                <a:path w="48490" h="94707">
                  <a:moveTo>
                    <a:pt x="0" y="94707"/>
                  </a:moveTo>
                  <a:lnTo>
                    <a:pt x="48490" y="46180"/>
                  </a:lnTo>
                  <a:lnTo>
                    <a:pt x="0" y="0"/>
                  </a:lnTo>
                  <a:lnTo>
                    <a:pt x="0" y="94707"/>
                  </a:lnTo>
                  <a:close/>
                </a:path>
              </a:pathLst>
            </a:custGeom>
            <a:solidFill>
              <a:schemeClr val="accent3"/>
            </a:solidFill>
            <a:ln w="3718"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990528005"/>
      </p:ext>
    </p:extLst>
  </p:cSld>
  <p:clrMapOvr>
    <a:overrideClrMapping bg1="dk1" tx1="lt1" bg2="dk2" tx2="lt2" accent1="accent1" accent2="accent2" accent3="accent3" accent4="accent4" accent5="accent5" accent6="accent6" hlink="hlink" folHlink="folHlink"/>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1_Subsection Divider White">
    <p:bg>
      <p:bgRef idx="1001">
        <a:schemeClr val="bg1"/>
      </p:bgRef>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5023233-F6FC-4927-94AC-4F8681FC8475}"/>
              </a:ext>
            </a:extLst>
          </p:cNvPr>
          <p:cNvSpPr>
            <a:spLocks noGrp="1"/>
          </p:cNvSpPr>
          <p:nvPr>
            <p:ph type="body" sz="quarter" idx="21" hasCustomPrompt="1"/>
          </p:nvPr>
        </p:nvSpPr>
        <p:spPr>
          <a:xfrm>
            <a:off x="2714625" y="1828800"/>
            <a:ext cx="6762750" cy="3200400"/>
          </a:xfrm>
          <a:ln>
            <a:solidFill>
              <a:schemeClr val="accent1"/>
            </a:solidFill>
          </a:ln>
        </p:spPr>
        <p:txBody>
          <a:bodyPr/>
          <a:lstStyle>
            <a:lvl1pPr>
              <a:defRPr/>
            </a:lvl1pPr>
          </a:lstStyle>
          <a:p>
            <a:pPr lvl="0"/>
            <a:r>
              <a:rPr lang="en-US"/>
              <a:t> </a:t>
            </a:r>
          </a:p>
        </p:txBody>
      </p:sp>
      <p:sp>
        <p:nvSpPr>
          <p:cNvPr id="66" name="Text Placeholder 43">
            <a:extLst>
              <a:ext uri="{FF2B5EF4-FFF2-40B4-BE49-F238E27FC236}">
                <a16:creationId xmlns:a16="http://schemas.microsoft.com/office/drawing/2014/main" id="{B71C1A23-9EDF-4C92-98F1-0130A7178B36}"/>
              </a:ext>
            </a:extLst>
          </p:cNvPr>
          <p:cNvSpPr>
            <a:spLocks noGrp="1"/>
          </p:cNvSpPr>
          <p:nvPr>
            <p:ph type="body" sz="quarter" idx="27" hasCustomPrompt="1"/>
          </p:nvPr>
        </p:nvSpPr>
        <p:spPr>
          <a:xfrm>
            <a:off x="2714625" y="1828800"/>
            <a:ext cx="272115" cy="272115"/>
          </a:xfrm>
          <a:custGeom>
            <a:avLst/>
            <a:gdLst>
              <a:gd name="connsiteX0" fmla="*/ 0 w 272115"/>
              <a:gd name="connsiteY0" fmla="*/ 0 h 272115"/>
              <a:gd name="connsiteX1" fmla="*/ 272115 w 272115"/>
              <a:gd name="connsiteY1" fmla="*/ 0 h 272115"/>
              <a:gd name="connsiteX2" fmla="*/ 0 w 272115"/>
              <a:gd name="connsiteY2" fmla="*/ 272115 h 272115"/>
            </a:gdLst>
            <a:ahLst/>
            <a:cxnLst>
              <a:cxn ang="0">
                <a:pos x="connsiteX0" y="connsiteY0"/>
              </a:cxn>
              <a:cxn ang="0">
                <a:pos x="connsiteX1" y="connsiteY1"/>
              </a:cxn>
              <a:cxn ang="0">
                <a:pos x="connsiteX2" y="connsiteY2"/>
              </a:cxn>
            </a:cxnLst>
            <a:rect l="l" t="t" r="r" b="b"/>
            <a:pathLst>
              <a:path w="272115" h="272115">
                <a:moveTo>
                  <a:pt x="0" y="0"/>
                </a:moveTo>
                <a:lnTo>
                  <a:pt x="272115" y="0"/>
                </a:lnTo>
                <a:lnTo>
                  <a:pt x="0" y="272115"/>
                </a:lnTo>
                <a:close/>
              </a:path>
            </a:pathLst>
          </a:custGeom>
          <a:solidFill>
            <a:schemeClr val="accent1"/>
          </a:solidFill>
        </p:spPr>
        <p:txBody>
          <a:bodyPr wrap="square">
            <a:noAutofit/>
          </a:bodyPr>
          <a:lstStyle/>
          <a:p>
            <a:pPr lvl="0"/>
            <a:r>
              <a:rPr lang="en-US"/>
              <a:t> </a:t>
            </a:r>
          </a:p>
        </p:txBody>
      </p:sp>
      <p:sp>
        <p:nvSpPr>
          <p:cNvPr id="2" name="Title 1">
            <a:extLst>
              <a:ext uri="{FF2B5EF4-FFF2-40B4-BE49-F238E27FC236}">
                <a16:creationId xmlns:a16="http://schemas.microsoft.com/office/drawing/2014/main" id="{844F0621-2390-4957-AD47-60FDBAA34491}"/>
              </a:ext>
            </a:extLst>
          </p:cNvPr>
          <p:cNvSpPr>
            <a:spLocks noGrp="1"/>
          </p:cNvSpPr>
          <p:nvPr>
            <p:ph type="title" hasCustomPrompt="1"/>
          </p:nvPr>
        </p:nvSpPr>
        <p:spPr>
          <a:xfrm>
            <a:off x="3028950" y="2232661"/>
            <a:ext cx="6134100" cy="2392678"/>
          </a:xfrm>
        </p:spPr>
        <p:txBody>
          <a:bodyPr anchor="ctr"/>
          <a:lstStyle>
            <a:lvl1pPr algn="ctr">
              <a:defRPr sz="2800" b="1">
                <a:solidFill>
                  <a:schemeClr val="accent1"/>
                </a:solidFill>
              </a:defRPr>
            </a:lvl1pPr>
          </a:lstStyle>
          <a:p>
            <a:r>
              <a:rPr lang="en-US"/>
              <a:t>Click to insert section divider name</a:t>
            </a:r>
          </a:p>
        </p:txBody>
      </p:sp>
      <p:sp>
        <p:nvSpPr>
          <p:cNvPr id="5" name="Slide Number Placeholder 4">
            <a:extLst>
              <a:ext uri="{FF2B5EF4-FFF2-40B4-BE49-F238E27FC236}">
                <a16:creationId xmlns:a16="http://schemas.microsoft.com/office/drawing/2014/main" id="{0904D09A-4AE1-41F7-8585-54F9D1A47C7F}"/>
              </a:ext>
            </a:extLst>
          </p:cNvPr>
          <p:cNvSpPr>
            <a:spLocks noGrp="1"/>
          </p:cNvSpPr>
          <p:nvPr>
            <p:ph type="sldNum" sz="quarter" idx="12"/>
          </p:nvPr>
        </p:nvSpPr>
        <p:spPr/>
        <p:txBody>
          <a:bodyPr/>
          <a:lstStyle/>
          <a:p>
            <a:fld id="{5034EE70-12A8-400F-8E3D-398CDD8B315D}" type="slidenum">
              <a:rPr lang="en-US" smtClean="0"/>
              <a:pPr/>
              <a:t>‹#›</a:t>
            </a:fld>
            <a:endParaRPr lang="en-US" dirty="0"/>
          </a:p>
        </p:txBody>
      </p:sp>
      <p:sp>
        <p:nvSpPr>
          <p:cNvPr id="3" name="TextBox 2">
            <a:extLst>
              <a:ext uri="{FF2B5EF4-FFF2-40B4-BE49-F238E27FC236}">
                <a16:creationId xmlns:a16="http://schemas.microsoft.com/office/drawing/2014/main" id="{E5B46E8F-DAF2-41D2-BB62-B2927B4E91F8}"/>
              </a:ext>
            </a:extLst>
          </p:cNvPr>
          <p:cNvSpPr txBox="1"/>
          <p:nvPr userDrawn="1"/>
        </p:nvSpPr>
        <p:spPr>
          <a:xfrm>
            <a:off x="9817769" y="6576218"/>
            <a:ext cx="1771776" cy="171450"/>
          </a:xfrm>
          <a:prstGeom prst="rect">
            <a:avLst/>
          </a:prstGeom>
          <a:noFill/>
        </p:spPr>
        <p:txBody>
          <a:bodyPr wrap="square" rtlCol="0">
            <a:noAutofit/>
          </a:bodyPr>
          <a:lstStyle/>
          <a:p>
            <a:pPr algn="ctr">
              <a:lnSpc>
                <a:spcPct val="90000"/>
              </a:lnSpc>
              <a:spcAft>
                <a:spcPts val="600"/>
              </a:spcAft>
            </a:pPr>
            <a:r>
              <a:rPr lang="en-US" sz="700" cap="all" spc="10" baseline="0" dirty="0"/>
              <a:t>Proprietary and Confidential</a:t>
            </a:r>
          </a:p>
        </p:txBody>
      </p:sp>
      <p:sp>
        <p:nvSpPr>
          <p:cNvPr id="35" name="Freeform: Shape 34">
            <a:extLst>
              <a:ext uri="{FF2B5EF4-FFF2-40B4-BE49-F238E27FC236}">
                <a16:creationId xmlns:a16="http://schemas.microsoft.com/office/drawing/2014/main" id="{21F9D246-D694-4658-85C5-0D9D445FB9E7}"/>
              </a:ext>
            </a:extLst>
          </p:cNvPr>
          <p:cNvSpPr/>
          <p:nvPr userDrawn="1"/>
        </p:nvSpPr>
        <p:spPr>
          <a:xfrm>
            <a:off x="223837" y="223838"/>
            <a:ext cx="11744326" cy="6262686"/>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dirty="0">
              <a:solidFill>
                <a:schemeClr val="tx1"/>
              </a:solidFill>
            </a:endParaRPr>
          </a:p>
        </p:txBody>
      </p:sp>
      <p:sp>
        <p:nvSpPr>
          <p:cNvPr id="10" name="Footer Placeholder 4">
            <a:extLst>
              <a:ext uri="{FF2B5EF4-FFF2-40B4-BE49-F238E27FC236}">
                <a16:creationId xmlns:a16="http://schemas.microsoft.com/office/drawing/2014/main" id="{16FBEB46-0185-43B7-BB6B-9E6ED8B3C16F}"/>
              </a:ext>
            </a:extLst>
          </p:cNvPr>
          <p:cNvSpPr>
            <a:spLocks noGrp="1"/>
          </p:cNvSpPr>
          <p:nvPr>
            <p:ph type="ftr" sz="quarter" idx="3"/>
          </p:nvPr>
        </p:nvSpPr>
        <p:spPr>
          <a:xfrm>
            <a:off x="4648200" y="6534150"/>
            <a:ext cx="5169569" cy="263525"/>
          </a:xfrm>
          <a:prstGeom prst="rect">
            <a:avLst/>
          </a:prstGeom>
        </p:spPr>
        <p:txBody>
          <a:bodyPr vert="horz" wrap="square" lIns="91440" tIns="45720" rIns="91440" bIns="45720" rtlCol="0" anchor="ctr">
            <a:noAutofit/>
          </a:bodyPr>
          <a:lstStyle>
            <a:lvl1pPr algn="r">
              <a:lnSpc>
                <a:spcPct val="90000"/>
              </a:lnSpc>
              <a:spcAft>
                <a:spcPts val="600"/>
              </a:spcAft>
              <a:defRPr sz="600">
                <a:solidFill>
                  <a:schemeClr val="tx1"/>
                </a:solidFill>
              </a:defRPr>
            </a:lvl1pPr>
          </a:lstStyle>
          <a:p>
            <a:endParaRPr lang="en-US" sz="600" noProof="0" dirty="0"/>
          </a:p>
        </p:txBody>
      </p:sp>
      <p:pic>
        <p:nvPicPr>
          <p:cNvPr id="9" name="Graphic 8">
            <a:extLst>
              <a:ext uri="{FF2B5EF4-FFF2-40B4-BE49-F238E27FC236}">
                <a16:creationId xmlns:a16="http://schemas.microsoft.com/office/drawing/2014/main" id="{6614D270-E9C9-41F3-9F0D-7FDC5BA1A08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3838" y="6586537"/>
            <a:ext cx="1852404" cy="171450"/>
          </a:xfrm>
          <a:prstGeom prst="rect">
            <a:avLst/>
          </a:prstGeom>
        </p:spPr>
      </p:pic>
    </p:spTree>
    <p:extLst>
      <p:ext uri="{BB962C8B-B14F-4D97-AF65-F5344CB8AC3E}">
        <p14:creationId xmlns:p14="http://schemas.microsoft.com/office/powerpoint/2010/main" val="515843396"/>
      </p:ext>
    </p:extLst>
  </p:cSld>
  <p:clrMapOvr>
    <a:overrideClrMapping bg1="lt1" tx1="dk1" bg2="lt2" tx2="dk2" accent1="accent1" accent2="accent2" accent3="accent3" accent4="accent4" accent5="accent5" accent6="accent6" hlink="hlink" folHlink="folHlink"/>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Thank You">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25F3498-F81E-497D-9F70-63BF9757D89A}"/>
              </a:ext>
            </a:extLst>
          </p:cNvPr>
          <p:cNvSpPr/>
          <p:nvPr userDrawn="1"/>
        </p:nvSpPr>
        <p:spPr>
          <a:xfrm>
            <a:off x="223838" y="223838"/>
            <a:ext cx="5264150" cy="6410325"/>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600"/>
              </a:spcAft>
            </a:pPr>
            <a:endParaRPr lang="en-US" sz="2000" dirty="0">
              <a:solidFill>
                <a:schemeClr val="tx1"/>
              </a:solidFill>
            </a:endParaRPr>
          </a:p>
        </p:txBody>
      </p:sp>
      <p:sp>
        <p:nvSpPr>
          <p:cNvPr id="16" name="Picture Placeholder 15">
            <a:extLst>
              <a:ext uri="{FF2B5EF4-FFF2-40B4-BE49-F238E27FC236}">
                <a16:creationId xmlns:a16="http://schemas.microsoft.com/office/drawing/2014/main" id="{F8E3D61A-33AF-494A-9398-1495BB046AA3}"/>
              </a:ext>
            </a:extLst>
          </p:cNvPr>
          <p:cNvSpPr>
            <a:spLocks noGrp="1"/>
          </p:cNvSpPr>
          <p:nvPr>
            <p:ph type="pic" sz="quarter" idx="13" hasCustomPrompt="1"/>
          </p:nvPr>
        </p:nvSpPr>
        <p:spPr>
          <a:xfrm>
            <a:off x="5711826" y="223838"/>
            <a:ext cx="6256337" cy="6410326"/>
          </a:xfrm>
        </p:spPr>
        <p:txBody>
          <a:bodyPr anchor="ctr"/>
          <a:lstStyle>
            <a:lvl1pPr algn="ctr">
              <a:defRPr sz="1200"/>
            </a:lvl1pPr>
          </a:lstStyle>
          <a:p>
            <a:r>
              <a:rPr lang="en-US" dirty="0"/>
              <a:t>Click to insert image</a:t>
            </a:r>
          </a:p>
        </p:txBody>
      </p:sp>
      <p:pic>
        <p:nvPicPr>
          <p:cNvPr id="20" name="Graphic 19">
            <a:extLst>
              <a:ext uri="{FF2B5EF4-FFF2-40B4-BE49-F238E27FC236}">
                <a16:creationId xmlns:a16="http://schemas.microsoft.com/office/drawing/2014/main" id="{5C5C9887-6129-4E40-89EC-46893BF4A5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636558" y="1409700"/>
            <a:ext cx="2469562" cy="1103681"/>
          </a:xfrm>
          <a:prstGeom prst="rect">
            <a:avLst/>
          </a:prstGeom>
        </p:spPr>
      </p:pic>
      <p:cxnSp>
        <p:nvCxnSpPr>
          <p:cNvPr id="22" name="Straight Connector 21">
            <a:extLst>
              <a:ext uri="{FF2B5EF4-FFF2-40B4-BE49-F238E27FC236}">
                <a16:creationId xmlns:a16="http://schemas.microsoft.com/office/drawing/2014/main" id="{F9F96C7E-A230-4E41-A33A-464FDE2C3BF4}"/>
              </a:ext>
            </a:extLst>
          </p:cNvPr>
          <p:cNvCxnSpPr>
            <a:cxnSpLocks/>
          </p:cNvCxnSpPr>
          <p:nvPr userDrawn="1"/>
        </p:nvCxnSpPr>
        <p:spPr>
          <a:xfrm>
            <a:off x="1771651" y="3432175"/>
            <a:ext cx="216852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0D1E0C69-18A3-4ECB-9A1C-411D79F7AD07}"/>
              </a:ext>
            </a:extLst>
          </p:cNvPr>
          <p:cNvSpPr txBox="1"/>
          <p:nvPr userDrawn="1"/>
        </p:nvSpPr>
        <p:spPr>
          <a:xfrm>
            <a:off x="1524653" y="4058676"/>
            <a:ext cx="2662521" cy="413424"/>
          </a:xfrm>
          <a:prstGeom prst="rect">
            <a:avLst/>
          </a:prstGeom>
          <a:noFill/>
        </p:spPr>
        <p:txBody>
          <a:bodyPr wrap="square" rtlCol="0">
            <a:noAutofit/>
          </a:bodyPr>
          <a:lstStyle/>
          <a:p>
            <a:pPr algn="ctr">
              <a:lnSpc>
                <a:spcPct val="90000"/>
              </a:lnSpc>
              <a:spcAft>
                <a:spcPts val="600"/>
              </a:spcAft>
            </a:pPr>
            <a:r>
              <a:rPr lang="en-US" sz="2200" b="1" dirty="0">
                <a:solidFill>
                  <a:schemeClr val="accent2"/>
                </a:solidFill>
              </a:rPr>
              <a:t>THANK</a:t>
            </a:r>
            <a:r>
              <a:rPr lang="en-US" sz="2200" b="1" dirty="0">
                <a:solidFill>
                  <a:schemeClr val="bg1"/>
                </a:solidFill>
              </a:rPr>
              <a:t> YOU</a:t>
            </a:r>
          </a:p>
        </p:txBody>
      </p:sp>
      <p:sp>
        <p:nvSpPr>
          <p:cNvPr id="23" name="TextBox 22">
            <a:extLst>
              <a:ext uri="{FF2B5EF4-FFF2-40B4-BE49-F238E27FC236}">
                <a16:creationId xmlns:a16="http://schemas.microsoft.com/office/drawing/2014/main" id="{F79E690B-96B5-4595-B65D-51CA9B296A0A}"/>
              </a:ext>
            </a:extLst>
          </p:cNvPr>
          <p:cNvSpPr txBox="1"/>
          <p:nvPr userDrawn="1"/>
        </p:nvSpPr>
        <p:spPr>
          <a:xfrm>
            <a:off x="1031455" y="4564047"/>
            <a:ext cx="3648918" cy="413424"/>
          </a:xfrm>
          <a:prstGeom prst="rect">
            <a:avLst/>
          </a:prstGeom>
          <a:noFill/>
        </p:spPr>
        <p:txBody>
          <a:bodyPr wrap="square" rtlCol="0">
            <a:noAutofit/>
          </a:bodyPr>
          <a:lstStyle/>
          <a:p>
            <a:pPr algn="ctr">
              <a:lnSpc>
                <a:spcPct val="90000"/>
              </a:lnSpc>
              <a:spcAft>
                <a:spcPts val="600"/>
              </a:spcAft>
            </a:pPr>
            <a:r>
              <a:rPr lang="en-US" sz="2200" dirty="0">
                <a:solidFill>
                  <a:schemeClr val="bg1"/>
                </a:solidFill>
              </a:rPr>
              <a:t>www.northhighland.com</a:t>
            </a:r>
          </a:p>
        </p:txBody>
      </p:sp>
      <p:cxnSp>
        <p:nvCxnSpPr>
          <p:cNvPr id="24" name="Straight Connector 23">
            <a:extLst>
              <a:ext uri="{FF2B5EF4-FFF2-40B4-BE49-F238E27FC236}">
                <a16:creationId xmlns:a16="http://schemas.microsoft.com/office/drawing/2014/main" id="{F47BA06C-5583-4895-88F2-1325F5866E84}"/>
              </a:ext>
            </a:extLst>
          </p:cNvPr>
          <p:cNvCxnSpPr>
            <a:cxnSpLocks/>
          </p:cNvCxnSpPr>
          <p:nvPr userDrawn="1"/>
        </p:nvCxnSpPr>
        <p:spPr>
          <a:xfrm>
            <a:off x="1771651" y="5582709"/>
            <a:ext cx="216852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361516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Blank w/ Title">
    <p:spTree>
      <p:nvGrpSpPr>
        <p:cNvPr id="1" name=""/>
        <p:cNvGrpSpPr/>
        <p:nvPr/>
      </p:nvGrpSpPr>
      <p:grpSpPr>
        <a:xfrm>
          <a:off x="0" y="0"/>
          <a:ext cx="0" cy="0"/>
          <a:chOff x="0" y="0"/>
          <a:chExt cx="0" cy="0"/>
        </a:xfrm>
      </p:grpSpPr>
      <p:sp>
        <p:nvSpPr>
          <p:cNvPr id="30" name="Text Placeholder 15">
            <a:extLst>
              <a:ext uri="{FF2B5EF4-FFF2-40B4-BE49-F238E27FC236}">
                <a16:creationId xmlns:a16="http://schemas.microsoft.com/office/drawing/2014/main" id="{DE7F8B16-B7BB-4112-9516-81357096A663}"/>
              </a:ext>
            </a:extLst>
          </p:cNvPr>
          <p:cNvSpPr>
            <a:spLocks noGrp="1"/>
          </p:cNvSpPr>
          <p:nvPr>
            <p:ph type="body" sz="quarter" idx="13" hasCustomPrompt="1"/>
          </p:nvPr>
        </p:nvSpPr>
        <p:spPr>
          <a:xfrm>
            <a:off x="480060" y="1803966"/>
            <a:ext cx="11130913" cy="4177734"/>
          </a:xfrm>
        </p:spPr>
        <p:txBody>
          <a:bodyPr numCol="1" spcCol="360000"/>
          <a:lstStyle>
            <a:lvl1pPr>
              <a:defRPr sz="1600">
                <a:solidFill>
                  <a:schemeClr val="tx2"/>
                </a:solidFill>
              </a:defRPr>
            </a:lvl1pPr>
            <a:lvl2pPr>
              <a:defRPr sz="1600">
                <a:solidFill>
                  <a:schemeClr val="tx2"/>
                </a:solidFill>
              </a:defRPr>
            </a:lvl2pPr>
            <a:lvl3pPr>
              <a:defRPr sz="1400">
                <a:solidFill>
                  <a:schemeClr val="tx2"/>
                </a:solidFill>
              </a:defRPr>
            </a:lvl3pPr>
            <a:lvl4pPr>
              <a:defRPr sz="1200">
                <a:solidFill>
                  <a:schemeClr val="tx2"/>
                </a:solidFill>
              </a:defRPr>
            </a:lvl4pPr>
            <a:lvl5pPr>
              <a:defRPr sz="1100">
                <a:solidFill>
                  <a:schemeClr val="tx2"/>
                </a:solidFill>
              </a:defRPr>
            </a:lvl5pPr>
          </a:lstStyle>
          <a:p>
            <a:pPr lvl="0"/>
            <a:r>
              <a:rPr lang="en-GB"/>
              <a:t>Click to insert text</a:t>
            </a:r>
          </a:p>
          <a:p>
            <a:pPr lvl="1"/>
            <a:r>
              <a:rPr lang="en-GB"/>
              <a:t>Second level</a:t>
            </a:r>
          </a:p>
          <a:p>
            <a:pPr lvl="2"/>
            <a:r>
              <a:rPr lang="en-GB"/>
              <a:t>Third level</a:t>
            </a:r>
          </a:p>
          <a:p>
            <a:pPr lvl="3"/>
            <a:r>
              <a:rPr lang="en-GB"/>
              <a:t>Fourth level</a:t>
            </a:r>
          </a:p>
          <a:p>
            <a:pPr lvl="4"/>
            <a:r>
              <a:rPr lang="en-GB"/>
              <a:t>Fifth level</a:t>
            </a:r>
          </a:p>
        </p:txBody>
      </p:sp>
      <p:sp>
        <p:nvSpPr>
          <p:cNvPr id="31" name="Text Placeholder 40">
            <a:extLst>
              <a:ext uri="{FF2B5EF4-FFF2-40B4-BE49-F238E27FC236}">
                <a16:creationId xmlns:a16="http://schemas.microsoft.com/office/drawing/2014/main" id="{13F5135C-1559-4416-949F-5359B228CC35}"/>
              </a:ext>
            </a:extLst>
          </p:cNvPr>
          <p:cNvSpPr>
            <a:spLocks noGrp="1"/>
          </p:cNvSpPr>
          <p:nvPr>
            <p:ph type="body" sz="quarter" idx="19" hasCustomPrompt="1"/>
          </p:nvPr>
        </p:nvSpPr>
        <p:spPr>
          <a:xfrm>
            <a:off x="480060" y="1203325"/>
            <a:ext cx="11113623" cy="391636"/>
          </a:xfrm>
        </p:spPr>
        <p:txBody>
          <a:bodyPr/>
          <a:lstStyle>
            <a:lvl1pPr>
              <a:defRPr>
                <a:solidFill>
                  <a:schemeClr val="accent3"/>
                </a:solidFill>
              </a:defRPr>
            </a:lvl1pPr>
          </a:lstStyle>
          <a:p>
            <a:pPr lvl="0"/>
            <a:r>
              <a:rPr lang="en-GB"/>
              <a:t>Click to insert subtitle</a:t>
            </a:r>
          </a:p>
        </p:txBody>
      </p:sp>
      <p:sp>
        <p:nvSpPr>
          <p:cNvPr id="3" name="Title 2">
            <a:extLst>
              <a:ext uri="{FF2B5EF4-FFF2-40B4-BE49-F238E27FC236}">
                <a16:creationId xmlns:a16="http://schemas.microsoft.com/office/drawing/2014/main" id="{1CF89B9E-08E3-4BC0-9C0C-CE6A2920DFD3}"/>
              </a:ext>
            </a:extLst>
          </p:cNvPr>
          <p:cNvSpPr>
            <a:spLocks noGrp="1"/>
          </p:cNvSpPr>
          <p:nvPr>
            <p:ph type="title" hasCustomPrompt="1"/>
          </p:nvPr>
        </p:nvSpPr>
        <p:spPr>
          <a:xfrm>
            <a:off x="480059" y="706279"/>
            <a:ext cx="11130913" cy="406241"/>
          </a:xfrm>
        </p:spPr>
        <p:txBody>
          <a:bodyPr/>
          <a:lstStyle>
            <a:lvl1pPr>
              <a:defRPr b="1">
                <a:solidFill>
                  <a:schemeClr val="accent1"/>
                </a:solidFill>
              </a:defRPr>
            </a:lvl1pPr>
          </a:lstStyle>
          <a:p>
            <a:r>
              <a:rPr lang="en-GB"/>
              <a:t>CLICK TO INSERT TITLE</a:t>
            </a:r>
          </a:p>
        </p:txBody>
      </p:sp>
      <p:sp>
        <p:nvSpPr>
          <p:cNvPr id="10" name="Slide Number Placeholder 9">
            <a:extLst>
              <a:ext uri="{FF2B5EF4-FFF2-40B4-BE49-F238E27FC236}">
                <a16:creationId xmlns:a16="http://schemas.microsoft.com/office/drawing/2014/main" id="{BD7CB76D-0E42-48D8-9872-270F65087D8C}"/>
              </a:ext>
            </a:extLst>
          </p:cNvPr>
          <p:cNvSpPr>
            <a:spLocks noGrp="1"/>
          </p:cNvSpPr>
          <p:nvPr>
            <p:ph type="sldNum" sz="quarter" idx="16"/>
          </p:nvPr>
        </p:nvSpPr>
        <p:spPr/>
        <p:txBody>
          <a:bodyPr/>
          <a:lstStyle/>
          <a:p>
            <a:fld id="{5034EE70-12A8-400F-8E3D-398CDD8B315D}" type="slidenum">
              <a:rPr lang="en-GB" smtClean="0"/>
              <a:pPr/>
              <a:t>‹#›</a:t>
            </a:fld>
            <a:endParaRPr lang="en-GB" dirty="0"/>
          </a:p>
        </p:txBody>
      </p:sp>
      <p:pic>
        <p:nvPicPr>
          <p:cNvPr id="37" name="Graphic 36">
            <a:extLst>
              <a:ext uri="{FF2B5EF4-FFF2-40B4-BE49-F238E27FC236}">
                <a16:creationId xmlns:a16="http://schemas.microsoft.com/office/drawing/2014/main" id="{C6B74853-1318-4B78-9F43-7D9D97BE74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3838" y="6586537"/>
            <a:ext cx="1852404" cy="171450"/>
          </a:xfrm>
          <a:prstGeom prst="rect">
            <a:avLst/>
          </a:prstGeom>
        </p:spPr>
      </p:pic>
      <p:sp>
        <p:nvSpPr>
          <p:cNvPr id="38" name="Freeform: Shape 37">
            <a:extLst>
              <a:ext uri="{FF2B5EF4-FFF2-40B4-BE49-F238E27FC236}">
                <a16:creationId xmlns:a16="http://schemas.microsoft.com/office/drawing/2014/main" id="{58E3E7CF-8F19-4B7F-8216-320EF6C6F18E}"/>
              </a:ext>
            </a:extLst>
          </p:cNvPr>
          <p:cNvSpPr/>
          <p:nvPr userDrawn="1"/>
        </p:nvSpPr>
        <p:spPr>
          <a:xfrm>
            <a:off x="223837" y="223838"/>
            <a:ext cx="11744326" cy="6262686"/>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GB" sz="2000" dirty="0">
              <a:solidFill>
                <a:schemeClr val="tx1"/>
              </a:solidFill>
            </a:endParaRPr>
          </a:p>
        </p:txBody>
      </p:sp>
      <p:sp>
        <p:nvSpPr>
          <p:cNvPr id="15" name="Picture Placeholder 9">
            <a:extLst>
              <a:ext uri="{FF2B5EF4-FFF2-40B4-BE49-F238E27FC236}">
                <a16:creationId xmlns:a16="http://schemas.microsoft.com/office/drawing/2014/main" id="{DCC71AC3-563C-4A5C-97E2-4EAA7DBF2E6A}"/>
              </a:ext>
            </a:extLst>
          </p:cNvPr>
          <p:cNvSpPr>
            <a:spLocks noGrp="1"/>
          </p:cNvSpPr>
          <p:nvPr>
            <p:ph type="pic" sz="quarter" idx="14" hasCustomPrompt="1"/>
          </p:nvPr>
        </p:nvSpPr>
        <p:spPr>
          <a:xfrm>
            <a:off x="2197100" y="6534150"/>
            <a:ext cx="1574800" cy="263525"/>
          </a:xfrm>
        </p:spPr>
        <p:txBody>
          <a:bodyPr anchor="ctr"/>
          <a:lstStyle>
            <a:lvl1pPr algn="ctr">
              <a:defRPr sz="1050"/>
            </a:lvl1pPr>
          </a:lstStyle>
          <a:p>
            <a:r>
              <a:rPr lang="en-GB" dirty="0"/>
              <a:t>Insert client logo</a:t>
            </a:r>
          </a:p>
        </p:txBody>
      </p:sp>
      <p:sp>
        <p:nvSpPr>
          <p:cNvPr id="9" name="Footer Placeholder 4">
            <a:extLst>
              <a:ext uri="{FF2B5EF4-FFF2-40B4-BE49-F238E27FC236}">
                <a16:creationId xmlns:a16="http://schemas.microsoft.com/office/drawing/2014/main" id="{2DC27DFA-10B1-4B63-83B6-C7B44124ED76}"/>
              </a:ext>
            </a:extLst>
          </p:cNvPr>
          <p:cNvSpPr>
            <a:spLocks noGrp="1"/>
          </p:cNvSpPr>
          <p:nvPr>
            <p:ph type="ftr" sz="quarter" idx="3"/>
          </p:nvPr>
        </p:nvSpPr>
        <p:spPr>
          <a:xfrm>
            <a:off x="4325019" y="6534150"/>
            <a:ext cx="5492750" cy="263525"/>
          </a:xfrm>
          <a:prstGeom prst="rect">
            <a:avLst/>
          </a:prstGeom>
        </p:spPr>
        <p:txBody>
          <a:bodyPr vert="horz" wrap="square" lIns="91440" tIns="45720" rIns="91440" bIns="45720" rtlCol="0" anchor="ctr">
            <a:noAutofit/>
          </a:bodyPr>
          <a:lstStyle>
            <a:lvl1pPr algn="r">
              <a:lnSpc>
                <a:spcPct val="90000"/>
              </a:lnSpc>
              <a:spcAft>
                <a:spcPts val="600"/>
              </a:spcAft>
              <a:defRPr sz="600">
                <a:solidFill>
                  <a:schemeClr val="tx1"/>
                </a:solidFill>
              </a:defRPr>
            </a:lvl1pPr>
          </a:lstStyle>
          <a:p>
            <a:endParaRPr lang="en-GB" sz="600" noProof="0" dirty="0"/>
          </a:p>
        </p:txBody>
      </p:sp>
    </p:spTree>
    <p:extLst>
      <p:ext uri="{BB962C8B-B14F-4D97-AF65-F5344CB8AC3E}">
        <p14:creationId xmlns:p14="http://schemas.microsoft.com/office/powerpoint/2010/main" val="78967316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Divider Blue">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904D09A-4AE1-41F7-8585-54F9D1A47C7F}"/>
              </a:ext>
            </a:extLst>
          </p:cNvPr>
          <p:cNvSpPr>
            <a:spLocks noGrp="1"/>
          </p:cNvSpPr>
          <p:nvPr>
            <p:ph type="sldNum" sz="quarter" idx="12"/>
          </p:nvPr>
        </p:nvSpPr>
        <p:spPr/>
        <p:txBody>
          <a:bodyPr/>
          <a:lstStyle/>
          <a:p>
            <a:fld id="{5034EE70-12A8-400F-8E3D-398CDD8B315D}" type="slidenum">
              <a:rPr lang="en-US" smtClean="0"/>
              <a:pPr/>
              <a:t>‹#›</a:t>
            </a:fld>
            <a:endParaRPr lang="en-US" dirty="0"/>
          </a:p>
        </p:txBody>
      </p:sp>
      <p:sp>
        <p:nvSpPr>
          <p:cNvPr id="3" name="TextBox 2">
            <a:extLst>
              <a:ext uri="{FF2B5EF4-FFF2-40B4-BE49-F238E27FC236}">
                <a16:creationId xmlns:a16="http://schemas.microsoft.com/office/drawing/2014/main" id="{A620CC65-5F5F-4582-A5A5-D44EC1973F93}"/>
              </a:ext>
            </a:extLst>
          </p:cNvPr>
          <p:cNvSpPr txBox="1"/>
          <p:nvPr userDrawn="1"/>
        </p:nvSpPr>
        <p:spPr>
          <a:xfrm>
            <a:off x="9817769" y="6576218"/>
            <a:ext cx="1771776" cy="171450"/>
          </a:xfrm>
          <a:prstGeom prst="rect">
            <a:avLst/>
          </a:prstGeom>
          <a:noFill/>
        </p:spPr>
        <p:txBody>
          <a:bodyPr wrap="square" rtlCol="0">
            <a:noAutofit/>
          </a:bodyPr>
          <a:lstStyle/>
          <a:p>
            <a:pPr algn="ctr">
              <a:lnSpc>
                <a:spcPct val="90000"/>
              </a:lnSpc>
              <a:spcAft>
                <a:spcPts val="600"/>
              </a:spcAft>
            </a:pPr>
            <a:r>
              <a:rPr lang="en-US" sz="700" cap="all" spc="10" baseline="0" dirty="0"/>
              <a:t>Proprietary and Confidential</a:t>
            </a:r>
          </a:p>
        </p:txBody>
      </p:sp>
      <p:sp>
        <p:nvSpPr>
          <p:cNvPr id="48" name="Freeform: Shape 47">
            <a:extLst>
              <a:ext uri="{FF2B5EF4-FFF2-40B4-BE49-F238E27FC236}">
                <a16:creationId xmlns:a16="http://schemas.microsoft.com/office/drawing/2014/main" id="{26C273D4-A6FC-457D-9CF0-4B9F15AFF060}"/>
              </a:ext>
            </a:extLst>
          </p:cNvPr>
          <p:cNvSpPr/>
          <p:nvPr userDrawn="1"/>
        </p:nvSpPr>
        <p:spPr>
          <a:xfrm>
            <a:off x="223837" y="223838"/>
            <a:ext cx="11744326" cy="6262686"/>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dirty="0">
              <a:solidFill>
                <a:schemeClr val="tx1"/>
              </a:solidFill>
            </a:endParaRPr>
          </a:p>
        </p:txBody>
      </p:sp>
      <p:sp>
        <p:nvSpPr>
          <p:cNvPr id="52" name="Text Placeholder 11">
            <a:extLst>
              <a:ext uri="{FF2B5EF4-FFF2-40B4-BE49-F238E27FC236}">
                <a16:creationId xmlns:a16="http://schemas.microsoft.com/office/drawing/2014/main" id="{D6A15B74-A9C9-4C63-9B40-9DA5D7790AF6}"/>
              </a:ext>
            </a:extLst>
          </p:cNvPr>
          <p:cNvSpPr>
            <a:spLocks noGrp="1"/>
          </p:cNvSpPr>
          <p:nvPr>
            <p:ph type="body" sz="quarter" idx="15" hasCustomPrompt="1"/>
          </p:nvPr>
        </p:nvSpPr>
        <p:spPr>
          <a:xfrm>
            <a:off x="5325600" y="87312"/>
            <a:ext cx="1540800" cy="274637"/>
          </a:xfrm>
          <a:solidFill>
            <a:schemeClr val="accent1"/>
          </a:solidFill>
          <a:ln>
            <a:solidFill>
              <a:schemeClr val="tx1"/>
            </a:solidFill>
          </a:ln>
        </p:spPr>
        <p:txBody>
          <a:bodyPr anchor="ctr"/>
          <a:lstStyle>
            <a:lvl1pPr algn="ctr">
              <a:defRPr sz="1050" b="1" cap="all" baseline="0">
                <a:solidFill>
                  <a:schemeClr val="tx1"/>
                </a:solidFill>
              </a:defRPr>
            </a:lvl1pPr>
          </a:lstStyle>
          <a:p>
            <a:pPr lvl="0"/>
            <a:r>
              <a:rPr lang="en-US"/>
              <a:t>Section XX</a:t>
            </a:r>
          </a:p>
        </p:txBody>
      </p:sp>
      <p:sp>
        <p:nvSpPr>
          <p:cNvPr id="53" name="Text Placeholder 5">
            <a:extLst>
              <a:ext uri="{FF2B5EF4-FFF2-40B4-BE49-F238E27FC236}">
                <a16:creationId xmlns:a16="http://schemas.microsoft.com/office/drawing/2014/main" id="{F2C44CF4-4F6D-434A-A853-C64DFA3F1157}"/>
              </a:ext>
            </a:extLst>
          </p:cNvPr>
          <p:cNvSpPr>
            <a:spLocks noGrp="1"/>
          </p:cNvSpPr>
          <p:nvPr>
            <p:ph type="body" sz="quarter" idx="21" hasCustomPrompt="1"/>
          </p:nvPr>
        </p:nvSpPr>
        <p:spPr>
          <a:xfrm>
            <a:off x="3307080" y="1828800"/>
            <a:ext cx="5577840" cy="3200400"/>
          </a:xfrm>
          <a:ln>
            <a:solidFill>
              <a:schemeClr val="tx1"/>
            </a:solidFill>
          </a:ln>
        </p:spPr>
        <p:txBody>
          <a:bodyPr/>
          <a:lstStyle>
            <a:lvl1pPr>
              <a:defRPr/>
            </a:lvl1pPr>
          </a:lstStyle>
          <a:p>
            <a:pPr lvl="0"/>
            <a:r>
              <a:rPr lang="en-US"/>
              <a:t> </a:t>
            </a:r>
          </a:p>
        </p:txBody>
      </p:sp>
      <p:sp>
        <p:nvSpPr>
          <p:cNvPr id="2" name="Title 1">
            <a:extLst>
              <a:ext uri="{FF2B5EF4-FFF2-40B4-BE49-F238E27FC236}">
                <a16:creationId xmlns:a16="http://schemas.microsoft.com/office/drawing/2014/main" id="{844F0621-2390-4957-AD47-60FDBAA34491}"/>
              </a:ext>
            </a:extLst>
          </p:cNvPr>
          <p:cNvSpPr>
            <a:spLocks noGrp="1"/>
          </p:cNvSpPr>
          <p:nvPr>
            <p:ph type="title" hasCustomPrompt="1"/>
          </p:nvPr>
        </p:nvSpPr>
        <p:spPr>
          <a:xfrm>
            <a:off x="3429000" y="2232661"/>
            <a:ext cx="5334000" cy="2392678"/>
          </a:xfrm>
        </p:spPr>
        <p:txBody>
          <a:bodyPr anchor="ctr"/>
          <a:lstStyle>
            <a:lvl1pPr algn="ctr">
              <a:defRPr sz="2800" b="1"/>
            </a:lvl1pPr>
          </a:lstStyle>
          <a:p>
            <a:r>
              <a:rPr lang="en-US"/>
              <a:t>Click to insert subsection name</a:t>
            </a:r>
          </a:p>
        </p:txBody>
      </p:sp>
      <p:sp>
        <p:nvSpPr>
          <p:cNvPr id="24" name="Footer Placeholder 4">
            <a:extLst>
              <a:ext uri="{FF2B5EF4-FFF2-40B4-BE49-F238E27FC236}">
                <a16:creationId xmlns:a16="http://schemas.microsoft.com/office/drawing/2014/main" id="{438017C0-CFD2-453B-B9A4-C14E0D283357}"/>
              </a:ext>
            </a:extLst>
          </p:cNvPr>
          <p:cNvSpPr>
            <a:spLocks noGrp="1"/>
          </p:cNvSpPr>
          <p:nvPr>
            <p:ph type="ftr" sz="quarter" idx="3"/>
          </p:nvPr>
        </p:nvSpPr>
        <p:spPr>
          <a:xfrm>
            <a:off x="4648200" y="6534150"/>
            <a:ext cx="5169569" cy="263525"/>
          </a:xfrm>
          <a:prstGeom prst="rect">
            <a:avLst/>
          </a:prstGeom>
        </p:spPr>
        <p:txBody>
          <a:bodyPr vert="horz" wrap="square" lIns="91440" tIns="45720" rIns="91440" bIns="45720" rtlCol="0" anchor="ctr">
            <a:noAutofit/>
          </a:bodyPr>
          <a:lstStyle>
            <a:lvl1pPr algn="r">
              <a:lnSpc>
                <a:spcPct val="90000"/>
              </a:lnSpc>
              <a:spcAft>
                <a:spcPts val="600"/>
              </a:spcAft>
              <a:defRPr sz="600">
                <a:solidFill>
                  <a:schemeClr val="tx1"/>
                </a:solidFill>
              </a:defRPr>
            </a:lvl1pPr>
          </a:lstStyle>
          <a:p>
            <a:endParaRPr lang="en-US" sz="600" noProof="0" dirty="0"/>
          </a:p>
        </p:txBody>
      </p:sp>
      <p:grpSp>
        <p:nvGrpSpPr>
          <p:cNvPr id="9" name="Graphic 46">
            <a:extLst>
              <a:ext uri="{FF2B5EF4-FFF2-40B4-BE49-F238E27FC236}">
                <a16:creationId xmlns:a16="http://schemas.microsoft.com/office/drawing/2014/main" id="{5EDFA97A-C4E3-4FE7-B405-0A4E6A872766}"/>
              </a:ext>
            </a:extLst>
          </p:cNvPr>
          <p:cNvGrpSpPr/>
          <p:nvPr userDrawn="1"/>
        </p:nvGrpSpPr>
        <p:grpSpPr>
          <a:xfrm>
            <a:off x="223838" y="6586537"/>
            <a:ext cx="1852878" cy="171636"/>
            <a:chOff x="223838" y="6586537"/>
            <a:chExt cx="1852878" cy="171636"/>
          </a:xfrm>
          <a:solidFill>
            <a:srgbClr val="E2E2E3"/>
          </a:solidFill>
        </p:grpSpPr>
        <p:sp>
          <p:nvSpPr>
            <p:cNvPr id="10" name="Freeform: Shape 9">
              <a:extLst>
                <a:ext uri="{FF2B5EF4-FFF2-40B4-BE49-F238E27FC236}">
                  <a16:creationId xmlns:a16="http://schemas.microsoft.com/office/drawing/2014/main" id="{3D8D0115-D38A-4622-A693-EB969C164619}"/>
                </a:ext>
              </a:extLst>
            </p:cNvPr>
            <p:cNvSpPr/>
            <p:nvPr/>
          </p:nvSpPr>
          <p:spPr>
            <a:xfrm>
              <a:off x="1015600" y="6590823"/>
              <a:ext cx="114610" cy="163250"/>
            </a:xfrm>
            <a:custGeom>
              <a:avLst/>
              <a:gdLst>
                <a:gd name="connsiteX0" fmla="*/ 97913 w 114610"/>
                <a:gd name="connsiteY0" fmla="*/ 163250 h 163250"/>
                <a:gd name="connsiteX1" fmla="*/ 114611 w 114610"/>
                <a:gd name="connsiteY1" fmla="*/ 163250 h 163250"/>
                <a:gd name="connsiteX2" fmla="*/ 114611 w 114610"/>
                <a:gd name="connsiteY2" fmla="*/ 0 h 163250"/>
                <a:gd name="connsiteX3" fmla="*/ 97913 w 114610"/>
                <a:gd name="connsiteY3" fmla="*/ 0 h 163250"/>
                <a:gd name="connsiteX4" fmla="*/ 97913 w 114610"/>
                <a:gd name="connsiteY4" fmla="*/ 73351 h 163250"/>
                <a:gd name="connsiteX5" fmla="*/ 16698 w 114610"/>
                <a:gd name="connsiteY5" fmla="*/ 73351 h 163250"/>
                <a:gd name="connsiteX6" fmla="*/ 16698 w 114610"/>
                <a:gd name="connsiteY6" fmla="*/ 0 h 163250"/>
                <a:gd name="connsiteX7" fmla="*/ 0 w 114610"/>
                <a:gd name="connsiteY7" fmla="*/ 0 h 163250"/>
                <a:gd name="connsiteX8" fmla="*/ 0 w 114610"/>
                <a:gd name="connsiteY8" fmla="*/ 163250 h 163250"/>
                <a:gd name="connsiteX9" fmla="*/ 16698 w 114610"/>
                <a:gd name="connsiteY9" fmla="*/ 163250 h 163250"/>
                <a:gd name="connsiteX10" fmla="*/ 16698 w 114610"/>
                <a:gd name="connsiteY10" fmla="*/ 89937 h 163250"/>
                <a:gd name="connsiteX11" fmla="*/ 97913 w 114610"/>
                <a:gd name="connsiteY11" fmla="*/ 89937 h 163250"/>
                <a:gd name="connsiteX12" fmla="*/ 97913 w 114610"/>
                <a:gd name="connsiteY12" fmla="*/ 16325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610" h="163250">
                  <a:moveTo>
                    <a:pt x="97913" y="163250"/>
                  </a:moveTo>
                  <a:lnTo>
                    <a:pt x="114611" y="163250"/>
                  </a:lnTo>
                  <a:lnTo>
                    <a:pt x="114611" y="0"/>
                  </a:lnTo>
                  <a:lnTo>
                    <a:pt x="97913" y="0"/>
                  </a:lnTo>
                  <a:lnTo>
                    <a:pt x="97913" y="73351"/>
                  </a:lnTo>
                  <a:lnTo>
                    <a:pt x="16698" y="73351"/>
                  </a:lnTo>
                  <a:lnTo>
                    <a:pt x="16698" y="0"/>
                  </a:lnTo>
                  <a:lnTo>
                    <a:pt x="0" y="0"/>
                  </a:lnTo>
                  <a:lnTo>
                    <a:pt x="0" y="163250"/>
                  </a:lnTo>
                  <a:lnTo>
                    <a:pt x="16698" y="163250"/>
                  </a:lnTo>
                  <a:lnTo>
                    <a:pt x="16698" y="89937"/>
                  </a:lnTo>
                  <a:lnTo>
                    <a:pt x="97913" y="89937"/>
                  </a:lnTo>
                  <a:lnTo>
                    <a:pt x="97913" y="163250"/>
                  </a:lnTo>
                  <a:close/>
                </a:path>
              </a:pathLst>
            </a:custGeom>
            <a:solidFill>
              <a:srgbClr val="E2E2E3"/>
            </a:solidFill>
            <a:ln w="3718" cap="flat">
              <a:noFill/>
              <a:prstDash val="solid"/>
              <a:miter/>
            </a:ln>
          </p:spPr>
          <p:txBody>
            <a:bodyPr rtlCol="0" anchor="ctr"/>
            <a:lstStyle/>
            <a:p>
              <a:endParaRPr lang="en-US" dirty="0"/>
            </a:p>
          </p:txBody>
        </p:sp>
        <p:sp>
          <p:nvSpPr>
            <p:cNvPr id="11" name="Freeform: Shape 10">
              <a:extLst>
                <a:ext uri="{FF2B5EF4-FFF2-40B4-BE49-F238E27FC236}">
                  <a16:creationId xmlns:a16="http://schemas.microsoft.com/office/drawing/2014/main" id="{340CAB7D-BB9C-4ECD-86FE-9467F3529243}"/>
                </a:ext>
              </a:extLst>
            </p:cNvPr>
            <p:cNvSpPr/>
            <p:nvPr/>
          </p:nvSpPr>
          <p:spPr>
            <a:xfrm>
              <a:off x="1158761" y="6590823"/>
              <a:ext cx="16809" cy="163250"/>
            </a:xfrm>
            <a:custGeom>
              <a:avLst/>
              <a:gdLst>
                <a:gd name="connsiteX0" fmla="*/ 0 w 16809"/>
                <a:gd name="connsiteY0" fmla="*/ 0 h 163250"/>
                <a:gd name="connsiteX1" fmla="*/ 16810 w 16809"/>
                <a:gd name="connsiteY1" fmla="*/ 0 h 163250"/>
                <a:gd name="connsiteX2" fmla="*/ 16810 w 16809"/>
                <a:gd name="connsiteY2" fmla="*/ 163250 h 163250"/>
                <a:gd name="connsiteX3" fmla="*/ 0 w 16809"/>
                <a:gd name="connsiteY3" fmla="*/ 163250 h 163250"/>
              </a:gdLst>
              <a:ahLst/>
              <a:cxnLst>
                <a:cxn ang="0">
                  <a:pos x="connsiteX0" y="connsiteY0"/>
                </a:cxn>
                <a:cxn ang="0">
                  <a:pos x="connsiteX1" y="connsiteY1"/>
                </a:cxn>
                <a:cxn ang="0">
                  <a:pos x="connsiteX2" y="connsiteY2"/>
                </a:cxn>
                <a:cxn ang="0">
                  <a:pos x="connsiteX3" y="connsiteY3"/>
                </a:cxn>
              </a:cxnLst>
              <a:rect l="l" t="t" r="r" b="b"/>
              <a:pathLst>
                <a:path w="16809" h="163250">
                  <a:moveTo>
                    <a:pt x="0" y="0"/>
                  </a:moveTo>
                  <a:lnTo>
                    <a:pt x="16810" y="0"/>
                  </a:lnTo>
                  <a:lnTo>
                    <a:pt x="16810" y="163250"/>
                  </a:lnTo>
                  <a:lnTo>
                    <a:pt x="0" y="163250"/>
                  </a:lnTo>
                  <a:close/>
                </a:path>
              </a:pathLst>
            </a:custGeom>
            <a:solidFill>
              <a:srgbClr val="E2E2E3"/>
            </a:solidFill>
            <a:ln w="3718" cap="flat">
              <a:noFill/>
              <a:prstDash val="solid"/>
              <a:miter/>
            </a:ln>
          </p:spPr>
          <p:txBody>
            <a:bodyPr rtlCol="0" anchor="ctr"/>
            <a:lstStyle/>
            <a:p>
              <a:endParaRPr lang="en-US" dirty="0"/>
            </a:p>
          </p:txBody>
        </p:sp>
        <p:sp>
          <p:nvSpPr>
            <p:cNvPr id="12" name="Freeform: Shape 11">
              <a:extLst>
                <a:ext uri="{FF2B5EF4-FFF2-40B4-BE49-F238E27FC236}">
                  <a16:creationId xmlns:a16="http://schemas.microsoft.com/office/drawing/2014/main" id="{A66EB911-1072-4E96-B30F-1D9A39294A5A}"/>
                </a:ext>
              </a:extLst>
            </p:cNvPr>
            <p:cNvSpPr/>
            <p:nvPr/>
          </p:nvSpPr>
          <p:spPr>
            <a:xfrm>
              <a:off x="1197184" y="6589704"/>
              <a:ext cx="165642" cy="165862"/>
            </a:xfrm>
            <a:custGeom>
              <a:avLst/>
              <a:gdLst>
                <a:gd name="connsiteX0" fmla="*/ 24343 w 165642"/>
                <a:gd name="connsiteY0" fmla="*/ 141596 h 165862"/>
                <a:gd name="connsiteX1" fmla="*/ 114652 w 165642"/>
                <a:gd name="connsiteY1" fmla="*/ 159859 h 165862"/>
                <a:gd name="connsiteX2" fmla="*/ 141600 w 165642"/>
                <a:gd name="connsiteY2" fmla="*/ 141558 h 165862"/>
                <a:gd name="connsiteX3" fmla="*/ 160869 w 165642"/>
                <a:gd name="connsiteY3" fmla="*/ 110996 h 165862"/>
                <a:gd name="connsiteX4" fmla="*/ 165640 w 165642"/>
                <a:gd name="connsiteY4" fmla="*/ 81514 h 165862"/>
                <a:gd name="connsiteX5" fmla="*/ 91283 w 165642"/>
                <a:gd name="connsiteY5" fmla="*/ 81514 h 165862"/>
                <a:gd name="connsiteX6" fmla="*/ 91283 w 165642"/>
                <a:gd name="connsiteY6" fmla="*/ 96720 h 165862"/>
                <a:gd name="connsiteX7" fmla="*/ 149352 w 165642"/>
                <a:gd name="connsiteY7" fmla="*/ 96720 h 165862"/>
                <a:gd name="connsiteX8" fmla="*/ 142606 w 165642"/>
                <a:gd name="connsiteY8" fmla="*/ 110996 h 165862"/>
                <a:gd name="connsiteX9" fmla="*/ 133623 w 165642"/>
                <a:gd name="connsiteY9" fmla="*/ 124935 h 165862"/>
                <a:gd name="connsiteX10" fmla="*/ 121547 w 165642"/>
                <a:gd name="connsiteY10" fmla="*/ 136415 h 165862"/>
                <a:gd name="connsiteX11" fmla="*/ 103471 w 165642"/>
                <a:gd name="connsiteY11" fmla="*/ 145621 h 165862"/>
                <a:gd name="connsiteX12" fmla="*/ 57962 w 165642"/>
                <a:gd name="connsiteY12" fmla="*/ 143944 h 165862"/>
                <a:gd name="connsiteX13" fmla="*/ 36717 w 165642"/>
                <a:gd name="connsiteY13" fmla="*/ 129445 h 165862"/>
                <a:gd name="connsiteX14" fmla="*/ 22330 w 165642"/>
                <a:gd name="connsiteY14" fmla="*/ 108163 h 165862"/>
                <a:gd name="connsiteX15" fmla="*/ 22330 w 165642"/>
                <a:gd name="connsiteY15" fmla="*/ 57734 h 165862"/>
                <a:gd name="connsiteX16" fmla="*/ 36717 w 165642"/>
                <a:gd name="connsiteY16" fmla="*/ 36452 h 165862"/>
                <a:gd name="connsiteX17" fmla="*/ 58036 w 165642"/>
                <a:gd name="connsiteY17" fmla="*/ 21916 h 165862"/>
                <a:gd name="connsiteX18" fmla="*/ 83232 w 165642"/>
                <a:gd name="connsiteY18" fmla="*/ 17034 h 165862"/>
                <a:gd name="connsiteX19" fmla="*/ 108391 w 165642"/>
                <a:gd name="connsiteY19" fmla="*/ 21916 h 165862"/>
                <a:gd name="connsiteX20" fmla="*/ 122106 w 165642"/>
                <a:gd name="connsiteY20" fmla="*/ 29818 h 165862"/>
                <a:gd name="connsiteX21" fmla="*/ 134145 w 165642"/>
                <a:gd name="connsiteY21" fmla="*/ 17704 h 165862"/>
                <a:gd name="connsiteX22" fmla="*/ 129374 w 165642"/>
                <a:gd name="connsiteY22" fmla="*/ 14275 h 165862"/>
                <a:gd name="connsiteX23" fmla="*/ 114988 w 165642"/>
                <a:gd name="connsiteY23" fmla="*/ 6448 h 165862"/>
                <a:gd name="connsiteX24" fmla="*/ 99520 w 165642"/>
                <a:gd name="connsiteY24" fmla="*/ 1640 h 165862"/>
                <a:gd name="connsiteX25" fmla="*/ 82934 w 165642"/>
                <a:gd name="connsiteY25" fmla="*/ 0 h 165862"/>
                <a:gd name="connsiteX26" fmla="*/ 76001 w 165642"/>
                <a:gd name="connsiteY26" fmla="*/ 0 h 165862"/>
                <a:gd name="connsiteX27" fmla="*/ 51104 w 165642"/>
                <a:gd name="connsiteY27" fmla="*/ 5889 h 165862"/>
                <a:gd name="connsiteX28" fmla="*/ 24306 w 165642"/>
                <a:gd name="connsiteY28" fmla="*/ 24264 h 165862"/>
                <a:gd name="connsiteX29" fmla="*/ 6042 w 165642"/>
                <a:gd name="connsiteY29" fmla="*/ 51137 h 165862"/>
                <a:gd name="connsiteX30" fmla="*/ 4 w 165642"/>
                <a:gd name="connsiteY30" fmla="*/ 83042 h 165862"/>
                <a:gd name="connsiteX31" fmla="*/ 6042 w 165642"/>
                <a:gd name="connsiteY31" fmla="*/ 114909 h 165862"/>
                <a:gd name="connsiteX32" fmla="*/ 24268 w 165642"/>
                <a:gd name="connsiteY32" fmla="*/ 141707 h 16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65642" h="165862">
                  <a:moveTo>
                    <a:pt x="24343" y="141596"/>
                  </a:moveTo>
                  <a:cubicBezTo>
                    <a:pt x="48141" y="165094"/>
                    <a:pt x="83594" y="172264"/>
                    <a:pt x="114652" y="159859"/>
                  </a:cubicBezTo>
                  <a:cubicBezTo>
                    <a:pt x="124719" y="155530"/>
                    <a:pt x="133866" y="149319"/>
                    <a:pt x="141600" y="141558"/>
                  </a:cubicBezTo>
                  <a:cubicBezTo>
                    <a:pt x="150347" y="133035"/>
                    <a:pt x="156948" y="122562"/>
                    <a:pt x="160869" y="110996"/>
                  </a:cubicBezTo>
                  <a:cubicBezTo>
                    <a:pt x="164108" y="101507"/>
                    <a:pt x="165722" y="91539"/>
                    <a:pt x="165640" y="81514"/>
                  </a:cubicBezTo>
                  <a:lnTo>
                    <a:pt x="91283" y="81514"/>
                  </a:lnTo>
                  <a:lnTo>
                    <a:pt x="91283" y="96720"/>
                  </a:lnTo>
                  <a:lnTo>
                    <a:pt x="149352" y="96720"/>
                  </a:lnTo>
                  <a:lnTo>
                    <a:pt x="142606" y="110996"/>
                  </a:lnTo>
                  <a:cubicBezTo>
                    <a:pt x="140217" y="116006"/>
                    <a:pt x="137198" y="120690"/>
                    <a:pt x="133623" y="124935"/>
                  </a:cubicBezTo>
                  <a:cubicBezTo>
                    <a:pt x="130083" y="129240"/>
                    <a:pt x="126027" y="133095"/>
                    <a:pt x="121547" y="136415"/>
                  </a:cubicBezTo>
                  <a:cubicBezTo>
                    <a:pt x="116076" y="140470"/>
                    <a:pt x="109967" y="143582"/>
                    <a:pt x="103471" y="145621"/>
                  </a:cubicBezTo>
                  <a:cubicBezTo>
                    <a:pt x="88569" y="150385"/>
                    <a:pt x="72472" y="149792"/>
                    <a:pt x="57962" y="143944"/>
                  </a:cubicBezTo>
                  <a:cubicBezTo>
                    <a:pt x="49975" y="140595"/>
                    <a:pt x="42748" y="135663"/>
                    <a:pt x="36717" y="129445"/>
                  </a:cubicBezTo>
                  <a:cubicBezTo>
                    <a:pt x="30597" y="123344"/>
                    <a:pt x="25711" y="116117"/>
                    <a:pt x="22330" y="108163"/>
                  </a:cubicBezTo>
                  <a:cubicBezTo>
                    <a:pt x="15819" y="91984"/>
                    <a:pt x="15819" y="73913"/>
                    <a:pt x="22330" y="57734"/>
                  </a:cubicBezTo>
                  <a:cubicBezTo>
                    <a:pt x="25729" y="49791"/>
                    <a:pt x="30612" y="42568"/>
                    <a:pt x="36717" y="36452"/>
                  </a:cubicBezTo>
                  <a:cubicBezTo>
                    <a:pt x="42792" y="30244"/>
                    <a:pt x="50038" y="25303"/>
                    <a:pt x="58036" y="21916"/>
                  </a:cubicBezTo>
                  <a:cubicBezTo>
                    <a:pt x="66013" y="18581"/>
                    <a:pt x="74589" y="16919"/>
                    <a:pt x="83232" y="17034"/>
                  </a:cubicBezTo>
                  <a:cubicBezTo>
                    <a:pt x="91861" y="16956"/>
                    <a:pt x="100418" y="18617"/>
                    <a:pt x="108391" y="21916"/>
                  </a:cubicBezTo>
                  <a:cubicBezTo>
                    <a:pt x="113251" y="24012"/>
                    <a:pt x="117854" y="26664"/>
                    <a:pt x="122106" y="29818"/>
                  </a:cubicBezTo>
                  <a:lnTo>
                    <a:pt x="134145" y="17704"/>
                  </a:lnTo>
                  <a:cubicBezTo>
                    <a:pt x="132356" y="16363"/>
                    <a:pt x="130791" y="15244"/>
                    <a:pt x="129374" y="14275"/>
                  </a:cubicBezTo>
                  <a:cubicBezTo>
                    <a:pt x="124820" y="11246"/>
                    <a:pt x="120004" y="8627"/>
                    <a:pt x="114988" y="6448"/>
                  </a:cubicBezTo>
                  <a:cubicBezTo>
                    <a:pt x="110001" y="4347"/>
                    <a:pt x="104820" y="2737"/>
                    <a:pt x="99520" y="1640"/>
                  </a:cubicBezTo>
                  <a:cubicBezTo>
                    <a:pt x="94060" y="534"/>
                    <a:pt x="88502" y="-15"/>
                    <a:pt x="82934" y="0"/>
                  </a:cubicBezTo>
                  <a:lnTo>
                    <a:pt x="76001" y="0"/>
                  </a:lnTo>
                  <a:cubicBezTo>
                    <a:pt x="67440" y="610"/>
                    <a:pt x="59032" y="2598"/>
                    <a:pt x="51104" y="5889"/>
                  </a:cubicBezTo>
                  <a:cubicBezTo>
                    <a:pt x="41022" y="10138"/>
                    <a:pt x="31902" y="16389"/>
                    <a:pt x="24306" y="24264"/>
                  </a:cubicBezTo>
                  <a:cubicBezTo>
                    <a:pt x="16490" y="31918"/>
                    <a:pt x="10284" y="41054"/>
                    <a:pt x="6042" y="51137"/>
                  </a:cubicBezTo>
                  <a:cubicBezTo>
                    <a:pt x="1965" y="61275"/>
                    <a:pt x="-89" y="72114"/>
                    <a:pt x="4" y="83042"/>
                  </a:cubicBezTo>
                  <a:cubicBezTo>
                    <a:pt x="-107" y="93959"/>
                    <a:pt x="1946" y="104789"/>
                    <a:pt x="6042" y="114909"/>
                  </a:cubicBezTo>
                  <a:cubicBezTo>
                    <a:pt x="10206" y="125003"/>
                    <a:pt x="16411" y="134126"/>
                    <a:pt x="24268" y="141707"/>
                  </a:cubicBezTo>
                </a:path>
              </a:pathLst>
            </a:custGeom>
            <a:solidFill>
              <a:srgbClr val="E2E2E3"/>
            </a:solidFill>
            <a:ln w="3718" cap="flat">
              <a:noFill/>
              <a:prstDash val="solid"/>
              <a:miter/>
            </a:ln>
          </p:spPr>
          <p:txBody>
            <a:bodyPr rtlCol="0" anchor="ctr"/>
            <a:lstStyle/>
            <a:p>
              <a:endParaRPr lang="en-US" dirty="0"/>
            </a:p>
          </p:txBody>
        </p:sp>
        <p:sp>
          <p:nvSpPr>
            <p:cNvPr id="13" name="Freeform: Shape 12">
              <a:extLst>
                <a:ext uri="{FF2B5EF4-FFF2-40B4-BE49-F238E27FC236}">
                  <a16:creationId xmlns:a16="http://schemas.microsoft.com/office/drawing/2014/main" id="{2A80C8F6-3521-46E9-B946-3ECA62CACD15}"/>
                </a:ext>
              </a:extLst>
            </p:cNvPr>
            <p:cNvSpPr/>
            <p:nvPr/>
          </p:nvSpPr>
          <p:spPr>
            <a:xfrm>
              <a:off x="1384590" y="6590823"/>
              <a:ext cx="114573" cy="163250"/>
            </a:xfrm>
            <a:custGeom>
              <a:avLst/>
              <a:gdLst>
                <a:gd name="connsiteX0" fmla="*/ 97876 w 114573"/>
                <a:gd name="connsiteY0" fmla="*/ 163250 h 163250"/>
                <a:gd name="connsiteX1" fmla="*/ 114573 w 114573"/>
                <a:gd name="connsiteY1" fmla="*/ 163250 h 163250"/>
                <a:gd name="connsiteX2" fmla="*/ 114573 w 114573"/>
                <a:gd name="connsiteY2" fmla="*/ 0 h 163250"/>
                <a:gd name="connsiteX3" fmla="*/ 97876 w 114573"/>
                <a:gd name="connsiteY3" fmla="*/ 0 h 163250"/>
                <a:gd name="connsiteX4" fmla="*/ 97876 w 114573"/>
                <a:gd name="connsiteY4" fmla="*/ 73351 h 163250"/>
                <a:gd name="connsiteX5" fmla="*/ 16660 w 114573"/>
                <a:gd name="connsiteY5" fmla="*/ 73351 h 163250"/>
                <a:gd name="connsiteX6" fmla="*/ 16660 w 114573"/>
                <a:gd name="connsiteY6" fmla="*/ 0 h 163250"/>
                <a:gd name="connsiteX7" fmla="*/ 0 w 114573"/>
                <a:gd name="connsiteY7" fmla="*/ 0 h 163250"/>
                <a:gd name="connsiteX8" fmla="*/ 0 w 114573"/>
                <a:gd name="connsiteY8" fmla="*/ 163250 h 163250"/>
                <a:gd name="connsiteX9" fmla="*/ 16660 w 114573"/>
                <a:gd name="connsiteY9" fmla="*/ 163250 h 163250"/>
                <a:gd name="connsiteX10" fmla="*/ 16660 w 114573"/>
                <a:gd name="connsiteY10" fmla="*/ 89937 h 163250"/>
                <a:gd name="connsiteX11" fmla="*/ 97876 w 114573"/>
                <a:gd name="connsiteY11" fmla="*/ 89937 h 163250"/>
                <a:gd name="connsiteX12" fmla="*/ 97876 w 114573"/>
                <a:gd name="connsiteY12" fmla="*/ 16325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573" h="163250">
                  <a:moveTo>
                    <a:pt x="97876" y="163250"/>
                  </a:moveTo>
                  <a:lnTo>
                    <a:pt x="114573" y="163250"/>
                  </a:lnTo>
                  <a:lnTo>
                    <a:pt x="114573" y="0"/>
                  </a:lnTo>
                  <a:lnTo>
                    <a:pt x="97876" y="0"/>
                  </a:lnTo>
                  <a:lnTo>
                    <a:pt x="97876" y="73351"/>
                  </a:lnTo>
                  <a:lnTo>
                    <a:pt x="16660" y="73351"/>
                  </a:lnTo>
                  <a:lnTo>
                    <a:pt x="16660" y="0"/>
                  </a:lnTo>
                  <a:lnTo>
                    <a:pt x="0" y="0"/>
                  </a:lnTo>
                  <a:lnTo>
                    <a:pt x="0" y="163250"/>
                  </a:lnTo>
                  <a:lnTo>
                    <a:pt x="16660" y="163250"/>
                  </a:lnTo>
                  <a:lnTo>
                    <a:pt x="16660" y="89937"/>
                  </a:lnTo>
                  <a:lnTo>
                    <a:pt x="97876" y="89937"/>
                  </a:lnTo>
                  <a:lnTo>
                    <a:pt x="97876" y="163250"/>
                  </a:lnTo>
                  <a:close/>
                </a:path>
              </a:pathLst>
            </a:custGeom>
            <a:solidFill>
              <a:srgbClr val="E2E2E3"/>
            </a:solidFill>
            <a:ln w="3718" cap="flat">
              <a:noFill/>
              <a:prstDash val="solid"/>
              <a:miter/>
            </a:ln>
          </p:spPr>
          <p:txBody>
            <a:bodyPr rtlCol="0" anchor="ctr"/>
            <a:lstStyle/>
            <a:p>
              <a:endParaRPr lang="en-US" dirty="0"/>
            </a:p>
          </p:txBody>
        </p:sp>
        <p:sp>
          <p:nvSpPr>
            <p:cNvPr id="14" name="Freeform: Shape 13">
              <a:extLst>
                <a:ext uri="{FF2B5EF4-FFF2-40B4-BE49-F238E27FC236}">
                  <a16:creationId xmlns:a16="http://schemas.microsoft.com/office/drawing/2014/main" id="{695B833C-1A5D-4A1E-869E-6C9740257CA6}"/>
                </a:ext>
              </a:extLst>
            </p:cNvPr>
            <p:cNvSpPr/>
            <p:nvPr/>
          </p:nvSpPr>
          <p:spPr>
            <a:xfrm>
              <a:off x="1527751" y="6590823"/>
              <a:ext cx="90346" cy="163250"/>
            </a:xfrm>
            <a:custGeom>
              <a:avLst/>
              <a:gdLst>
                <a:gd name="connsiteX0" fmla="*/ 16810 w 90346"/>
                <a:gd name="connsiteY0" fmla="*/ 0 h 163250"/>
                <a:gd name="connsiteX1" fmla="*/ 0 w 90346"/>
                <a:gd name="connsiteY1" fmla="*/ 0 h 163250"/>
                <a:gd name="connsiteX2" fmla="*/ 0 w 90346"/>
                <a:gd name="connsiteY2" fmla="*/ 163250 h 163250"/>
                <a:gd name="connsiteX3" fmla="*/ 90347 w 90346"/>
                <a:gd name="connsiteY3" fmla="*/ 163250 h 163250"/>
                <a:gd name="connsiteX4" fmla="*/ 90347 w 90346"/>
                <a:gd name="connsiteY4" fmla="*/ 146813 h 163250"/>
                <a:gd name="connsiteX5" fmla="*/ 16810 w 90346"/>
                <a:gd name="connsiteY5" fmla="*/ 146813 h 163250"/>
                <a:gd name="connsiteX6" fmla="*/ 16810 w 90346"/>
                <a:gd name="connsiteY6" fmla="*/ 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346" h="163250">
                  <a:moveTo>
                    <a:pt x="16810" y="0"/>
                  </a:moveTo>
                  <a:lnTo>
                    <a:pt x="0" y="0"/>
                  </a:lnTo>
                  <a:lnTo>
                    <a:pt x="0" y="163250"/>
                  </a:lnTo>
                  <a:lnTo>
                    <a:pt x="90347" y="163250"/>
                  </a:lnTo>
                  <a:lnTo>
                    <a:pt x="90347" y="146813"/>
                  </a:lnTo>
                  <a:lnTo>
                    <a:pt x="16810" y="146813"/>
                  </a:lnTo>
                  <a:lnTo>
                    <a:pt x="16810" y="0"/>
                  </a:lnTo>
                  <a:close/>
                </a:path>
              </a:pathLst>
            </a:custGeom>
            <a:solidFill>
              <a:srgbClr val="E2E2E3"/>
            </a:solidFill>
            <a:ln w="3718"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1A4D68BA-AD47-4A87-9921-18B4F738AD16}"/>
                </a:ext>
              </a:extLst>
            </p:cNvPr>
            <p:cNvSpPr/>
            <p:nvPr/>
          </p:nvSpPr>
          <p:spPr>
            <a:xfrm>
              <a:off x="1640796" y="6593991"/>
              <a:ext cx="136563" cy="160268"/>
            </a:xfrm>
            <a:custGeom>
              <a:avLst/>
              <a:gdLst>
                <a:gd name="connsiteX0" fmla="*/ 36191 w 136563"/>
                <a:gd name="connsiteY0" fmla="*/ 119866 h 160268"/>
                <a:gd name="connsiteX1" fmla="*/ 37943 w 136563"/>
                <a:gd name="connsiteY1" fmla="*/ 115803 h 160268"/>
                <a:gd name="connsiteX2" fmla="*/ 51696 w 136563"/>
                <a:gd name="connsiteY2" fmla="*/ 81700 h 160268"/>
                <a:gd name="connsiteX3" fmla="*/ 65673 w 136563"/>
                <a:gd name="connsiteY3" fmla="*/ 47223 h 160268"/>
                <a:gd name="connsiteX4" fmla="*/ 68356 w 136563"/>
                <a:gd name="connsiteY4" fmla="*/ 41036 h 160268"/>
                <a:gd name="connsiteX5" fmla="*/ 71040 w 136563"/>
                <a:gd name="connsiteY5" fmla="*/ 47261 h 160268"/>
                <a:gd name="connsiteX6" fmla="*/ 84756 w 136563"/>
                <a:gd name="connsiteY6" fmla="*/ 81700 h 160268"/>
                <a:gd name="connsiteX7" fmla="*/ 98546 w 136563"/>
                <a:gd name="connsiteY7" fmla="*/ 115803 h 160268"/>
                <a:gd name="connsiteX8" fmla="*/ 100298 w 136563"/>
                <a:gd name="connsiteY8" fmla="*/ 119866 h 160268"/>
                <a:gd name="connsiteX9" fmla="*/ 118636 w 136563"/>
                <a:gd name="connsiteY9" fmla="*/ 160268 h 160268"/>
                <a:gd name="connsiteX10" fmla="*/ 136563 w 136563"/>
                <a:gd name="connsiteY10" fmla="*/ 160268 h 160268"/>
                <a:gd name="connsiteX11" fmla="*/ 68319 w 136563"/>
                <a:gd name="connsiteY11" fmla="*/ 0 h 160268"/>
                <a:gd name="connsiteX12" fmla="*/ 0 w 136563"/>
                <a:gd name="connsiteY12" fmla="*/ 160268 h 160268"/>
                <a:gd name="connsiteX13" fmla="*/ 18002 w 136563"/>
                <a:gd name="connsiteY13" fmla="*/ 160268 h 160268"/>
                <a:gd name="connsiteX14" fmla="*/ 30488 w 136563"/>
                <a:gd name="connsiteY14" fmla="*/ 132426 h 160268"/>
                <a:gd name="connsiteX15" fmla="*/ 106113 w 136563"/>
                <a:gd name="connsiteY15" fmla="*/ 132426 h 160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6563" h="160268">
                  <a:moveTo>
                    <a:pt x="36191" y="119866"/>
                  </a:moveTo>
                  <a:lnTo>
                    <a:pt x="37943" y="115803"/>
                  </a:lnTo>
                  <a:cubicBezTo>
                    <a:pt x="42452" y="105255"/>
                    <a:pt x="47074" y="93776"/>
                    <a:pt x="51696" y="81700"/>
                  </a:cubicBezTo>
                  <a:cubicBezTo>
                    <a:pt x="56318" y="69624"/>
                    <a:pt x="61088" y="57846"/>
                    <a:pt x="65673" y="47223"/>
                  </a:cubicBezTo>
                  <a:lnTo>
                    <a:pt x="68356" y="41036"/>
                  </a:lnTo>
                  <a:lnTo>
                    <a:pt x="71040" y="47261"/>
                  </a:lnTo>
                  <a:cubicBezTo>
                    <a:pt x="75550" y="57883"/>
                    <a:pt x="80171" y="69624"/>
                    <a:pt x="84756" y="81700"/>
                  </a:cubicBezTo>
                  <a:cubicBezTo>
                    <a:pt x="89340" y="93776"/>
                    <a:pt x="93925" y="105255"/>
                    <a:pt x="98546" y="115803"/>
                  </a:cubicBezTo>
                  <a:lnTo>
                    <a:pt x="100298" y="119866"/>
                  </a:lnTo>
                  <a:close/>
                  <a:moveTo>
                    <a:pt x="118636" y="160268"/>
                  </a:moveTo>
                  <a:lnTo>
                    <a:pt x="136563" y="160268"/>
                  </a:lnTo>
                  <a:lnTo>
                    <a:pt x="68319" y="0"/>
                  </a:lnTo>
                  <a:lnTo>
                    <a:pt x="0" y="160268"/>
                  </a:lnTo>
                  <a:lnTo>
                    <a:pt x="18002" y="160268"/>
                  </a:lnTo>
                  <a:lnTo>
                    <a:pt x="30488" y="132426"/>
                  </a:lnTo>
                  <a:lnTo>
                    <a:pt x="106113" y="132426"/>
                  </a:lnTo>
                  <a:close/>
                </a:path>
              </a:pathLst>
            </a:custGeom>
            <a:solidFill>
              <a:srgbClr val="E2E2E3"/>
            </a:solidFill>
            <a:ln w="3718"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9170D0B6-8376-421B-8BD3-FEFA0165CF6E}"/>
                </a:ext>
              </a:extLst>
            </p:cNvPr>
            <p:cNvSpPr/>
            <p:nvPr/>
          </p:nvSpPr>
          <p:spPr>
            <a:xfrm>
              <a:off x="1800505" y="6590487"/>
              <a:ext cx="127208" cy="164070"/>
            </a:xfrm>
            <a:custGeom>
              <a:avLst/>
              <a:gdLst>
                <a:gd name="connsiteX0" fmla="*/ 110436 w 127208"/>
                <a:gd name="connsiteY0" fmla="*/ 119120 h 164070"/>
                <a:gd name="connsiteX1" fmla="*/ 0 w 127208"/>
                <a:gd name="connsiteY1" fmla="*/ 3019 h 164070"/>
                <a:gd name="connsiteX2" fmla="*/ 0 w 127208"/>
                <a:gd name="connsiteY2" fmla="*/ 164070 h 164070"/>
                <a:gd name="connsiteX3" fmla="*/ 16810 w 127208"/>
                <a:gd name="connsiteY3" fmla="*/ 164070 h 164070"/>
                <a:gd name="connsiteX4" fmla="*/ 16810 w 127208"/>
                <a:gd name="connsiteY4" fmla="*/ 44540 h 164070"/>
                <a:gd name="connsiteX5" fmla="*/ 127208 w 127208"/>
                <a:gd name="connsiteY5" fmla="*/ 162244 h 164070"/>
                <a:gd name="connsiteX6" fmla="*/ 127208 w 127208"/>
                <a:gd name="connsiteY6" fmla="*/ 0 h 164070"/>
                <a:gd name="connsiteX7" fmla="*/ 110436 w 127208"/>
                <a:gd name="connsiteY7" fmla="*/ 0 h 164070"/>
                <a:gd name="connsiteX8" fmla="*/ 110436 w 127208"/>
                <a:gd name="connsiteY8" fmla="*/ 119120 h 16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208" h="164070">
                  <a:moveTo>
                    <a:pt x="110436" y="119120"/>
                  </a:moveTo>
                  <a:lnTo>
                    <a:pt x="0" y="3019"/>
                  </a:lnTo>
                  <a:lnTo>
                    <a:pt x="0" y="164070"/>
                  </a:lnTo>
                  <a:lnTo>
                    <a:pt x="16810" y="164070"/>
                  </a:lnTo>
                  <a:lnTo>
                    <a:pt x="16810" y="44540"/>
                  </a:lnTo>
                  <a:lnTo>
                    <a:pt x="127208" y="162244"/>
                  </a:lnTo>
                  <a:lnTo>
                    <a:pt x="127208" y="0"/>
                  </a:lnTo>
                  <a:lnTo>
                    <a:pt x="110436" y="0"/>
                  </a:lnTo>
                  <a:lnTo>
                    <a:pt x="110436" y="119120"/>
                  </a:lnTo>
                  <a:close/>
                </a:path>
              </a:pathLst>
            </a:custGeom>
            <a:solidFill>
              <a:srgbClr val="E2E2E3"/>
            </a:solidFill>
            <a:ln w="3718" cap="flat">
              <a:no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31A4239E-E1DB-4B9B-A879-C3D6F6681801}"/>
                </a:ext>
              </a:extLst>
            </p:cNvPr>
            <p:cNvSpPr/>
            <p:nvPr/>
          </p:nvSpPr>
          <p:spPr>
            <a:xfrm>
              <a:off x="1956301" y="6590935"/>
              <a:ext cx="120414" cy="163325"/>
            </a:xfrm>
            <a:custGeom>
              <a:avLst/>
              <a:gdLst>
                <a:gd name="connsiteX0" fmla="*/ 64704 w 120414"/>
                <a:gd name="connsiteY0" fmla="*/ 142080 h 163325"/>
                <a:gd name="connsiteX1" fmla="*/ 38912 w 120414"/>
                <a:gd name="connsiteY1" fmla="*/ 146478 h 163325"/>
                <a:gd name="connsiteX2" fmla="*/ 16549 w 120414"/>
                <a:gd name="connsiteY2" fmla="*/ 146478 h 163325"/>
                <a:gd name="connsiteX3" fmla="*/ 16549 w 120414"/>
                <a:gd name="connsiteY3" fmla="*/ 16474 h 163325"/>
                <a:gd name="connsiteX4" fmla="*/ 38539 w 120414"/>
                <a:gd name="connsiteY4" fmla="*/ 16474 h 163325"/>
                <a:gd name="connsiteX5" fmla="*/ 64629 w 120414"/>
                <a:gd name="connsiteY5" fmla="*/ 20872 h 163325"/>
                <a:gd name="connsiteX6" fmla="*/ 85650 w 120414"/>
                <a:gd name="connsiteY6" fmla="*/ 34476 h 163325"/>
                <a:gd name="connsiteX7" fmla="*/ 99180 w 120414"/>
                <a:gd name="connsiteY7" fmla="*/ 55535 h 163325"/>
                <a:gd name="connsiteX8" fmla="*/ 103578 w 120414"/>
                <a:gd name="connsiteY8" fmla="*/ 81625 h 163325"/>
                <a:gd name="connsiteX9" fmla="*/ 99180 w 120414"/>
                <a:gd name="connsiteY9" fmla="*/ 107715 h 163325"/>
                <a:gd name="connsiteX10" fmla="*/ 85799 w 120414"/>
                <a:gd name="connsiteY10" fmla="*/ 128811 h 163325"/>
                <a:gd name="connsiteX11" fmla="*/ 64815 w 120414"/>
                <a:gd name="connsiteY11" fmla="*/ 142266 h 163325"/>
                <a:gd name="connsiteX12" fmla="*/ 114983 w 120414"/>
                <a:gd name="connsiteY12" fmla="*/ 113492 h 163325"/>
                <a:gd name="connsiteX13" fmla="*/ 114983 w 120414"/>
                <a:gd name="connsiteY13" fmla="*/ 50130 h 163325"/>
                <a:gd name="connsiteX14" fmla="*/ 98845 w 120414"/>
                <a:gd name="connsiteY14" fmla="*/ 24040 h 163325"/>
                <a:gd name="connsiteX15" fmla="*/ 71487 w 120414"/>
                <a:gd name="connsiteY15" fmla="*/ 6187 h 163325"/>
                <a:gd name="connsiteX16" fmla="*/ 43161 w 120414"/>
                <a:gd name="connsiteY16" fmla="*/ 0 h 163325"/>
                <a:gd name="connsiteX17" fmla="*/ 0 w 120414"/>
                <a:gd name="connsiteY17" fmla="*/ 0 h 163325"/>
                <a:gd name="connsiteX18" fmla="*/ 0 w 120414"/>
                <a:gd name="connsiteY18" fmla="*/ 163325 h 163325"/>
                <a:gd name="connsiteX19" fmla="*/ 38688 w 120414"/>
                <a:gd name="connsiteY19" fmla="*/ 163325 h 163325"/>
                <a:gd name="connsiteX20" fmla="*/ 71487 w 120414"/>
                <a:gd name="connsiteY20" fmla="*/ 156989 h 163325"/>
                <a:gd name="connsiteX21" fmla="*/ 98509 w 120414"/>
                <a:gd name="connsiteY21" fmla="*/ 139322 h 163325"/>
                <a:gd name="connsiteX22" fmla="*/ 114760 w 120414"/>
                <a:gd name="connsiteY22" fmla="*/ 113232 h 16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0414" h="163325">
                  <a:moveTo>
                    <a:pt x="64704" y="142080"/>
                  </a:moveTo>
                  <a:cubicBezTo>
                    <a:pt x="56437" y="145074"/>
                    <a:pt x="47704" y="146564"/>
                    <a:pt x="38912" y="146478"/>
                  </a:cubicBezTo>
                  <a:lnTo>
                    <a:pt x="16549" y="146478"/>
                  </a:lnTo>
                  <a:lnTo>
                    <a:pt x="16549" y="16474"/>
                  </a:lnTo>
                  <a:lnTo>
                    <a:pt x="38539" y="16474"/>
                  </a:lnTo>
                  <a:cubicBezTo>
                    <a:pt x="47428" y="16361"/>
                    <a:pt x="56269" y="17850"/>
                    <a:pt x="64629" y="20872"/>
                  </a:cubicBezTo>
                  <a:cubicBezTo>
                    <a:pt x="72486" y="23938"/>
                    <a:pt x="79635" y="28566"/>
                    <a:pt x="85650" y="34476"/>
                  </a:cubicBezTo>
                  <a:cubicBezTo>
                    <a:pt x="91610" y="40450"/>
                    <a:pt x="96224" y="47630"/>
                    <a:pt x="99180" y="55535"/>
                  </a:cubicBezTo>
                  <a:cubicBezTo>
                    <a:pt x="102195" y="63898"/>
                    <a:pt x="103686" y="72735"/>
                    <a:pt x="103578" y="81625"/>
                  </a:cubicBezTo>
                  <a:cubicBezTo>
                    <a:pt x="103690" y="90516"/>
                    <a:pt x="102203" y="99353"/>
                    <a:pt x="99180" y="107715"/>
                  </a:cubicBezTo>
                  <a:cubicBezTo>
                    <a:pt x="96258" y="115613"/>
                    <a:pt x="91700" y="122803"/>
                    <a:pt x="85799" y="128811"/>
                  </a:cubicBezTo>
                  <a:cubicBezTo>
                    <a:pt x="79855" y="134752"/>
                    <a:pt x="72695" y="139342"/>
                    <a:pt x="64815" y="142266"/>
                  </a:cubicBezTo>
                  <a:moveTo>
                    <a:pt x="114983" y="113492"/>
                  </a:moveTo>
                  <a:cubicBezTo>
                    <a:pt x="122225" y="92993"/>
                    <a:pt x="122225" y="70630"/>
                    <a:pt x="114983" y="50130"/>
                  </a:cubicBezTo>
                  <a:cubicBezTo>
                    <a:pt x="111647" y="40324"/>
                    <a:pt x="106131" y="31404"/>
                    <a:pt x="98845" y="24040"/>
                  </a:cubicBezTo>
                  <a:cubicBezTo>
                    <a:pt x="91036" y="16288"/>
                    <a:pt x="81726" y="10213"/>
                    <a:pt x="71487" y="6187"/>
                  </a:cubicBezTo>
                  <a:cubicBezTo>
                    <a:pt x="62456" y="2562"/>
                    <a:pt x="52881" y="471"/>
                    <a:pt x="43161" y="0"/>
                  </a:cubicBezTo>
                  <a:lnTo>
                    <a:pt x="0" y="0"/>
                  </a:lnTo>
                  <a:lnTo>
                    <a:pt x="0" y="163325"/>
                  </a:lnTo>
                  <a:lnTo>
                    <a:pt x="38688" y="163325"/>
                  </a:lnTo>
                  <a:cubicBezTo>
                    <a:pt x="49929" y="163357"/>
                    <a:pt x="61066" y="161205"/>
                    <a:pt x="71487" y="156989"/>
                  </a:cubicBezTo>
                  <a:cubicBezTo>
                    <a:pt x="81618" y="153032"/>
                    <a:pt x="90820" y="147016"/>
                    <a:pt x="98509" y="139322"/>
                  </a:cubicBezTo>
                  <a:cubicBezTo>
                    <a:pt x="105826" y="131963"/>
                    <a:pt x="111383" y="123044"/>
                    <a:pt x="114760" y="113232"/>
                  </a:cubicBezTo>
                </a:path>
              </a:pathLst>
            </a:custGeom>
            <a:solidFill>
              <a:srgbClr val="E2E2E3"/>
            </a:solidFill>
            <a:ln w="3718" cap="flat">
              <a:noFill/>
              <a:prstDash val="solid"/>
              <a:miter/>
            </a:ln>
          </p:spPr>
          <p:txBody>
            <a:bodyPr rtlCol="0" anchor="ctr"/>
            <a:lstStyle/>
            <a:p>
              <a:endParaRPr lang="en-US" dirty="0"/>
            </a:p>
          </p:txBody>
        </p:sp>
        <p:sp>
          <p:nvSpPr>
            <p:cNvPr id="18" name="Freeform: Shape 17">
              <a:extLst>
                <a:ext uri="{FF2B5EF4-FFF2-40B4-BE49-F238E27FC236}">
                  <a16:creationId xmlns:a16="http://schemas.microsoft.com/office/drawing/2014/main" id="{1C50E4F4-CB30-4422-8BB2-07D44F5F85F5}"/>
                </a:ext>
              </a:extLst>
            </p:cNvPr>
            <p:cNvSpPr/>
            <p:nvPr/>
          </p:nvSpPr>
          <p:spPr>
            <a:xfrm>
              <a:off x="370754" y="6588754"/>
              <a:ext cx="167181" cy="167152"/>
            </a:xfrm>
            <a:custGeom>
              <a:avLst/>
              <a:gdLst>
                <a:gd name="connsiteX0" fmla="*/ 48014 w 167181"/>
                <a:gd name="connsiteY0" fmla="*/ 48062 h 167152"/>
                <a:gd name="connsiteX1" fmla="*/ 118646 w 167181"/>
                <a:gd name="connsiteY1" fmla="*/ 47877 h 167152"/>
                <a:gd name="connsiteX2" fmla="*/ 118830 w 167181"/>
                <a:gd name="connsiteY2" fmla="*/ 48062 h 167152"/>
                <a:gd name="connsiteX3" fmla="*/ 133739 w 167181"/>
                <a:gd name="connsiteY3" fmla="*/ 83544 h 167152"/>
                <a:gd name="connsiteX4" fmla="*/ 118830 w 167181"/>
                <a:gd name="connsiteY4" fmla="*/ 119027 h 167152"/>
                <a:gd name="connsiteX5" fmla="*/ 48014 w 167181"/>
                <a:gd name="connsiteY5" fmla="*/ 119027 h 167152"/>
                <a:gd name="connsiteX6" fmla="*/ 33292 w 167181"/>
                <a:gd name="connsiteY6" fmla="*/ 83507 h 167152"/>
                <a:gd name="connsiteX7" fmla="*/ 48014 w 167181"/>
                <a:gd name="connsiteY7" fmla="*/ 48024 h 167152"/>
                <a:gd name="connsiteX8" fmla="*/ 83460 w 167181"/>
                <a:gd name="connsiteY8" fmla="*/ 167108 h 167152"/>
                <a:gd name="connsiteX9" fmla="*/ 142573 w 167181"/>
                <a:gd name="connsiteY9" fmla="*/ 142806 h 167152"/>
                <a:gd name="connsiteX10" fmla="*/ 167172 w 167181"/>
                <a:gd name="connsiteY10" fmla="*/ 83693 h 167152"/>
                <a:gd name="connsiteX11" fmla="*/ 142573 w 167181"/>
                <a:gd name="connsiteY11" fmla="*/ 24543 h 167152"/>
                <a:gd name="connsiteX12" fmla="*/ 24924 w 167181"/>
                <a:gd name="connsiteY12" fmla="*/ 24189 h 167152"/>
                <a:gd name="connsiteX13" fmla="*/ 24533 w 167181"/>
                <a:gd name="connsiteY13" fmla="*/ 24580 h 167152"/>
                <a:gd name="connsiteX14" fmla="*/ 8 w 167181"/>
                <a:gd name="connsiteY14" fmla="*/ 83731 h 167152"/>
                <a:gd name="connsiteX15" fmla="*/ 24533 w 167181"/>
                <a:gd name="connsiteY15" fmla="*/ 142844 h 167152"/>
                <a:gd name="connsiteX16" fmla="*/ 83609 w 167181"/>
                <a:gd name="connsiteY16" fmla="*/ 167145 h 16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7181" h="167152">
                  <a:moveTo>
                    <a:pt x="48014" y="48062"/>
                  </a:moveTo>
                  <a:cubicBezTo>
                    <a:pt x="67467" y="28506"/>
                    <a:pt x="99090" y="28424"/>
                    <a:pt x="118646" y="47877"/>
                  </a:cubicBezTo>
                  <a:cubicBezTo>
                    <a:pt x="118707" y="47938"/>
                    <a:pt x="118769" y="48000"/>
                    <a:pt x="118830" y="48062"/>
                  </a:cubicBezTo>
                  <a:cubicBezTo>
                    <a:pt x="128486" y="57324"/>
                    <a:pt x="133882" y="70166"/>
                    <a:pt x="133739" y="83544"/>
                  </a:cubicBezTo>
                  <a:cubicBezTo>
                    <a:pt x="133931" y="96933"/>
                    <a:pt x="128527" y="109794"/>
                    <a:pt x="118830" y="119027"/>
                  </a:cubicBezTo>
                  <a:cubicBezTo>
                    <a:pt x="99245" y="138511"/>
                    <a:pt x="67599" y="138511"/>
                    <a:pt x="48014" y="119027"/>
                  </a:cubicBezTo>
                  <a:cubicBezTo>
                    <a:pt x="38418" y="109724"/>
                    <a:pt x="33090" y="96871"/>
                    <a:pt x="33292" y="83507"/>
                  </a:cubicBezTo>
                  <a:cubicBezTo>
                    <a:pt x="33145" y="70165"/>
                    <a:pt x="38464" y="57343"/>
                    <a:pt x="48014" y="48024"/>
                  </a:cubicBezTo>
                  <a:moveTo>
                    <a:pt x="83460" y="167108"/>
                  </a:moveTo>
                  <a:cubicBezTo>
                    <a:pt x="105663" y="167458"/>
                    <a:pt x="127035" y="158672"/>
                    <a:pt x="142573" y="142806"/>
                  </a:cubicBezTo>
                  <a:cubicBezTo>
                    <a:pt x="158615" y="127366"/>
                    <a:pt x="167524" y="105957"/>
                    <a:pt x="167172" y="83693"/>
                  </a:cubicBezTo>
                  <a:cubicBezTo>
                    <a:pt x="167485" y="61427"/>
                    <a:pt x="158583" y="40021"/>
                    <a:pt x="142573" y="24543"/>
                  </a:cubicBezTo>
                  <a:cubicBezTo>
                    <a:pt x="110183" y="-8042"/>
                    <a:pt x="57510" y="-8201"/>
                    <a:pt x="24924" y="24189"/>
                  </a:cubicBezTo>
                  <a:cubicBezTo>
                    <a:pt x="24793" y="24319"/>
                    <a:pt x="24663" y="24450"/>
                    <a:pt x="24533" y="24580"/>
                  </a:cubicBezTo>
                  <a:cubicBezTo>
                    <a:pt x="8591" y="40099"/>
                    <a:pt x="-276" y="61485"/>
                    <a:pt x="8" y="83731"/>
                  </a:cubicBezTo>
                  <a:cubicBezTo>
                    <a:pt x="-310" y="105972"/>
                    <a:pt x="8564" y="127360"/>
                    <a:pt x="24533" y="142844"/>
                  </a:cubicBezTo>
                  <a:cubicBezTo>
                    <a:pt x="40084" y="158666"/>
                    <a:pt x="61426" y="167445"/>
                    <a:pt x="83609" y="167145"/>
                  </a:cubicBezTo>
                </a:path>
              </a:pathLst>
            </a:custGeom>
            <a:solidFill>
              <a:srgbClr val="E2E2E3"/>
            </a:solidFill>
            <a:ln w="3718"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5364035F-3DB2-4430-8204-323C9A7574A2}"/>
                </a:ext>
              </a:extLst>
            </p:cNvPr>
            <p:cNvSpPr/>
            <p:nvPr/>
          </p:nvSpPr>
          <p:spPr>
            <a:xfrm>
              <a:off x="552052" y="6589991"/>
              <a:ext cx="121133" cy="164789"/>
            </a:xfrm>
            <a:custGeom>
              <a:avLst/>
              <a:gdLst>
                <a:gd name="connsiteX0" fmla="*/ 33321 w 121133"/>
                <a:gd name="connsiteY0" fmla="*/ 32848 h 164789"/>
                <a:gd name="connsiteX1" fmla="*/ 51957 w 121133"/>
                <a:gd name="connsiteY1" fmla="*/ 32848 h 164789"/>
                <a:gd name="connsiteX2" fmla="*/ 72382 w 121133"/>
                <a:gd name="connsiteY2" fmla="*/ 39371 h 164789"/>
                <a:gd name="connsiteX3" fmla="*/ 78941 w 121133"/>
                <a:gd name="connsiteY3" fmla="*/ 55211 h 164789"/>
                <a:gd name="connsiteX4" fmla="*/ 56914 w 121133"/>
                <a:gd name="connsiteY4" fmla="*/ 78543 h 164789"/>
                <a:gd name="connsiteX5" fmla="*/ 45732 w 121133"/>
                <a:gd name="connsiteY5" fmla="*/ 78543 h 164789"/>
                <a:gd name="connsiteX6" fmla="*/ 45732 w 121133"/>
                <a:gd name="connsiteY6" fmla="*/ 78543 h 164789"/>
                <a:gd name="connsiteX7" fmla="*/ 33321 w 121133"/>
                <a:gd name="connsiteY7" fmla="*/ 78543 h 164789"/>
                <a:gd name="connsiteX8" fmla="*/ 33321 w 121133"/>
                <a:gd name="connsiteY8" fmla="*/ 164790 h 164789"/>
                <a:gd name="connsiteX9" fmla="*/ 33321 w 121133"/>
                <a:gd name="connsiteY9" fmla="*/ 91924 h 164789"/>
                <a:gd name="connsiteX10" fmla="*/ 80656 w 121133"/>
                <a:gd name="connsiteY10" fmla="*/ 164790 h 164789"/>
                <a:gd name="connsiteX11" fmla="*/ 121133 w 121133"/>
                <a:gd name="connsiteY11" fmla="*/ 164790 h 164789"/>
                <a:gd name="connsiteX12" fmla="*/ 82818 w 121133"/>
                <a:gd name="connsiteY12" fmla="*/ 105155 h 164789"/>
                <a:gd name="connsiteX13" fmla="*/ 102423 w 121133"/>
                <a:gd name="connsiteY13" fmla="*/ 89725 h 164789"/>
                <a:gd name="connsiteX14" fmla="*/ 112859 w 121133"/>
                <a:gd name="connsiteY14" fmla="*/ 58342 h 164789"/>
                <a:gd name="connsiteX15" fmla="*/ 112859 w 121133"/>
                <a:gd name="connsiteY15" fmla="*/ 54205 h 164789"/>
                <a:gd name="connsiteX16" fmla="*/ 96906 w 121133"/>
                <a:gd name="connsiteY16" fmla="*/ 16933 h 164789"/>
                <a:gd name="connsiteX17" fmla="*/ 53746 w 121133"/>
                <a:gd name="connsiteY17" fmla="*/ 12 h 164789"/>
                <a:gd name="connsiteX18" fmla="*/ 0 w 121133"/>
                <a:gd name="connsiteY18" fmla="*/ 12 h 164789"/>
                <a:gd name="connsiteX19" fmla="*/ 0 w 121133"/>
                <a:gd name="connsiteY19" fmla="*/ 164790 h 16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133" h="164789">
                  <a:moveTo>
                    <a:pt x="33321" y="32848"/>
                  </a:moveTo>
                  <a:lnTo>
                    <a:pt x="51957" y="32848"/>
                  </a:lnTo>
                  <a:cubicBezTo>
                    <a:pt x="59325" y="32508"/>
                    <a:pt x="66575" y="34822"/>
                    <a:pt x="72382" y="39371"/>
                  </a:cubicBezTo>
                  <a:cubicBezTo>
                    <a:pt x="76586" y="43570"/>
                    <a:pt x="78945" y="49269"/>
                    <a:pt x="78941" y="55211"/>
                  </a:cubicBezTo>
                  <a:cubicBezTo>
                    <a:pt x="79296" y="67735"/>
                    <a:pt x="69437" y="78178"/>
                    <a:pt x="56914" y="78543"/>
                  </a:cubicBezTo>
                  <a:lnTo>
                    <a:pt x="45732" y="78543"/>
                  </a:lnTo>
                  <a:lnTo>
                    <a:pt x="45732" y="78543"/>
                  </a:lnTo>
                  <a:lnTo>
                    <a:pt x="33321" y="78543"/>
                  </a:lnTo>
                  <a:close/>
                  <a:moveTo>
                    <a:pt x="33321" y="164790"/>
                  </a:moveTo>
                  <a:lnTo>
                    <a:pt x="33321" y="91924"/>
                  </a:lnTo>
                  <a:lnTo>
                    <a:pt x="80656" y="164790"/>
                  </a:lnTo>
                  <a:lnTo>
                    <a:pt x="121133" y="164790"/>
                  </a:lnTo>
                  <a:lnTo>
                    <a:pt x="82818" y="105155"/>
                  </a:lnTo>
                  <a:cubicBezTo>
                    <a:pt x="90932" y="102416"/>
                    <a:pt x="97853" y="96968"/>
                    <a:pt x="102423" y="89725"/>
                  </a:cubicBezTo>
                  <a:cubicBezTo>
                    <a:pt x="109132" y="80630"/>
                    <a:pt x="112784" y="69643"/>
                    <a:pt x="112859" y="58342"/>
                  </a:cubicBezTo>
                  <a:lnTo>
                    <a:pt x="112859" y="54205"/>
                  </a:lnTo>
                  <a:cubicBezTo>
                    <a:pt x="112859" y="35979"/>
                    <a:pt x="106933" y="26810"/>
                    <a:pt x="96906" y="16933"/>
                  </a:cubicBezTo>
                  <a:cubicBezTo>
                    <a:pt x="85337" y="5785"/>
                    <a:pt x="69810" y="-303"/>
                    <a:pt x="53746" y="12"/>
                  </a:cubicBezTo>
                  <a:lnTo>
                    <a:pt x="0" y="12"/>
                  </a:lnTo>
                  <a:lnTo>
                    <a:pt x="0" y="164790"/>
                  </a:lnTo>
                  <a:close/>
                </a:path>
              </a:pathLst>
            </a:custGeom>
            <a:solidFill>
              <a:srgbClr val="E2E2E3"/>
            </a:solidFill>
            <a:ln w="3718" cap="flat">
              <a:noFill/>
              <a:prstDash val="solid"/>
              <a:miter/>
            </a:ln>
          </p:spPr>
          <p:txBody>
            <a:bodyPr rtlCol="0" anchor="ctr"/>
            <a:lstStyle/>
            <a:p>
              <a:endParaRPr lang="en-US" dirty="0"/>
            </a:p>
          </p:txBody>
        </p:sp>
        <p:sp>
          <p:nvSpPr>
            <p:cNvPr id="20" name="Freeform: Shape 19">
              <a:extLst>
                <a:ext uri="{FF2B5EF4-FFF2-40B4-BE49-F238E27FC236}">
                  <a16:creationId xmlns:a16="http://schemas.microsoft.com/office/drawing/2014/main" id="{DB8F31DC-F67C-4A7A-8EB4-2D55F7ED8544}"/>
                </a:ext>
              </a:extLst>
            </p:cNvPr>
            <p:cNvSpPr/>
            <p:nvPr/>
          </p:nvSpPr>
          <p:spPr>
            <a:xfrm>
              <a:off x="681161" y="6590003"/>
              <a:ext cx="114275" cy="164778"/>
            </a:xfrm>
            <a:custGeom>
              <a:avLst/>
              <a:gdLst>
                <a:gd name="connsiteX0" fmla="*/ 40552 w 114275"/>
                <a:gd name="connsiteY0" fmla="*/ 164778 h 164778"/>
                <a:gd name="connsiteX1" fmla="*/ 73798 w 114275"/>
                <a:gd name="connsiteY1" fmla="*/ 164778 h 164778"/>
                <a:gd name="connsiteX2" fmla="*/ 73798 w 114275"/>
                <a:gd name="connsiteY2" fmla="*/ 32836 h 164778"/>
                <a:gd name="connsiteX3" fmla="*/ 114275 w 114275"/>
                <a:gd name="connsiteY3" fmla="*/ 32836 h 164778"/>
                <a:gd name="connsiteX4" fmla="*/ 114275 w 114275"/>
                <a:gd name="connsiteY4" fmla="*/ 0 h 164778"/>
                <a:gd name="connsiteX5" fmla="*/ 0 w 114275"/>
                <a:gd name="connsiteY5" fmla="*/ 0 h 164778"/>
                <a:gd name="connsiteX6" fmla="*/ 0 w 114275"/>
                <a:gd name="connsiteY6" fmla="*/ 32836 h 164778"/>
                <a:gd name="connsiteX7" fmla="*/ 40552 w 114275"/>
                <a:gd name="connsiteY7" fmla="*/ 32836 h 164778"/>
                <a:gd name="connsiteX8" fmla="*/ 40552 w 114275"/>
                <a:gd name="connsiteY8" fmla="*/ 164778 h 16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275" h="164778">
                  <a:moveTo>
                    <a:pt x="40552" y="164778"/>
                  </a:moveTo>
                  <a:lnTo>
                    <a:pt x="73798" y="164778"/>
                  </a:lnTo>
                  <a:lnTo>
                    <a:pt x="73798" y="32836"/>
                  </a:lnTo>
                  <a:lnTo>
                    <a:pt x="114275" y="32836"/>
                  </a:lnTo>
                  <a:lnTo>
                    <a:pt x="114275" y="0"/>
                  </a:lnTo>
                  <a:lnTo>
                    <a:pt x="0" y="0"/>
                  </a:lnTo>
                  <a:lnTo>
                    <a:pt x="0" y="32836"/>
                  </a:lnTo>
                  <a:lnTo>
                    <a:pt x="40552" y="32836"/>
                  </a:lnTo>
                  <a:lnTo>
                    <a:pt x="40552" y="164778"/>
                  </a:lnTo>
                  <a:close/>
                </a:path>
              </a:pathLst>
            </a:custGeom>
            <a:solidFill>
              <a:srgbClr val="E2E2E3"/>
            </a:solidFill>
            <a:ln w="3718"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119D7DF2-B316-4A4F-8EAF-7660F2DECAB0}"/>
                </a:ext>
              </a:extLst>
            </p:cNvPr>
            <p:cNvSpPr/>
            <p:nvPr/>
          </p:nvSpPr>
          <p:spPr>
            <a:xfrm>
              <a:off x="809749" y="6590003"/>
              <a:ext cx="121095" cy="164778"/>
            </a:xfrm>
            <a:custGeom>
              <a:avLst/>
              <a:gdLst>
                <a:gd name="connsiteX0" fmla="*/ 33023 w 121095"/>
                <a:gd name="connsiteY0" fmla="*/ 98770 h 164778"/>
                <a:gd name="connsiteX1" fmla="*/ 88110 w 121095"/>
                <a:gd name="connsiteY1" fmla="*/ 98770 h 164778"/>
                <a:gd name="connsiteX2" fmla="*/ 88110 w 121095"/>
                <a:gd name="connsiteY2" fmla="*/ 164778 h 164778"/>
                <a:gd name="connsiteX3" fmla="*/ 121096 w 121095"/>
                <a:gd name="connsiteY3" fmla="*/ 164778 h 164778"/>
                <a:gd name="connsiteX4" fmla="*/ 121096 w 121095"/>
                <a:gd name="connsiteY4" fmla="*/ 0 h 164778"/>
                <a:gd name="connsiteX5" fmla="*/ 88110 w 121095"/>
                <a:gd name="connsiteY5" fmla="*/ 0 h 164778"/>
                <a:gd name="connsiteX6" fmla="*/ 88110 w 121095"/>
                <a:gd name="connsiteY6" fmla="*/ 65934 h 164778"/>
                <a:gd name="connsiteX7" fmla="*/ 33023 w 121095"/>
                <a:gd name="connsiteY7" fmla="*/ 65934 h 164778"/>
                <a:gd name="connsiteX8" fmla="*/ 33023 w 121095"/>
                <a:gd name="connsiteY8" fmla="*/ 0 h 164778"/>
                <a:gd name="connsiteX9" fmla="*/ 0 w 121095"/>
                <a:gd name="connsiteY9" fmla="*/ 0 h 164778"/>
                <a:gd name="connsiteX10" fmla="*/ 0 w 121095"/>
                <a:gd name="connsiteY10" fmla="*/ 164778 h 164778"/>
                <a:gd name="connsiteX11" fmla="*/ 33023 w 121095"/>
                <a:gd name="connsiteY11" fmla="*/ 164778 h 164778"/>
                <a:gd name="connsiteX12" fmla="*/ 33023 w 121095"/>
                <a:gd name="connsiteY12" fmla="*/ 98770 h 16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095" h="164778">
                  <a:moveTo>
                    <a:pt x="33023" y="98770"/>
                  </a:moveTo>
                  <a:lnTo>
                    <a:pt x="88110" y="98770"/>
                  </a:lnTo>
                  <a:lnTo>
                    <a:pt x="88110" y="164778"/>
                  </a:lnTo>
                  <a:lnTo>
                    <a:pt x="121096" y="164778"/>
                  </a:lnTo>
                  <a:lnTo>
                    <a:pt x="121096" y="0"/>
                  </a:lnTo>
                  <a:lnTo>
                    <a:pt x="88110" y="0"/>
                  </a:lnTo>
                  <a:lnTo>
                    <a:pt x="88110" y="65934"/>
                  </a:lnTo>
                  <a:lnTo>
                    <a:pt x="33023" y="65934"/>
                  </a:lnTo>
                  <a:lnTo>
                    <a:pt x="33023" y="0"/>
                  </a:lnTo>
                  <a:lnTo>
                    <a:pt x="0" y="0"/>
                  </a:lnTo>
                  <a:lnTo>
                    <a:pt x="0" y="164778"/>
                  </a:lnTo>
                  <a:lnTo>
                    <a:pt x="33023" y="164778"/>
                  </a:lnTo>
                  <a:lnTo>
                    <a:pt x="33023" y="98770"/>
                  </a:lnTo>
                  <a:close/>
                </a:path>
              </a:pathLst>
            </a:custGeom>
            <a:solidFill>
              <a:srgbClr val="E2E2E3"/>
            </a:solidFill>
            <a:ln w="3718"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8B36A1D3-392B-4405-AB2C-13538FAD8D61}"/>
                </a:ext>
              </a:extLst>
            </p:cNvPr>
            <p:cNvSpPr/>
            <p:nvPr/>
          </p:nvSpPr>
          <p:spPr>
            <a:xfrm>
              <a:off x="223838" y="6589593"/>
              <a:ext cx="132463" cy="168580"/>
            </a:xfrm>
            <a:custGeom>
              <a:avLst/>
              <a:gdLst>
                <a:gd name="connsiteX0" fmla="*/ 0 w 132463"/>
                <a:gd name="connsiteY0" fmla="*/ 165412 h 168580"/>
                <a:gd name="connsiteX1" fmla="*/ 33097 w 132463"/>
                <a:gd name="connsiteY1" fmla="*/ 165412 h 168580"/>
                <a:gd name="connsiteX2" fmla="*/ 33097 w 132463"/>
                <a:gd name="connsiteY2" fmla="*/ 73910 h 168580"/>
                <a:gd name="connsiteX3" fmla="*/ 132464 w 132463"/>
                <a:gd name="connsiteY3" fmla="*/ 168580 h 168580"/>
                <a:gd name="connsiteX4" fmla="*/ 132464 w 132463"/>
                <a:gd name="connsiteY4" fmla="*/ 0 h 168580"/>
                <a:gd name="connsiteX5" fmla="*/ 99255 w 132463"/>
                <a:gd name="connsiteY5" fmla="*/ 0 h 168580"/>
                <a:gd name="connsiteX6" fmla="*/ 99255 w 132463"/>
                <a:gd name="connsiteY6" fmla="*/ 91502 h 168580"/>
                <a:gd name="connsiteX7" fmla="*/ 48490 w 132463"/>
                <a:gd name="connsiteY7" fmla="*/ 43161 h 168580"/>
                <a:gd name="connsiteX8" fmla="*/ 0 w 132463"/>
                <a:gd name="connsiteY8" fmla="*/ 91651 h 168580"/>
                <a:gd name="connsiteX9" fmla="*/ 0 w 132463"/>
                <a:gd name="connsiteY9" fmla="*/ 165412 h 16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463" h="168580">
                  <a:moveTo>
                    <a:pt x="0" y="165412"/>
                  </a:moveTo>
                  <a:lnTo>
                    <a:pt x="33097" y="165412"/>
                  </a:lnTo>
                  <a:lnTo>
                    <a:pt x="33097" y="73910"/>
                  </a:lnTo>
                  <a:lnTo>
                    <a:pt x="132464" y="168580"/>
                  </a:lnTo>
                  <a:lnTo>
                    <a:pt x="132464" y="0"/>
                  </a:lnTo>
                  <a:lnTo>
                    <a:pt x="99255" y="0"/>
                  </a:lnTo>
                  <a:lnTo>
                    <a:pt x="99255" y="91502"/>
                  </a:lnTo>
                  <a:lnTo>
                    <a:pt x="48490" y="43161"/>
                  </a:lnTo>
                  <a:lnTo>
                    <a:pt x="0" y="91651"/>
                  </a:lnTo>
                  <a:lnTo>
                    <a:pt x="0" y="165412"/>
                  </a:lnTo>
                  <a:close/>
                </a:path>
              </a:pathLst>
            </a:custGeom>
            <a:solidFill>
              <a:srgbClr val="E2E2E3"/>
            </a:solidFill>
            <a:ln w="3718" cap="flat">
              <a:no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458EE651-502B-4CBD-B426-5806239E3B96}"/>
                </a:ext>
              </a:extLst>
            </p:cNvPr>
            <p:cNvSpPr/>
            <p:nvPr/>
          </p:nvSpPr>
          <p:spPr>
            <a:xfrm>
              <a:off x="223838" y="6586537"/>
              <a:ext cx="48490" cy="94707"/>
            </a:xfrm>
            <a:custGeom>
              <a:avLst/>
              <a:gdLst>
                <a:gd name="connsiteX0" fmla="*/ 0 w 48490"/>
                <a:gd name="connsiteY0" fmla="*/ 94707 h 94707"/>
                <a:gd name="connsiteX1" fmla="*/ 48490 w 48490"/>
                <a:gd name="connsiteY1" fmla="*/ 46180 h 94707"/>
                <a:gd name="connsiteX2" fmla="*/ 0 w 48490"/>
                <a:gd name="connsiteY2" fmla="*/ 0 h 94707"/>
                <a:gd name="connsiteX3" fmla="*/ 0 w 48490"/>
                <a:gd name="connsiteY3" fmla="*/ 94707 h 94707"/>
              </a:gdLst>
              <a:ahLst/>
              <a:cxnLst>
                <a:cxn ang="0">
                  <a:pos x="connsiteX0" y="connsiteY0"/>
                </a:cxn>
                <a:cxn ang="0">
                  <a:pos x="connsiteX1" y="connsiteY1"/>
                </a:cxn>
                <a:cxn ang="0">
                  <a:pos x="connsiteX2" y="connsiteY2"/>
                </a:cxn>
                <a:cxn ang="0">
                  <a:pos x="connsiteX3" y="connsiteY3"/>
                </a:cxn>
              </a:cxnLst>
              <a:rect l="l" t="t" r="r" b="b"/>
              <a:pathLst>
                <a:path w="48490" h="94707">
                  <a:moveTo>
                    <a:pt x="0" y="94707"/>
                  </a:moveTo>
                  <a:lnTo>
                    <a:pt x="48490" y="46180"/>
                  </a:lnTo>
                  <a:lnTo>
                    <a:pt x="0" y="0"/>
                  </a:lnTo>
                  <a:lnTo>
                    <a:pt x="0" y="94707"/>
                  </a:lnTo>
                  <a:close/>
                </a:path>
              </a:pathLst>
            </a:custGeom>
            <a:solidFill>
              <a:schemeClr val="accent3"/>
            </a:solidFill>
            <a:ln w="3718"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615292970"/>
      </p:ext>
    </p:extLst>
  </p:cSld>
  <p:clrMapOvr>
    <a:overrideClrMapping bg1="dk1" tx1="lt1" bg2="dk2" tx2="lt2" accent1="accent1" accent2="accent2" accent3="accent3" accent4="accent4" accent5="accent5" accent6="accent6" hlink="hlink" folHlink="folHlink"/>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ection Divider Teal">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904D09A-4AE1-41F7-8585-54F9D1A47C7F}"/>
              </a:ext>
            </a:extLst>
          </p:cNvPr>
          <p:cNvSpPr>
            <a:spLocks noGrp="1"/>
          </p:cNvSpPr>
          <p:nvPr>
            <p:ph type="sldNum" sz="quarter" idx="12"/>
          </p:nvPr>
        </p:nvSpPr>
        <p:spPr/>
        <p:txBody>
          <a:bodyPr/>
          <a:lstStyle/>
          <a:p>
            <a:fld id="{5034EE70-12A8-400F-8E3D-398CDD8B315D}" type="slidenum">
              <a:rPr lang="en-US" smtClean="0"/>
              <a:pPr/>
              <a:t>‹#›</a:t>
            </a:fld>
            <a:endParaRPr lang="en-US" dirty="0"/>
          </a:p>
        </p:txBody>
      </p:sp>
      <p:sp>
        <p:nvSpPr>
          <p:cNvPr id="3" name="TextBox 2">
            <a:extLst>
              <a:ext uri="{FF2B5EF4-FFF2-40B4-BE49-F238E27FC236}">
                <a16:creationId xmlns:a16="http://schemas.microsoft.com/office/drawing/2014/main" id="{8F0FEF4F-CB78-4E83-B032-12859ABB3DF4}"/>
              </a:ext>
            </a:extLst>
          </p:cNvPr>
          <p:cNvSpPr txBox="1"/>
          <p:nvPr userDrawn="1"/>
        </p:nvSpPr>
        <p:spPr>
          <a:xfrm>
            <a:off x="9817769" y="6576218"/>
            <a:ext cx="1771776" cy="171450"/>
          </a:xfrm>
          <a:prstGeom prst="rect">
            <a:avLst/>
          </a:prstGeom>
          <a:noFill/>
        </p:spPr>
        <p:txBody>
          <a:bodyPr wrap="square" rtlCol="0">
            <a:noAutofit/>
          </a:bodyPr>
          <a:lstStyle/>
          <a:p>
            <a:pPr algn="ctr">
              <a:lnSpc>
                <a:spcPct val="90000"/>
              </a:lnSpc>
              <a:spcAft>
                <a:spcPts val="600"/>
              </a:spcAft>
            </a:pPr>
            <a:r>
              <a:rPr lang="en-US" sz="700" cap="all" spc="10" baseline="0" dirty="0"/>
              <a:t>Proprietary and Confidential</a:t>
            </a:r>
          </a:p>
        </p:txBody>
      </p:sp>
      <p:sp>
        <p:nvSpPr>
          <p:cNvPr id="63" name="Freeform: Shape 62">
            <a:extLst>
              <a:ext uri="{FF2B5EF4-FFF2-40B4-BE49-F238E27FC236}">
                <a16:creationId xmlns:a16="http://schemas.microsoft.com/office/drawing/2014/main" id="{D86E5E74-F887-469E-BA30-D2A06C55613B}"/>
              </a:ext>
            </a:extLst>
          </p:cNvPr>
          <p:cNvSpPr/>
          <p:nvPr userDrawn="1"/>
        </p:nvSpPr>
        <p:spPr>
          <a:xfrm>
            <a:off x="223837" y="223838"/>
            <a:ext cx="11744326" cy="6262686"/>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dirty="0">
              <a:solidFill>
                <a:schemeClr val="tx1"/>
              </a:solidFill>
            </a:endParaRPr>
          </a:p>
        </p:txBody>
      </p:sp>
      <p:sp>
        <p:nvSpPr>
          <p:cNvPr id="80" name="Text Placeholder 11">
            <a:extLst>
              <a:ext uri="{FF2B5EF4-FFF2-40B4-BE49-F238E27FC236}">
                <a16:creationId xmlns:a16="http://schemas.microsoft.com/office/drawing/2014/main" id="{B9410B0D-734E-4C7E-BAA9-8C4CAD589FDD}"/>
              </a:ext>
            </a:extLst>
          </p:cNvPr>
          <p:cNvSpPr>
            <a:spLocks noGrp="1"/>
          </p:cNvSpPr>
          <p:nvPr>
            <p:ph type="body" sz="quarter" idx="15" hasCustomPrompt="1"/>
          </p:nvPr>
        </p:nvSpPr>
        <p:spPr>
          <a:xfrm>
            <a:off x="5325600" y="87312"/>
            <a:ext cx="1540800" cy="274637"/>
          </a:xfrm>
          <a:solidFill>
            <a:schemeClr val="accent3"/>
          </a:solidFill>
          <a:ln>
            <a:solidFill>
              <a:schemeClr val="tx1"/>
            </a:solidFill>
          </a:ln>
        </p:spPr>
        <p:txBody>
          <a:bodyPr anchor="ctr"/>
          <a:lstStyle>
            <a:lvl1pPr algn="ctr">
              <a:defRPr sz="1050" b="1" cap="all" baseline="0">
                <a:solidFill>
                  <a:schemeClr val="tx1"/>
                </a:solidFill>
              </a:defRPr>
            </a:lvl1pPr>
          </a:lstStyle>
          <a:p>
            <a:pPr lvl="0"/>
            <a:r>
              <a:rPr lang="en-US"/>
              <a:t>Section XX</a:t>
            </a:r>
          </a:p>
        </p:txBody>
      </p:sp>
      <p:sp>
        <p:nvSpPr>
          <p:cNvPr id="81" name="Text Placeholder 5">
            <a:extLst>
              <a:ext uri="{FF2B5EF4-FFF2-40B4-BE49-F238E27FC236}">
                <a16:creationId xmlns:a16="http://schemas.microsoft.com/office/drawing/2014/main" id="{42AF7850-2114-4493-82FE-B9DEA2D8D9A6}"/>
              </a:ext>
            </a:extLst>
          </p:cNvPr>
          <p:cNvSpPr>
            <a:spLocks noGrp="1"/>
          </p:cNvSpPr>
          <p:nvPr>
            <p:ph type="body" sz="quarter" idx="21" hasCustomPrompt="1"/>
          </p:nvPr>
        </p:nvSpPr>
        <p:spPr>
          <a:xfrm>
            <a:off x="3307080" y="1828800"/>
            <a:ext cx="5577840" cy="3200400"/>
          </a:xfrm>
          <a:ln>
            <a:solidFill>
              <a:schemeClr val="tx1"/>
            </a:solidFill>
          </a:ln>
        </p:spPr>
        <p:txBody>
          <a:bodyPr/>
          <a:lstStyle>
            <a:lvl1pPr>
              <a:defRPr/>
            </a:lvl1pPr>
          </a:lstStyle>
          <a:p>
            <a:pPr lvl="0"/>
            <a:r>
              <a:rPr lang="en-US"/>
              <a:t> </a:t>
            </a:r>
          </a:p>
        </p:txBody>
      </p:sp>
      <p:sp>
        <p:nvSpPr>
          <p:cNvPr id="2" name="Title 1">
            <a:extLst>
              <a:ext uri="{FF2B5EF4-FFF2-40B4-BE49-F238E27FC236}">
                <a16:creationId xmlns:a16="http://schemas.microsoft.com/office/drawing/2014/main" id="{844F0621-2390-4957-AD47-60FDBAA34491}"/>
              </a:ext>
            </a:extLst>
          </p:cNvPr>
          <p:cNvSpPr>
            <a:spLocks noGrp="1"/>
          </p:cNvSpPr>
          <p:nvPr>
            <p:ph type="title" hasCustomPrompt="1"/>
          </p:nvPr>
        </p:nvSpPr>
        <p:spPr>
          <a:xfrm>
            <a:off x="3429000" y="2232661"/>
            <a:ext cx="5334000" cy="2392678"/>
          </a:xfrm>
        </p:spPr>
        <p:txBody>
          <a:bodyPr anchor="ctr"/>
          <a:lstStyle>
            <a:lvl1pPr algn="ctr">
              <a:defRPr sz="2800" b="1"/>
            </a:lvl1pPr>
          </a:lstStyle>
          <a:p>
            <a:r>
              <a:rPr lang="en-US"/>
              <a:t>Click to insert subsection name</a:t>
            </a:r>
          </a:p>
        </p:txBody>
      </p:sp>
      <p:sp>
        <p:nvSpPr>
          <p:cNvPr id="24" name="Footer Placeholder 4">
            <a:extLst>
              <a:ext uri="{FF2B5EF4-FFF2-40B4-BE49-F238E27FC236}">
                <a16:creationId xmlns:a16="http://schemas.microsoft.com/office/drawing/2014/main" id="{4130C53C-2EB0-4D16-8437-DD3010730E1E}"/>
              </a:ext>
            </a:extLst>
          </p:cNvPr>
          <p:cNvSpPr>
            <a:spLocks noGrp="1"/>
          </p:cNvSpPr>
          <p:nvPr>
            <p:ph type="ftr" sz="quarter" idx="3"/>
          </p:nvPr>
        </p:nvSpPr>
        <p:spPr>
          <a:xfrm>
            <a:off x="4648200" y="6534150"/>
            <a:ext cx="5169569" cy="263525"/>
          </a:xfrm>
          <a:prstGeom prst="rect">
            <a:avLst/>
          </a:prstGeom>
        </p:spPr>
        <p:txBody>
          <a:bodyPr vert="horz" wrap="square" lIns="91440" tIns="45720" rIns="91440" bIns="45720" rtlCol="0" anchor="ctr">
            <a:noAutofit/>
          </a:bodyPr>
          <a:lstStyle>
            <a:lvl1pPr algn="r">
              <a:lnSpc>
                <a:spcPct val="90000"/>
              </a:lnSpc>
              <a:spcAft>
                <a:spcPts val="600"/>
              </a:spcAft>
              <a:defRPr sz="600">
                <a:solidFill>
                  <a:schemeClr val="tx1"/>
                </a:solidFill>
              </a:defRPr>
            </a:lvl1pPr>
          </a:lstStyle>
          <a:p>
            <a:endParaRPr lang="en-US" sz="600" noProof="0" dirty="0"/>
          </a:p>
        </p:txBody>
      </p:sp>
      <p:grpSp>
        <p:nvGrpSpPr>
          <p:cNvPr id="9" name="Graphic 46">
            <a:extLst>
              <a:ext uri="{FF2B5EF4-FFF2-40B4-BE49-F238E27FC236}">
                <a16:creationId xmlns:a16="http://schemas.microsoft.com/office/drawing/2014/main" id="{3BF0E3CE-4C5E-490A-971D-9AD2D7E17583}"/>
              </a:ext>
            </a:extLst>
          </p:cNvPr>
          <p:cNvGrpSpPr/>
          <p:nvPr userDrawn="1"/>
        </p:nvGrpSpPr>
        <p:grpSpPr>
          <a:xfrm>
            <a:off x="223838" y="6586537"/>
            <a:ext cx="1852878" cy="171636"/>
            <a:chOff x="223838" y="6586537"/>
            <a:chExt cx="1852878" cy="171636"/>
          </a:xfrm>
          <a:solidFill>
            <a:srgbClr val="E2E2E3"/>
          </a:solidFill>
        </p:grpSpPr>
        <p:sp>
          <p:nvSpPr>
            <p:cNvPr id="10" name="Freeform: Shape 9">
              <a:extLst>
                <a:ext uri="{FF2B5EF4-FFF2-40B4-BE49-F238E27FC236}">
                  <a16:creationId xmlns:a16="http://schemas.microsoft.com/office/drawing/2014/main" id="{87DEDFFD-499E-4E17-A499-D96F5795E1DF}"/>
                </a:ext>
              </a:extLst>
            </p:cNvPr>
            <p:cNvSpPr/>
            <p:nvPr/>
          </p:nvSpPr>
          <p:spPr>
            <a:xfrm>
              <a:off x="1015600" y="6590823"/>
              <a:ext cx="114610" cy="163250"/>
            </a:xfrm>
            <a:custGeom>
              <a:avLst/>
              <a:gdLst>
                <a:gd name="connsiteX0" fmla="*/ 97913 w 114610"/>
                <a:gd name="connsiteY0" fmla="*/ 163250 h 163250"/>
                <a:gd name="connsiteX1" fmla="*/ 114611 w 114610"/>
                <a:gd name="connsiteY1" fmla="*/ 163250 h 163250"/>
                <a:gd name="connsiteX2" fmla="*/ 114611 w 114610"/>
                <a:gd name="connsiteY2" fmla="*/ 0 h 163250"/>
                <a:gd name="connsiteX3" fmla="*/ 97913 w 114610"/>
                <a:gd name="connsiteY3" fmla="*/ 0 h 163250"/>
                <a:gd name="connsiteX4" fmla="*/ 97913 w 114610"/>
                <a:gd name="connsiteY4" fmla="*/ 73351 h 163250"/>
                <a:gd name="connsiteX5" fmla="*/ 16698 w 114610"/>
                <a:gd name="connsiteY5" fmla="*/ 73351 h 163250"/>
                <a:gd name="connsiteX6" fmla="*/ 16698 w 114610"/>
                <a:gd name="connsiteY6" fmla="*/ 0 h 163250"/>
                <a:gd name="connsiteX7" fmla="*/ 0 w 114610"/>
                <a:gd name="connsiteY7" fmla="*/ 0 h 163250"/>
                <a:gd name="connsiteX8" fmla="*/ 0 w 114610"/>
                <a:gd name="connsiteY8" fmla="*/ 163250 h 163250"/>
                <a:gd name="connsiteX9" fmla="*/ 16698 w 114610"/>
                <a:gd name="connsiteY9" fmla="*/ 163250 h 163250"/>
                <a:gd name="connsiteX10" fmla="*/ 16698 w 114610"/>
                <a:gd name="connsiteY10" fmla="*/ 89937 h 163250"/>
                <a:gd name="connsiteX11" fmla="*/ 97913 w 114610"/>
                <a:gd name="connsiteY11" fmla="*/ 89937 h 163250"/>
                <a:gd name="connsiteX12" fmla="*/ 97913 w 114610"/>
                <a:gd name="connsiteY12" fmla="*/ 16325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610" h="163250">
                  <a:moveTo>
                    <a:pt x="97913" y="163250"/>
                  </a:moveTo>
                  <a:lnTo>
                    <a:pt x="114611" y="163250"/>
                  </a:lnTo>
                  <a:lnTo>
                    <a:pt x="114611" y="0"/>
                  </a:lnTo>
                  <a:lnTo>
                    <a:pt x="97913" y="0"/>
                  </a:lnTo>
                  <a:lnTo>
                    <a:pt x="97913" y="73351"/>
                  </a:lnTo>
                  <a:lnTo>
                    <a:pt x="16698" y="73351"/>
                  </a:lnTo>
                  <a:lnTo>
                    <a:pt x="16698" y="0"/>
                  </a:lnTo>
                  <a:lnTo>
                    <a:pt x="0" y="0"/>
                  </a:lnTo>
                  <a:lnTo>
                    <a:pt x="0" y="163250"/>
                  </a:lnTo>
                  <a:lnTo>
                    <a:pt x="16698" y="163250"/>
                  </a:lnTo>
                  <a:lnTo>
                    <a:pt x="16698" y="89937"/>
                  </a:lnTo>
                  <a:lnTo>
                    <a:pt x="97913" y="89937"/>
                  </a:lnTo>
                  <a:lnTo>
                    <a:pt x="97913" y="163250"/>
                  </a:lnTo>
                  <a:close/>
                </a:path>
              </a:pathLst>
            </a:custGeom>
            <a:solidFill>
              <a:srgbClr val="E2E2E3"/>
            </a:solidFill>
            <a:ln w="3718" cap="flat">
              <a:noFill/>
              <a:prstDash val="solid"/>
              <a:miter/>
            </a:ln>
          </p:spPr>
          <p:txBody>
            <a:bodyPr rtlCol="0" anchor="ctr"/>
            <a:lstStyle/>
            <a:p>
              <a:endParaRPr lang="en-US" dirty="0"/>
            </a:p>
          </p:txBody>
        </p:sp>
        <p:sp>
          <p:nvSpPr>
            <p:cNvPr id="11" name="Freeform: Shape 10">
              <a:extLst>
                <a:ext uri="{FF2B5EF4-FFF2-40B4-BE49-F238E27FC236}">
                  <a16:creationId xmlns:a16="http://schemas.microsoft.com/office/drawing/2014/main" id="{8CF5608D-4673-440B-A9FD-AD2884BF2B89}"/>
                </a:ext>
              </a:extLst>
            </p:cNvPr>
            <p:cNvSpPr/>
            <p:nvPr/>
          </p:nvSpPr>
          <p:spPr>
            <a:xfrm>
              <a:off x="1158761" y="6590823"/>
              <a:ext cx="16809" cy="163250"/>
            </a:xfrm>
            <a:custGeom>
              <a:avLst/>
              <a:gdLst>
                <a:gd name="connsiteX0" fmla="*/ 0 w 16809"/>
                <a:gd name="connsiteY0" fmla="*/ 0 h 163250"/>
                <a:gd name="connsiteX1" fmla="*/ 16810 w 16809"/>
                <a:gd name="connsiteY1" fmla="*/ 0 h 163250"/>
                <a:gd name="connsiteX2" fmla="*/ 16810 w 16809"/>
                <a:gd name="connsiteY2" fmla="*/ 163250 h 163250"/>
                <a:gd name="connsiteX3" fmla="*/ 0 w 16809"/>
                <a:gd name="connsiteY3" fmla="*/ 163250 h 163250"/>
              </a:gdLst>
              <a:ahLst/>
              <a:cxnLst>
                <a:cxn ang="0">
                  <a:pos x="connsiteX0" y="connsiteY0"/>
                </a:cxn>
                <a:cxn ang="0">
                  <a:pos x="connsiteX1" y="connsiteY1"/>
                </a:cxn>
                <a:cxn ang="0">
                  <a:pos x="connsiteX2" y="connsiteY2"/>
                </a:cxn>
                <a:cxn ang="0">
                  <a:pos x="connsiteX3" y="connsiteY3"/>
                </a:cxn>
              </a:cxnLst>
              <a:rect l="l" t="t" r="r" b="b"/>
              <a:pathLst>
                <a:path w="16809" h="163250">
                  <a:moveTo>
                    <a:pt x="0" y="0"/>
                  </a:moveTo>
                  <a:lnTo>
                    <a:pt x="16810" y="0"/>
                  </a:lnTo>
                  <a:lnTo>
                    <a:pt x="16810" y="163250"/>
                  </a:lnTo>
                  <a:lnTo>
                    <a:pt x="0" y="163250"/>
                  </a:lnTo>
                  <a:close/>
                </a:path>
              </a:pathLst>
            </a:custGeom>
            <a:solidFill>
              <a:srgbClr val="E2E2E3"/>
            </a:solidFill>
            <a:ln w="3718" cap="flat">
              <a:noFill/>
              <a:prstDash val="solid"/>
              <a:miter/>
            </a:ln>
          </p:spPr>
          <p:txBody>
            <a:bodyPr rtlCol="0" anchor="ctr"/>
            <a:lstStyle/>
            <a:p>
              <a:endParaRPr lang="en-US" dirty="0"/>
            </a:p>
          </p:txBody>
        </p:sp>
        <p:sp>
          <p:nvSpPr>
            <p:cNvPr id="12" name="Freeform: Shape 11">
              <a:extLst>
                <a:ext uri="{FF2B5EF4-FFF2-40B4-BE49-F238E27FC236}">
                  <a16:creationId xmlns:a16="http://schemas.microsoft.com/office/drawing/2014/main" id="{6ED79AB6-0633-4F44-B049-192991CCFF22}"/>
                </a:ext>
              </a:extLst>
            </p:cNvPr>
            <p:cNvSpPr/>
            <p:nvPr/>
          </p:nvSpPr>
          <p:spPr>
            <a:xfrm>
              <a:off x="1197184" y="6589704"/>
              <a:ext cx="165642" cy="165862"/>
            </a:xfrm>
            <a:custGeom>
              <a:avLst/>
              <a:gdLst>
                <a:gd name="connsiteX0" fmla="*/ 24343 w 165642"/>
                <a:gd name="connsiteY0" fmla="*/ 141596 h 165862"/>
                <a:gd name="connsiteX1" fmla="*/ 114652 w 165642"/>
                <a:gd name="connsiteY1" fmla="*/ 159859 h 165862"/>
                <a:gd name="connsiteX2" fmla="*/ 141600 w 165642"/>
                <a:gd name="connsiteY2" fmla="*/ 141558 h 165862"/>
                <a:gd name="connsiteX3" fmla="*/ 160869 w 165642"/>
                <a:gd name="connsiteY3" fmla="*/ 110996 h 165862"/>
                <a:gd name="connsiteX4" fmla="*/ 165640 w 165642"/>
                <a:gd name="connsiteY4" fmla="*/ 81514 h 165862"/>
                <a:gd name="connsiteX5" fmla="*/ 91283 w 165642"/>
                <a:gd name="connsiteY5" fmla="*/ 81514 h 165862"/>
                <a:gd name="connsiteX6" fmla="*/ 91283 w 165642"/>
                <a:gd name="connsiteY6" fmla="*/ 96720 h 165862"/>
                <a:gd name="connsiteX7" fmla="*/ 149352 w 165642"/>
                <a:gd name="connsiteY7" fmla="*/ 96720 h 165862"/>
                <a:gd name="connsiteX8" fmla="*/ 142606 w 165642"/>
                <a:gd name="connsiteY8" fmla="*/ 110996 h 165862"/>
                <a:gd name="connsiteX9" fmla="*/ 133623 w 165642"/>
                <a:gd name="connsiteY9" fmla="*/ 124935 h 165862"/>
                <a:gd name="connsiteX10" fmla="*/ 121547 w 165642"/>
                <a:gd name="connsiteY10" fmla="*/ 136415 h 165862"/>
                <a:gd name="connsiteX11" fmla="*/ 103471 w 165642"/>
                <a:gd name="connsiteY11" fmla="*/ 145621 h 165862"/>
                <a:gd name="connsiteX12" fmla="*/ 57962 w 165642"/>
                <a:gd name="connsiteY12" fmla="*/ 143944 h 165862"/>
                <a:gd name="connsiteX13" fmla="*/ 36717 w 165642"/>
                <a:gd name="connsiteY13" fmla="*/ 129445 h 165862"/>
                <a:gd name="connsiteX14" fmla="*/ 22330 w 165642"/>
                <a:gd name="connsiteY14" fmla="*/ 108163 h 165862"/>
                <a:gd name="connsiteX15" fmla="*/ 22330 w 165642"/>
                <a:gd name="connsiteY15" fmla="*/ 57734 h 165862"/>
                <a:gd name="connsiteX16" fmla="*/ 36717 w 165642"/>
                <a:gd name="connsiteY16" fmla="*/ 36452 h 165862"/>
                <a:gd name="connsiteX17" fmla="*/ 58036 w 165642"/>
                <a:gd name="connsiteY17" fmla="*/ 21916 h 165862"/>
                <a:gd name="connsiteX18" fmla="*/ 83232 w 165642"/>
                <a:gd name="connsiteY18" fmla="*/ 17034 h 165862"/>
                <a:gd name="connsiteX19" fmla="*/ 108391 w 165642"/>
                <a:gd name="connsiteY19" fmla="*/ 21916 h 165862"/>
                <a:gd name="connsiteX20" fmla="*/ 122106 w 165642"/>
                <a:gd name="connsiteY20" fmla="*/ 29818 h 165862"/>
                <a:gd name="connsiteX21" fmla="*/ 134145 w 165642"/>
                <a:gd name="connsiteY21" fmla="*/ 17704 h 165862"/>
                <a:gd name="connsiteX22" fmla="*/ 129374 w 165642"/>
                <a:gd name="connsiteY22" fmla="*/ 14275 h 165862"/>
                <a:gd name="connsiteX23" fmla="*/ 114988 w 165642"/>
                <a:gd name="connsiteY23" fmla="*/ 6448 h 165862"/>
                <a:gd name="connsiteX24" fmla="*/ 99520 w 165642"/>
                <a:gd name="connsiteY24" fmla="*/ 1640 h 165862"/>
                <a:gd name="connsiteX25" fmla="*/ 82934 w 165642"/>
                <a:gd name="connsiteY25" fmla="*/ 0 h 165862"/>
                <a:gd name="connsiteX26" fmla="*/ 76001 w 165642"/>
                <a:gd name="connsiteY26" fmla="*/ 0 h 165862"/>
                <a:gd name="connsiteX27" fmla="*/ 51104 w 165642"/>
                <a:gd name="connsiteY27" fmla="*/ 5889 h 165862"/>
                <a:gd name="connsiteX28" fmla="*/ 24306 w 165642"/>
                <a:gd name="connsiteY28" fmla="*/ 24264 h 165862"/>
                <a:gd name="connsiteX29" fmla="*/ 6042 w 165642"/>
                <a:gd name="connsiteY29" fmla="*/ 51137 h 165862"/>
                <a:gd name="connsiteX30" fmla="*/ 4 w 165642"/>
                <a:gd name="connsiteY30" fmla="*/ 83042 h 165862"/>
                <a:gd name="connsiteX31" fmla="*/ 6042 w 165642"/>
                <a:gd name="connsiteY31" fmla="*/ 114909 h 165862"/>
                <a:gd name="connsiteX32" fmla="*/ 24268 w 165642"/>
                <a:gd name="connsiteY32" fmla="*/ 141707 h 16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65642" h="165862">
                  <a:moveTo>
                    <a:pt x="24343" y="141596"/>
                  </a:moveTo>
                  <a:cubicBezTo>
                    <a:pt x="48141" y="165094"/>
                    <a:pt x="83594" y="172264"/>
                    <a:pt x="114652" y="159859"/>
                  </a:cubicBezTo>
                  <a:cubicBezTo>
                    <a:pt x="124719" y="155530"/>
                    <a:pt x="133866" y="149319"/>
                    <a:pt x="141600" y="141558"/>
                  </a:cubicBezTo>
                  <a:cubicBezTo>
                    <a:pt x="150347" y="133035"/>
                    <a:pt x="156948" y="122562"/>
                    <a:pt x="160869" y="110996"/>
                  </a:cubicBezTo>
                  <a:cubicBezTo>
                    <a:pt x="164108" y="101507"/>
                    <a:pt x="165722" y="91539"/>
                    <a:pt x="165640" y="81514"/>
                  </a:cubicBezTo>
                  <a:lnTo>
                    <a:pt x="91283" y="81514"/>
                  </a:lnTo>
                  <a:lnTo>
                    <a:pt x="91283" y="96720"/>
                  </a:lnTo>
                  <a:lnTo>
                    <a:pt x="149352" y="96720"/>
                  </a:lnTo>
                  <a:lnTo>
                    <a:pt x="142606" y="110996"/>
                  </a:lnTo>
                  <a:cubicBezTo>
                    <a:pt x="140217" y="116006"/>
                    <a:pt x="137198" y="120690"/>
                    <a:pt x="133623" y="124935"/>
                  </a:cubicBezTo>
                  <a:cubicBezTo>
                    <a:pt x="130083" y="129240"/>
                    <a:pt x="126027" y="133095"/>
                    <a:pt x="121547" y="136415"/>
                  </a:cubicBezTo>
                  <a:cubicBezTo>
                    <a:pt x="116076" y="140470"/>
                    <a:pt x="109967" y="143582"/>
                    <a:pt x="103471" y="145621"/>
                  </a:cubicBezTo>
                  <a:cubicBezTo>
                    <a:pt x="88569" y="150385"/>
                    <a:pt x="72472" y="149792"/>
                    <a:pt x="57962" y="143944"/>
                  </a:cubicBezTo>
                  <a:cubicBezTo>
                    <a:pt x="49975" y="140595"/>
                    <a:pt x="42748" y="135663"/>
                    <a:pt x="36717" y="129445"/>
                  </a:cubicBezTo>
                  <a:cubicBezTo>
                    <a:pt x="30597" y="123344"/>
                    <a:pt x="25711" y="116117"/>
                    <a:pt x="22330" y="108163"/>
                  </a:cubicBezTo>
                  <a:cubicBezTo>
                    <a:pt x="15819" y="91984"/>
                    <a:pt x="15819" y="73913"/>
                    <a:pt x="22330" y="57734"/>
                  </a:cubicBezTo>
                  <a:cubicBezTo>
                    <a:pt x="25729" y="49791"/>
                    <a:pt x="30612" y="42568"/>
                    <a:pt x="36717" y="36452"/>
                  </a:cubicBezTo>
                  <a:cubicBezTo>
                    <a:pt x="42792" y="30244"/>
                    <a:pt x="50038" y="25303"/>
                    <a:pt x="58036" y="21916"/>
                  </a:cubicBezTo>
                  <a:cubicBezTo>
                    <a:pt x="66013" y="18581"/>
                    <a:pt x="74589" y="16919"/>
                    <a:pt x="83232" y="17034"/>
                  </a:cubicBezTo>
                  <a:cubicBezTo>
                    <a:pt x="91861" y="16956"/>
                    <a:pt x="100418" y="18617"/>
                    <a:pt x="108391" y="21916"/>
                  </a:cubicBezTo>
                  <a:cubicBezTo>
                    <a:pt x="113251" y="24012"/>
                    <a:pt x="117854" y="26664"/>
                    <a:pt x="122106" y="29818"/>
                  </a:cubicBezTo>
                  <a:lnTo>
                    <a:pt x="134145" y="17704"/>
                  </a:lnTo>
                  <a:cubicBezTo>
                    <a:pt x="132356" y="16363"/>
                    <a:pt x="130791" y="15244"/>
                    <a:pt x="129374" y="14275"/>
                  </a:cubicBezTo>
                  <a:cubicBezTo>
                    <a:pt x="124820" y="11246"/>
                    <a:pt x="120004" y="8627"/>
                    <a:pt x="114988" y="6448"/>
                  </a:cubicBezTo>
                  <a:cubicBezTo>
                    <a:pt x="110001" y="4347"/>
                    <a:pt x="104820" y="2737"/>
                    <a:pt x="99520" y="1640"/>
                  </a:cubicBezTo>
                  <a:cubicBezTo>
                    <a:pt x="94060" y="534"/>
                    <a:pt x="88502" y="-15"/>
                    <a:pt x="82934" y="0"/>
                  </a:cubicBezTo>
                  <a:lnTo>
                    <a:pt x="76001" y="0"/>
                  </a:lnTo>
                  <a:cubicBezTo>
                    <a:pt x="67440" y="610"/>
                    <a:pt x="59032" y="2598"/>
                    <a:pt x="51104" y="5889"/>
                  </a:cubicBezTo>
                  <a:cubicBezTo>
                    <a:pt x="41022" y="10138"/>
                    <a:pt x="31902" y="16389"/>
                    <a:pt x="24306" y="24264"/>
                  </a:cubicBezTo>
                  <a:cubicBezTo>
                    <a:pt x="16490" y="31918"/>
                    <a:pt x="10284" y="41054"/>
                    <a:pt x="6042" y="51137"/>
                  </a:cubicBezTo>
                  <a:cubicBezTo>
                    <a:pt x="1965" y="61275"/>
                    <a:pt x="-89" y="72114"/>
                    <a:pt x="4" y="83042"/>
                  </a:cubicBezTo>
                  <a:cubicBezTo>
                    <a:pt x="-107" y="93959"/>
                    <a:pt x="1946" y="104789"/>
                    <a:pt x="6042" y="114909"/>
                  </a:cubicBezTo>
                  <a:cubicBezTo>
                    <a:pt x="10206" y="125003"/>
                    <a:pt x="16411" y="134126"/>
                    <a:pt x="24268" y="141707"/>
                  </a:cubicBezTo>
                </a:path>
              </a:pathLst>
            </a:custGeom>
            <a:solidFill>
              <a:srgbClr val="E2E2E3"/>
            </a:solidFill>
            <a:ln w="3718" cap="flat">
              <a:noFill/>
              <a:prstDash val="solid"/>
              <a:miter/>
            </a:ln>
          </p:spPr>
          <p:txBody>
            <a:bodyPr rtlCol="0" anchor="ctr"/>
            <a:lstStyle/>
            <a:p>
              <a:endParaRPr lang="en-US" dirty="0"/>
            </a:p>
          </p:txBody>
        </p:sp>
        <p:sp>
          <p:nvSpPr>
            <p:cNvPr id="13" name="Freeform: Shape 12">
              <a:extLst>
                <a:ext uri="{FF2B5EF4-FFF2-40B4-BE49-F238E27FC236}">
                  <a16:creationId xmlns:a16="http://schemas.microsoft.com/office/drawing/2014/main" id="{1F5EBAB3-100C-4D2F-B63C-1A02E083B1BA}"/>
                </a:ext>
              </a:extLst>
            </p:cNvPr>
            <p:cNvSpPr/>
            <p:nvPr/>
          </p:nvSpPr>
          <p:spPr>
            <a:xfrm>
              <a:off x="1384590" y="6590823"/>
              <a:ext cx="114573" cy="163250"/>
            </a:xfrm>
            <a:custGeom>
              <a:avLst/>
              <a:gdLst>
                <a:gd name="connsiteX0" fmla="*/ 97876 w 114573"/>
                <a:gd name="connsiteY0" fmla="*/ 163250 h 163250"/>
                <a:gd name="connsiteX1" fmla="*/ 114573 w 114573"/>
                <a:gd name="connsiteY1" fmla="*/ 163250 h 163250"/>
                <a:gd name="connsiteX2" fmla="*/ 114573 w 114573"/>
                <a:gd name="connsiteY2" fmla="*/ 0 h 163250"/>
                <a:gd name="connsiteX3" fmla="*/ 97876 w 114573"/>
                <a:gd name="connsiteY3" fmla="*/ 0 h 163250"/>
                <a:gd name="connsiteX4" fmla="*/ 97876 w 114573"/>
                <a:gd name="connsiteY4" fmla="*/ 73351 h 163250"/>
                <a:gd name="connsiteX5" fmla="*/ 16660 w 114573"/>
                <a:gd name="connsiteY5" fmla="*/ 73351 h 163250"/>
                <a:gd name="connsiteX6" fmla="*/ 16660 w 114573"/>
                <a:gd name="connsiteY6" fmla="*/ 0 h 163250"/>
                <a:gd name="connsiteX7" fmla="*/ 0 w 114573"/>
                <a:gd name="connsiteY7" fmla="*/ 0 h 163250"/>
                <a:gd name="connsiteX8" fmla="*/ 0 w 114573"/>
                <a:gd name="connsiteY8" fmla="*/ 163250 h 163250"/>
                <a:gd name="connsiteX9" fmla="*/ 16660 w 114573"/>
                <a:gd name="connsiteY9" fmla="*/ 163250 h 163250"/>
                <a:gd name="connsiteX10" fmla="*/ 16660 w 114573"/>
                <a:gd name="connsiteY10" fmla="*/ 89937 h 163250"/>
                <a:gd name="connsiteX11" fmla="*/ 97876 w 114573"/>
                <a:gd name="connsiteY11" fmla="*/ 89937 h 163250"/>
                <a:gd name="connsiteX12" fmla="*/ 97876 w 114573"/>
                <a:gd name="connsiteY12" fmla="*/ 16325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573" h="163250">
                  <a:moveTo>
                    <a:pt x="97876" y="163250"/>
                  </a:moveTo>
                  <a:lnTo>
                    <a:pt x="114573" y="163250"/>
                  </a:lnTo>
                  <a:lnTo>
                    <a:pt x="114573" y="0"/>
                  </a:lnTo>
                  <a:lnTo>
                    <a:pt x="97876" y="0"/>
                  </a:lnTo>
                  <a:lnTo>
                    <a:pt x="97876" y="73351"/>
                  </a:lnTo>
                  <a:lnTo>
                    <a:pt x="16660" y="73351"/>
                  </a:lnTo>
                  <a:lnTo>
                    <a:pt x="16660" y="0"/>
                  </a:lnTo>
                  <a:lnTo>
                    <a:pt x="0" y="0"/>
                  </a:lnTo>
                  <a:lnTo>
                    <a:pt x="0" y="163250"/>
                  </a:lnTo>
                  <a:lnTo>
                    <a:pt x="16660" y="163250"/>
                  </a:lnTo>
                  <a:lnTo>
                    <a:pt x="16660" y="89937"/>
                  </a:lnTo>
                  <a:lnTo>
                    <a:pt x="97876" y="89937"/>
                  </a:lnTo>
                  <a:lnTo>
                    <a:pt x="97876" y="163250"/>
                  </a:lnTo>
                  <a:close/>
                </a:path>
              </a:pathLst>
            </a:custGeom>
            <a:solidFill>
              <a:srgbClr val="E2E2E3"/>
            </a:solidFill>
            <a:ln w="3718" cap="flat">
              <a:noFill/>
              <a:prstDash val="solid"/>
              <a:miter/>
            </a:ln>
          </p:spPr>
          <p:txBody>
            <a:bodyPr rtlCol="0" anchor="ctr"/>
            <a:lstStyle/>
            <a:p>
              <a:endParaRPr lang="en-US" dirty="0"/>
            </a:p>
          </p:txBody>
        </p:sp>
        <p:sp>
          <p:nvSpPr>
            <p:cNvPr id="14" name="Freeform: Shape 13">
              <a:extLst>
                <a:ext uri="{FF2B5EF4-FFF2-40B4-BE49-F238E27FC236}">
                  <a16:creationId xmlns:a16="http://schemas.microsoft.com/office/drawing/2014/main" id="{09EE1ACA-B25F-493E-8DAC-898533063C51}"/>
                </a:ext>
              </a:extLst>
            </p:cNvPr>
            <p:cNvSpPr/>
            <p:nvPr/>
          </p:nvSpPr>
          <p:spPr>
            <a:xfrm>
              <a:off x="1527751" y="6590823"/>
              <a:ext cx="90346" cy="163250"/>
            </a:xfrm>
            <a:custGeom>
              <a:avLst/>
              <a:gdLst>
                <a:gd name="connsiteX0" fmla="*/ 16810 w 90346"/>
                <a:gd name="connsiteY0" fmla="*/ 0 h 163250"/>
                <a:gd name="connsiteX1" fmla="*/ 0 w 90346"/>
                <a:gd name="connsiteY1" fmla="*/ 0 h 163250"/>
                <a:gd name="connsiteX2" fmla="*/ 0 w 90346"/>
                <a:gd name="connsiteY2" fmla="*/ 163250 h 163250"/>
                <a:gd name="connsiteX3" fmla="*/ 90347 w 90346"/>
                <a:gd name="connsiteY3" fmla="*/ 163250 h 163250"/>
                <a:gd name="connsiteX4" fmla="*/ 90347 w 90346"/>
                <a:gd name="connsiteY4" fmla="*/ 146813 h 163250"/>
                <a:gd name="connsiteX5" fmla="*/ 16810 w 90346"/>
                <a:gd name="connsiteY5" fmla="*/ 146813 h 163250"/>
                <a:gd name="connsiteX6" fmla="*/ 16810 w 90346"/>
                <a:gd name="connsiteY6" fmla="*/ 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346" h="163250">
                  <a:moveTo>
                    <a:pt x="16810" y="0"/>
                  </a:moveTo>
                  <a:lnTo>
                    <a:pt x="0" y="0"/>
                  </a:lnTo>
                  <a:lnTo>
                    <a:pt x="0" y="163250"/>
                  </a:lnTo>
                  <a:lnTo>
                    <a:pt x="90347" y="163250"/>
                  </a:lnTo>
                  <a:lnTo>
                    <a:pt x="90347" y="146813"/>
                  </a:lnTo>
                  <a:lnTo>
                    <a:pt x="16810" y="146813"/>
                  </a:lnTo>
                  <a:lnTo>
                    <a:pt x="16810" y="0"/>
                  </a:lnTo>
                  <a:close/>
                </a:path>
              </a:pathLst>
            </a:custGeom>
            <a:solidFill>
              <a:srgbClr val="E2E2E3"/>
            </a:solidFill>
            <a:ln w="3718"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33269916-6152-4D77-8CB4-3F9D7D5EDF59}"/>
                </a:ext>
              </a:extLst>
            </p:cNvPr>
            <p:cNvSpPr/>
            <p:nvPr/>
          </p:nvSpPr>
          <p:spPr>
            <a:xfrm>
              <a:off x="1640796" y="6593991"/>
              <a:ext cx="136563" cy="160268"/>
            </a:xfrm>
            <a:custGeom>
              <a:avLst/>
              <a:gdLst>
                <a:gd name="connsiteX0" fmla="*/ 36191 w 136563"/>
                <a:gd name="connsiteY0" fmla="*/ 119866 h 160268"/>
                <a:gd name="connsiteX1" fmla="*/ 37943 w 136563"/>
                <a:gd name="connsiteY1" fmla="*/ 115803 h 160268"/>
                <a:gd name="connsiteX2" fmla="*/ 51696 w 136563"/>
                <a:gd name="connsiteY2" fmla="*/ 81700 h 160268"/>
                <a:gd name="connsiteX3" fmla="*/ 65673 w 136563"/>
                <a:gd name="connsiteY3" fmla="*/ 47223 h 160268"/>
                <a:gd name="connsiteX4" fmla="*/ 68356 w 136563"/>
                <a:gd name="connsiteY4" fmla="*/ 41036 h 160268"/>
                <a:gd name="connsiteX5" fmla="*/ 71040 w 136563"/>
                <a:gd name="connsiteY5" fmla="*/ 47261 h 160268"/>
                <a:gd name="connsiteX6" fmla="*/ 84756 w 136563"/>
                <a:gd name="connsiteY6" fmla="*/ 81700 h 160268"/>
                <a:gd name="connsiteX7" fmla="*/ 98546 w 136563"/>
                <a:gd name="connsiteY7" fmla="*/ 115803 h 160268"/>
                <a:gd name="connsiteX8" fmla="*/ 100298 w 136563"/>
                <a:gd name="connsiteY8" fmla="*/ 119866 h 160268"/>
                <a:gd name="connsiteX9" fmla="*/ 118636 w 136563"/>
                <a:gd name="connsiteY9" fmla="*/ 160268 h 160268"/>
                <a:gd name="connsiteX10" fmla="*/ 136563 w 136563"/>
                <a:gd name="connsiteY10" fmla="*/ 160268 h 160268"/>
                <a:gd name="connsiteX11" fmla="*/ 68319 w 136563"/>
                <a:gd name="connsiteY11" fmla="*/ 0 h 160268"/>
                <a:gd name="connsiteX12" fmla="*/ 0 w 136563"/>
                <a:gd name="connsiteY12" fmla="*/ 160268 h 160268"/>
                <a:gd name="connsiteX13" fmla="*/ 18002 w 136563"/>
                <a:gd name="connsiteY13" fmla="*/ 160268 h 160268"/>
                <a:gd name="connsiteX14" fmla="*/ 30488 w 136563"/>
                <a:gd name="connsiteY14" fmla="*/ 132426 h 160268"/>
                <a:gd name="connsiteX15" fmla="*/ 106113 w 136563"/>
                <a:gd name="connsiteY15" fmla="*/ 132426 h 160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6563" h="160268">
                  <a:moveTo>
                    <a:pt x="36191" y="119866"/>
                  </a:moveTo>
                  <a:lnTo>
                    <a:pt x="37943" y="115803"/>
                  </a:lnTo>
                  <a:cubicBezTo>
                    <a:pt x="42452" y="105255"/>
                    <a:pt x="47074" y="93776"/>
                    <a:pt x="51696" y="81700"/>
                  </a:cubicBezTo>
                  <a:cubicBezTo>
                    <a:pt x="56318" y="69624"/>
                    <a:pt x="61088" y="57846"/>
                    <a:pt x="65673" y="47223"/>
                  </a:cubicBezTo>
                  <a:lnTo>
                    <a:pt x="68356" y="41036"/>
                  </a:lnTo>
                  <a:lnTo>
                    <a:pt x="71040" y="47261"/>
                  </a:lnTo>
                  <a:cubicBezTo>
                    <a:pt x="75550" y="57883"/>
                    <a:pt x="80171" y="69624"/>
                    <a:pt x="84756" y="81700"/>
                  </a:cubicBezTo>
                  <a:cubicBezTo>
                    <a:pt x="89340" y="93776"/>
                    <a:pt x="93925" y="105255"/>
                    <a:pt x="98546" y="115803"/>
                  </a:cubicBezTo>
                  <a:lnTo>
                    <a:pt x="100298" y="119866"/>
                  </a:lnTo>
                  <a:close/>
                  <a:moveTo>
                    <a:pt x="118636" y="160268"/>
                  </a:moveTo>
                  <a:lnTo>
                    <a:pt x="136563" y="160268"/>
                  </a:lnTo>
                  <a:lnTo>
                    <a:pt x="68319" y="0"/>
                  </a:lnTo>
                  <a:lnTo>
                    <a:pt x="0" y="160268"/>
                  </a:lnTo>
                  <a:lnTo>
                    <a:pt x="18002" y="160268"/>
                  </a:lnTo>
                  <a:lnTo>
                    <a:pt x="30488" y="132426"/>
                  </a:lnTo>
                  <a:lnTo>
                    <a:pt x="106113" y="132426"/>
                  </a:lnTo>
                  <a:close/>
                </a:path>
              </a:pathLst>
            </a:custGeom>
            <a:solidFill>
              <a:srgbClr val="E2E2E3"/>
            </a:solidFill>
            <a:ln w="3718"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69E2862C-2164-4F5F-BCA4-57F0819A3522}"/>
                </a:ext>
              </a:extLst>
            </p:cNvPr>
            <p:cNvSpPr/>
            <p:nvPr/>
          </p:nvSpPr>
          <p:spPr>
            <a:xfrm>
              <a:off x="1800505" y="6590487"/>
              <a:ext cx="127208" cy="164070"/>
            </a:xfrm>
            <a:custGeom>
              <a:avLst/>
              <a:gdLst>
                <a:gd name="connsiteX0" fmla="*/ 110436 w 127208"/>
                <a:gd name="connsiteY0" fmla="*/ 119120 h 164070"/>
                <a:gd name="connsiteX1" fmla="*/ 0 w 127208"/>
                <a:gd name="connsiteY1" fmla="*/ 3019 h 164070"/>
                <a:gd name="connsiteX2" fmla="*/ 0 w 127208"/>
                <a:gd name="connsiteY2" fmla="*/ 164070 h 164070"/>
                <a:gd name="connsiteX3" fmla="*/ 16810 w 127208"/>
                <a:gd name="connsiteY3" fmla="*/ 164070 h 164070"/>
                <a:gd name="connsiteX4" fmla="*/ 16810 w 127208"/>
                <a:gd name="connsiteY4" fmla="*/ 44540 h 164070"/>
                <a:gd name="connsiteX5" fmla="*/ 127208 w 127208"/>
                <a:gd name="connsiteY5" fmla="*/ 162244 h 164070"/>
                <a:gd name="connsiteX6" fmla="*/ 127208 w 127208"/>
                <a:gd name="connsiteY6" fmla="*/ 0 h 164070"/>
                <a:gd name="connsiteX7" fmla="*/ 110436 w 127208"/>
                <a:gd name="connsiteY7" fmla="*/ 0 h 164070"/>
                <a:gd name="connsiteX8" fmla="*/ 110436 w 127208"/>
                <a:gd name="connsiteY8" fmla="*/ 119120 h 16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208" h="164070">
                  <a:moveTo>
                    <a:pt x="110436" y="119120"/>
                  </a:moveTo>
                  <a:lnTo>
                    <a:pt x="0" y="3019"/>
                  </a:lnTo>
                  <a:lnTo>
                    <a:pt x="0" y="164070"/>
                  </a:lnTo>
                  <a:lnTo>
                    <a:pt x="16810" y="164070"/>
                  </a:lnTo>
                  <a:lnTo>
                    <a:pt x="16810" y="44540"/>
                  </a:lnTo>
                  <a:lnTo>
                    <a:pt x="127208" y="162244"/>
                  </a:lnTo>
                  <a:lnTo>
                    <a:pt x="127208" y="0"/>
                  </a:lnTo>
                  <a:lnTo>
                    <a:pt x="110436" y="0"/>
                  </a:lnTo>
                  <a:lnTo>
                    <a:pt x="110436" y="119120"/>
                  </a:lnTo>
                  <a:close/>
                </a:path>
              </a:pathLst>
            </a:custGeom>
            <a:solidFill>
              <a:srgbClr val="E2E2E3"/>
            </a:solidFill>
            <a:ln w="3718" cap="flat">
              <a:no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1A260ADA-7A65-4B91-8F8A-558E74C72908}"/>
                </a:ext>
              </a:extLst>
            </p:cNvPr>
            <p:cNvSpPr/>
            <p:nvPr/>
          </p:nvSpPr>
          <p:spPr>
            <a:xfrm>
              <a:off x="1956301" y="6590935"/>
              <a:ext cx="120414" cy="163325"/>
            </a:xfrm>
            <a:custGeom>
              <a:avLst/>
              <a:gdLst>
                <a:gd name="connsiteX0" fmla="*/ 64704 w 120414"/>
                <a:gd name="connsiteY0" fmla="*/ 142080 h 163325"/>
                <a:gd name="connsiteX1" fmla="*/ 38912 w 120414"/>
                <a:gd name="connsiteY1" fmla="*/ 146478 h 163325"/>
                <a:gd name="connsiteX2" fmla="*/ 16549 w 120414"/>
                <a:gd name="connsiteY2" fmla="*/ 146478 h 163325"/>
                <a:gd name="connsiteX3" fmla="*/ 16549 w 120414"/>
                <a:gd name="connsiteY3" fmla="*/ 16474 h 163325"/>
                <a:gd name="connsiteX4" fmla="*/ 38539 w 120414"/>
                <a:gd name="connsiteY4" fmla="*/ 16474 h 163325"/>
                <a:gd name="connsiteX5" fmla="*/ 64629 w 120414"/>
                <a:gd name="connsiteY5" fmla="*/ 20872 h 163325"/>
                <a:gd name="connsiteX6" fmla="*/ 85650 w 120414"/>
                <a:gd name="connsiteY6" fmla="*/ 34476 h 163325"/>
                <a:gd name="connsiteX7" fmla="*/ 99180 w 120414"/>
                <a:gd name="connsiteY7" fmla="*/ 55535 h 163325"/>
                <a:gd name="connsiteX8" fmla="*/ 103578 w 120414"/>
                <a:gd name="connsiteY8" fmla="*/ 81625 h 163325"/>
                <a:gd name="connsiteX9" fmla="*/ 99180 w 120414"/>
                <a:gd name="connsiteY9" fmla="*/ 107715 h 163325"/>
                <a:gd name="connsiteX10" fmla="*/ 85799 w 120414"/>
                <a:gd name="connsiteY10" fmla="*/ 128811 h 163325"/>
                <a:gd name="connsiteX11" fmla="*/ 64815 w 120414"/>
                <a:gd name="connsiteY11" fmla="*/ 142266 h 163325"/>
                <a:gd name="connsiteX12" fmla="*/ 114983 w 120414"/>
                <a:gd name="connsiteY12" fmla="*/ 113492 h 163325"/>
                <a:gd name="connsiteX13" fmla="*/ 114983 w 120414"/>
                <a:gd name="connsiteY13" fmla="*/ 50130 h 163325"/>
                <a:gd name="connsiteX14" fmla="*/ 98845 w 120414"/>
                <a:gd name="connsiteY14" fmla="*/ 24040 h 163325"/>
                <a:gd name="connsiteX15" fmla="*/ 71487 w 120414"/>
                <a:gd name="connsiteY15" fmla="*/ 6187 h 163325"/>
                <a:gd name="connsiteX16" fmla="*/ 43161 w 120414"/>
                <a:gd name="connsiteY16" fmla="*/ 0 h 163325"/>
                <a:gd name="connsiteX17" fmla="*/ 0 w 120414"/>
                <a:gd name="connsiteY17" fmla="*/ 0 h 163325"/>
                <a:gd name="connsiteX18" fmla="*/ 0 w 120414"/>
                <a:gd name="connsiteY18" fmla="*/ 163325 h 163325"/>
                <a:gd name="connsiteX19" fmla="*/ 38688 w 120414"/>
                <a:gd name="connsiteY19" fmla="*/ 163325 h 163325"/>
                <a:gd name="connsiteX20" fmla="*/ 71487 w 120414"/>
                <a:gd name="connsiteY20" fmla="*/ 156989 h 163325"/>
                <a:gd name="connsiteX21" fmla="*/ 98509 w 120414"/>
                <a:gd name="connsiteY21" fmla="*/ 139322 h 163325"/>
                <a:gd name="connsiteX22" fmla="*/ 114760 w 120414"/>
                <a:gd name="connsiteY22" fmla="*/ 113232 h 16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0414" h="163325">
                  <a:moveTo>
                    <a:pt x="64704" y="142080"/>
                  </a:moveTo>
                  <a:cubicBezTo>
                    <a:pt x="56437" y="145074"/>
                    <a:pt x="47704" y="146564"/>
                    <a:pt x="38912" y="146478"/>
                  </a:cubicBezTo>
                  <a:lnTo>
                    <a:pt x="16549" y="146478"/>
                  </a:lnTo>
                  <a:lnTo>
                    <a:pt x="16549" y="16474"/>
                  </a:lnTo>
                  <a:lnTo>
                    <a:pt x="38539" y="16474"/>
                  </a:lnTo>
                  <a:cubicBezTo>
                    <a:pt x="47428" y="16361"/>
                    <a:pt x="56269" y="17850"/>
                    <a:pt x="64629" y="20872"/>
                  </a:cubicBezTo>
                  <a:cubicBezTo>
                    <a:pt x="72486" y="23938"/>
                    <a:pt x="79635" y="28566"/>
                    <a:pt x="85650" y="34476"/>
                  </a:cubicBezTo>
                  <a:cubicBezTo>
                    <a:pt x="91610" y="40450"/>
                    <a:pt x="96224" y="47630"/>
                    <a:pt x="99180" y="55535"/>
                  </a:cubicBezTo>
                  <a:cubicBezTo>
                    <a:pt x="102195" y="63898"/>
                    <a:pt x="103686" y="72735"/>
                    <a:pt x="103578" y="81625"/>
                  </a:cubicBezTo>
                  <a:cubicBezTo>
                    <a:pt x="103690" y="90516"/>
                    <a:pt x="102203" y="99353"/>
                    <a:pt x="99180" y="107715"/>
                  </a:cubicBezTo>
                  <a:cubicBezTo>
                    <a:pt x="96258" y="115613"/>
                    <a:pt x="91700" y="122803"/>
                    <a:pt x="85799" y="128811"/>
                  </a:cubicBezTo>
                  <a:cubicBezTo>
                    <a:pt x="79855" y="134752"/>
                    <a:pt x="72695" y="139342"/>
                    <a:pt x="64815" y="142266"/>
                  </a:cubicBezTo>
                  <a:moveTo>
                    <a:pt x="114983" y="113492"/>
                  </a:moveTo>
                  <a:cubicBezTo>
                    <a:pt x="122225" y="92993"/>
                    <a:pt x="122225" y="70630"/>
                    <a:pt x="114983" y="50130"/>
                  </a:cubicBezTo>
                  <a:cubicBezTo>
                    <a:pt x="111647" y="40324"/>
                    <a:pt x="106131" y="31404"/>
                    <a:pt x="98845" y="24040"/>
                  </a:cubicBezTo>
                  <a:cubicBezTo>
                    <a:pt x="91036" y="16288"/>
                    <a:pt x="81726" y="10213"/>
                    <a:pt x="71487" y="6187"/>
                  </a:cubicBezTo>
                  <a:cubicBezTo>
                    <a:pt x="62456" y="2562"/>
                    <a:pt x="52881" y="471"/>
                    <a:pt x="43161" y="0"/>
                  </a:cubicBezTo>
                  <a:lnTo>
                    <a:pt x="0" y="0"/>
                  </a:lnTo>
                  <a:lnTo>
                    <a:pt x="0" y="163325"/>
                  </a:lnTo>
                  <a:lnTo>
                    <a:pt x="38688" y="163325"/>
                  </a:lnTo>
                  <a:cubicBezTo>
                    <a:pt x="49929" y="163357"/>
                    <a:pt x="61066" y="161205"/>
                    <a:pt x="71487" y="156989"/>
                  </a:cubicBezTo>
                  <a:cubicBezTo>
                    <a:pt x="81618" y="153032"/>
                    <a:pt x="90820" y="147016"/>
                    <a:pt x="98509" y="139322"/>
                  </a:cubicBezTo>
                  <a:cubicBezTo>
                    <a:pt x="105826" y="131963"/>
                    <a:pt x="111383" y="123044"/>
                    <a:pt x="114760" y="113232"/>
                  </a:cubicBezTo>
                </a:path>
              </a:pathLst>
            </a:custGeom>
            <a:solidFill>
              <a:srgbClr val="E2E2E3"/>
            </a:solidFill>
            <a:ln w="3718" cap="flat">
              <a:noFill/>
              <a:prstDash val="solid"/>
              <a:miter/>
            </a:ln>
          </p:spPr>
          <p:txBody>
            <a:bodyPr rtlCol="0" anchor="ctr"/>
            <a:lstStyle/>
            <a:p>
              <a:endParaRPr lang="en-US" dirty="0"/>
            </a:p>
          </p:txBody>
        </p:sp>
        <p:sp>
          <p:nvSpPr>
            <p:cNvPr id="18" name="Freeform: Shape 17">
              <a:extLst>
                <a:ext uri="{FF2B5EF4-FFF2-40B4-BE49-F238E27FC236}">
                  <a16:creationId xmlns:a16="http://schemas.microsoft.com/office/drawing/2014/main" id="{3F6F7AFB-CA83-47B3-A5D4-E7EA4F7BBFA0}"/>
                </a:ext>
              </a:extLst>
            </p:cNvPr>
            <p:cNvSpPr/>
            <p:nvPr/>
          </p:nvSpPr>
          <p:spPr>
            <a:xfrm>
              <a:off x="370754" y="6588754"/>
              <a:ext cx="167181" cy="167152"/>
            </a:xfrm>
            <a:custGeom>
              <a:avLst/>
              <a:gdLst>
                <a:gd name="connsiteX0" fmla="*/ 48014 w 167181"/>
                <a:gd name="connsiteY0" fmla="*/ 48062 h 167152"/>
                <a:gd name="connsiteX1" fmla="*/ 118646 w 167181"/>
                <a:gd name="connsiteY1" fmla="*/ 47877 h 167152"/>
                <a:gd name="connsiteX2" fmla="*/ 118830 w 167181"/>
                <a:gd name="connsiteY2" fmla="*/ 48062 h 167152"/>
                <a:gd name="connsiteX3" fmla="*/ 133739 w 167181"/>
                <a:gd name="connsiteY3" fmla="*/ 83544 h 167152"/>
                <a:gd name="connsiteX4" fmla="*/ 118830 w 167181"/>
                <a:gd name="connsiteY4" fmla="*/ 119027 h 167152"/>
                <a:gd name="connsiteX5" fmla="*/ 48014 w 167181"/>
                <a:gd name="connsiteY5" fmla="*/ 119027 h 167152"/>
                <a:gd name="connsiteX6" fmla="*/ 33292 w 167181"/>
                <a:gd name="connsiteY6" fmla="*/ 83507 h 167152"/>
                <a:gd name="connsiteX7" fmla="*/ 48014 w 167181"/>
                <a:gd name="connsiteY7" fmla="*/ 48024 h 167152"/>
                <a:gd name="connsiteX8" fmla="*/ 83460 w 167181"/>
                <a:gd name="connsiteY8" fmla="*/ 167108 h 167152"/>
                <a:gd name="connsiteX9" fmla="*/ 142573 w 167181"/>
                <a:gd name="connsiteY9" fmla="*/ 142806 h 167152"/>
                <a:gd name="connsiteX10" fmla="*/ 167172 w 167181"/>
                <a:gd name="connsiteY10" fmla="*/ 83693 h 167152"/>
                <a:gd name="connsiteX11" fmla="*/ 142573 w 167181"/>
                <a:gd name="connsiteY11" fmla="*/ 24543 h 167152"/>
                <a:gd name="connsiteX12" fmla="*/ 24924 w 167181"/>
                <a:gd name="connsiteY12" fmla="*/ 24189 h 167152"/>
                <a:gd name="connsiteX13" fmla="*/ 24533 w 167181"/>
                <a:gd name="connsiteY13" fmla="*/ 24580 h 167152"/>
                <a:gd name="connsiteX14" fmla="*/ 8 w 167181"/>
                <a:gd name="connsiteY14" fmla="*/ 83731 h 167152"/>
                <a:gd name="connsiteX15" fmla="*/ 24533 w 167181"/>
                <a:gd name="connsiteY15" fmla="*/ 142844 h 167152"/>
                <a:gd name="connsiteX16" fmla="*/ 83609 w 167181"/>
                <a:gd name="connsiteY16" fmla="*/ 167145 h 16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7181" h="167152">
                  <a:moveTo>
                    <a:pt x="48014" y="48062"/>
                  </a:moveTo>
                  <a:cubicBezTo>
                    <a:pt x="67467" y="28506"/>
                    <a:pt x="99090" y="28424"/>
                    <a:pt x="118646" y="47877"/>
                  </a:cubicBezTo>
                  <a:cubicBezTo>
                    <a:pt x="118707" y="47938"/>
                    <a:pt x="118769" y="48000"/>
                    <a:pt x="118830" y="48062"/>
                  </a:cubicBezTo>
                  <a:cubicBezTo>
                    <a:pt x="128486" y="57324"/>
                    <a:pt x="133882" y="70166"/>
                    <a:pt x="133739" y="83544"/>
                  </a:cubicBezTo>
                  <a:cubicBezTo>
                    <a:pt x="133931" y="96933"/>
                    <a:pt x="128527" y="109794"/>
                    <a:pt x="118830" y="119027"/>
                  </a:cubicBezTo>
                  <a:cubicBezTo>
                    <a:pt x="99245" y="138511"/>
                    <a:pt x="67599" y="138511"/>
                    <a:pt x="48014" y="119027"/>
                  </a:cubicBezTo>
                  <a:cubicBezTo>
                    <a:pt x="38418" y="109724"/>
                    <a:pt x="33090" y="96871"/>
                    <a:pt x="33292" y="83507"/>
                  </a:cubicBezTo>
                  <a:cubicBezTo>
                    <a:pt x="33145" y="70165"/>
                    <a:pt x="38464" y="57343"/>
                    <a:pt x="48014" y="48024"/>
                  </a:cubicBezTo>
                  <a:moveTo>
                    <a:pt x="83460" y="167108"/>
                  </a:moveTo>
                  <a:cubicBezTo>
                    <a:pt x="105663" y="167458"/>
                    <a:pt x="127035" y="158672"/>
                    <a:pt x="142573" y="142806"/>
                  </a:cubicBezTo>
                  <a:cubicBezTo>
                    <a:pt x="158615" y="127366"/>
                    <a:pt x="167524" y="105957"/>
                    <a:pt x="167172" y="83693"/>
                  </a:cubicBezTo>
                  <a:cubicBezTo>
                    <a:pt x="167485" y="61427"/>
                    <a:pt x="158583" y="40021"/>
                    <a:pt x="142573" y="24543"/>
                  </a:cubicBezTo>
                  <a:cubicBezTo>
                    <a:pt x="110183" y="-8042"/>
                    <a:pt x="57510" y="-8201"/>
                    <a:pt x="24924" y="24189"/>
                  </a:cubicBezTo>
                  <a:cubicBezTo>
                    <a:pt x="24793" y="24319"/>
                    <a:pt x="24663" y="24450"/>
                    <a:pt x="24533" y="24580"/>
                  </a:cubicBezTo>
                  <a:cubicBezTo>
                    <a:pt x="8591" y="40099"/>
                    <a:pt x="-276" y="61485"/>
                    <a:pt x="8" y="83731"/>
                  </a:cubicBezTo>
                  <a:cubicBezTo>
                    <a:pt x="-310" y="105972"/>
                    <a:pt x="8564" y="127360"/>
                    <a:pt x="24533" y="142844"/>
                  </a:cubicBezTo>
                  <a:cubicBezTo>
                    <a:pt x="40084" y="158666"/>
                    <a:pt x="61426" y="167445"/>
                    <a:pt x="83609" y="167145"/>
                  </a:cubicBezTo>
                </a:path>
              </a:pathLst>
            </a:custGeom>
            <a:solidFill>
              <a:srgbClr val="E2E2E3"/>
            </a:solidFill>
            <a:ln w="3718"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5F869C8D-9226-44FE-8107-1AB0E4150E13}"/>
                </a:ext>
              </a:extLst>
            </p:cNvPr>
            <p:cNvSpPr/>
            <p:nvPr/>
          </p:nvSpPr>
          <p:spPr>
            <a:xfrm>
              <a:off x="552052" y="6589991"/>
              <a:ext cx="121133" cy="164789"/>
            </a:xfrm>
            <a:custGeom>
              <a:avLst/>
              <a:gdLst>
                <a:gd name="connsiteX0" fmla="*/ 33321 w 121133"/>
                <a:gd name="connsiteY0" fmla="*/ 32848 h 164789"/>
                <a:gd name="connsiteX1" fmla="*/ 51957 w 121133"/>
                <a:gd name="connsiteY1" fmla="*/ 32848 h 164789"/>
                <a:gd name="connsiteX2" fmla="*/ 72382 w 121133"/>
                <a:gd name="connsiteY2" fmla="*/ 39371 h 164789"/>
                <a:gd name="connsiteX3" fmla="*/ 78941 w 121133"/>
                <a:gd name="connsiteY3" fmla="*/ 55211 h 164789"/>
                <a:gd name="connsiteX4" fmla="*/ 56914 w 121133"/>
                <a:gd name="connsiteY4" fmla="*/ 78543 h 164789"/>
                <a:gd name="connsiteX5" fmla="*/ 45732 w 121133"/>
                <a:gd name="connsiteY5" fmla="*/ 78543 h 164789"/>
                <a:gd name="connsiteX6" fmla="*/ 45732 w 121133"/>
                <a:gd name="connsiteY6" fmla="*/ 78543 h 164789"/>
                <a:gd name="connsiteX7" fmla="*/ 33321 w 121133"/>
                <a:gd name="connsiteY7" fmla="*/ 78543 h 164789"/>
                <a:gd name="connsiteX8" fmla="*/ 33321 w 121133"/>
                <a:gd name="connsiteY8" fmla="*/ 164790 h 164789"/>
                <a:gd name="connsiteX9" fmla="*/ 33321 w 121133"/>
                <a:gd name="connsiteY9" fmla="*/ 91924 h 164789"/>
                <a:gd name="connsiteX10" fmla="*/ 80656 w 121133"/>
                <a:gd name="connsiteY10" fmla="*/ 164790 h 164789"/>
                <a:gd name="connsiteX11" fmla="*/ 121133 w 121133"/>
                <a:gd name="connsiteY11" fmla="*/ 164790 h 164789"/>
                <a:gd name="connsiteX12" fmla="*/ 82818 w 121133"/>
                <a:gd name="connsiteY12" fmla="*/ 105155 h 164789"/>
                <a:gd name="connsiteX13" fmla="*/ 102423 w 121133"/>
                <a:gd name="connsiteY13" fmla="*/ 89725 h 164789"/>
                <a:gd name="connsiteX14" fmla="*/ 112859 w 121133"/>
                <a:gd name="connsiteY14" fmla="*/ 58342 h 164789"/>
                <a:gd name="connsiteX15" fmla="*/ 112859 w 121133"/>
                <a:gd name="connsiteY15" fmla="*/ 54205 h 164789"/>
                <a:gd name="connsiteX16" fmla="*/ 96906 w 121133"/>
                <a:gd name="connsiteY16" fmla="*/ 16933 h 164789"/>
                <a:gd name="connsiteX17" fmla="*/ 53746 w 121133"/>
                <a:gd name="connsiteY17" fmla="*/ 12 h 164789"/>
                <a:gd name="connsiteX18" fmla="*/ 0 w 121133"/>
                <a:gd name="connsiteY18" fmla="*/ 12 h 164789"/>
                <a:gd name="connsiteX19" fmla="*/ 0 w 121133"/>
                <a:gd name="connsiteY19" fmla="*/ 164790 h 16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133" h="164789">
                  <a:moveTo>
                    <a:pt x="33321" y="32848"/>
                  </a:moveTo>
                  <a:lnTo>
                    <a:pt x="51957" y="32848"/>
                  </a:lnTo>
                  <a:cubicBezTo>
                    <a:pt x="59325" y="32508"/>
                    <a:pt x="66575" y="34822"/>
                    <a:pt x="72382" y="39371"/>
                  </a:cubicBezTo>
                  <a:cubicBezTo>
                    <a:pt x="76586" y="43570"/>
                    <a:pt x="78945" y="49269"/>
                    <a:pt x="78941" y="55211"/>
                  </a:cubicBezTo>
                  <a:cubicBezTo>
                    <a:pt x="79296" y="67735"/>
                    <a:pt x="69437" y="78178"/>
                    <a:pt x="56914" y="78543"/>
                  </a:cubicBezTo>
                  <a:lnTo>
                    <a:pt x="45732" y="78543"/>
                  </a:lnTo>
                  <a:lnTo>
                    <a:pt x="45732" y="78543"/>
                  </a:lnTo>
                  <a:lnTo>
                    <a:pt x="33321" y="78543"/>
                  </a:lnTo>
                  <a:close/>
                  <a:moveTo>
                    <a:pt x="33321" y="164790"/>
                  </a:moveTo>
                  <a:lnTo>
                    <a:pt x="33321" y="91924"/>
                  </a:lnTo>
                  <a:lnTo>
                    <a:pt x="80656" y="164790"/>
                  </a:lnTo>
                  <a:lnTo>
                    <a:pt x="121133" y="164790"/>
                  </a:lnTo>
                  <a:lnTo>
                    <a:pt x="82818" y="105155"/>
                  </a:lnTo>
                  <a:cubicBezTo>
                    <a:pt x="90932" y="102416"/>
                    <a:pt x="97853" y="96968"/>
                    <a:pt x="102423" y="89725"/>
                  </a:cubicBezTo>
                  <a:cubicBezTo>
                    <a:pt x="109132" y="80630"/>
                    <a:pt x="112784" y="69643"/>
                    <a:pt x="112859" y="58342"/>
                  </a:cubicBezTo>
                  <a:lnTo>
                    <a:pt x="112859" y="54205"/>
                  </a:lnTo>
                  <a:cubicBezTo>
                    <a:pt x="112859" y="35979"/>
                    <a:pt x="106933" y="26810"/>
                    <a:pt x="96906" y="16933"/>
                  </a:cubicBezTo>
                  <a:cubicBezTo>
                    <a:pt x="85337" y="5785"/>
                    <a:pt x="69810" y="-303"/>
                    <a:pt x="53746" y="12"/>
                  </a:cubicBezTo>
                  <a:lnTo>
                    <a:pt x="0" y="12"/>
                  </a:lnTo>
                  <a:lnTo>
                    <a:pt x="0" y="164790"/>
                  </a:lnTo>
                  <a:close/>
                </a:path>
              </a:pathLst>
            </a:custGeom>
            <a:solidFill>
              <a:srgbClr val="E2E2E3"/>
            </a:solidFill>
            <a:ln w="3718" cap="flat">
              <a:noFill/>
              <a:prstDash val="solid"/>
              <a:miter/>
            </a:ln>
          </p:spPr>
          <p:txBody>
            <a:bodyPr rtlCol="0" anchor="ctr"/>
            <a:lstStyle/>
            <a:p>
              <a:endParaRPr lang="en-US" dirty="0"/>
            </a:p>
          </p:txBody>
        </p:sp>
        <p:sp>
          <p:nvSpPr>
            <p:cNvPr id="20" name="Freeform: Shape 19">
              <a:extLst>
                <a:ext uri="{FF2B5EF4-FFF2-40B4-BE49-F238E27FC236}">
                  <a16:creationId xmlns:a16="http://schemas.microsoft.com/office/drawing/2014/main" id="{0659F869-45C5-4242-B15C-092032C97CFD}"/>
                </a:ext>
              </a:extLst>
            </p:cNvPr>
            <p:cNvSpPr/>
            <p:nvPr/>
          </p:nvSpPr>
          <p:spPr>
            <a:xfrm>
              <a:off x="681161" y="6590003"/>
              <a:ext cx="114275" cy="164778"/>
            </a:xfrm>
            <a:custGeom>
              <a:avLst/>
              <a:gdLst>
                <a:gd name="connsiteX0" fmla="*/ 40552 w 114275"/>
                <a:gd name="connsiteY0" fmla="*/ 164778 h 164778"/>
                <a:gd name="connsiteX1" fmla="*/ 73798 w 114275"/>
                <a:gd name="connsiteY1" fmla="*/ 164778 h 164778"/>
                <a:gd name="connsiteX2" fmla="*/ 73798 w 114275"/>
                <a:gd name="connsiteY2" fmla="*/ 32836 h 164778"/>
                <a:gd name="connsiteX3" fmla="*/ 114275 w 114275"/>
                <a:gd name="connsiteY3" fmla="*/ 32836 h 164778"/>
                <a:gd name="connsiteX4" fmla="*/ 114275 w 114275"/>
                <a:gd name="connsiteY4" fmla="*/ 0 h 164778"/>
                <a:gd name="connsiteX5" fmla="*/ 0 w 114275"/>
                <a:gd name="connsiteY5" fmla="*/ 0 h 164778"/>
                <a:gd name="connsiteX6" fmla="*/ 0 w 114275"/>
                <a:gd name="connsiteY6" fmla="*/ 32836 h 164778"/>
                <a:gd name="connsiteX7" fmla="*/ 40552 w 114275"/>
                <a:gd name="connsiteY7" fmla="*/ 32836 h 164778"/>
                <a:gd name="connsiteX8" fmla="*/ 40552 w 114275"/>
                <a:gd name="connsiteY8" fmla="*/ 164778 h 16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275" h="164778">
                  <a:moveTo>
                    <a:pt x="40552" y="164778"/>
                  </a:moveTo>
                  <a:lnTo>
                    <a:pt x="73798" y="164778"/>
                  </a:lnTo>
                  <a:lnTo>
                    <a:pt x="73798" y="32836"/>
                  </a:lnTo>
                  <a:lnTo>
                    <a:pt x="114275" y="32836"/>
                  </a:lnTo>
                  <a:lnTo>
                    <a:pt x="114275" y="0"/>
                  </a:lnTo>
                  <a:lnTo>
                    <a:pt x="0" y="0"/>
                  </a:lnTo>
                  <a:lnTo>
                    <a:pt x="0" y="32836"/>
                  </a:lnTo>
                  <a:lnTo>
                    <a:pt x="40552" y="32836"/>
                  </a:lnTo>
                  <a:lnTo>
                    <a:pt x="40552" y="164778"/>
                  </a:lnTo>
                  <a:close/>
                </a:path>
              </a:pathLst>
            </a:custGeom>
            <a:solidFill>
              <a:srgbClr val="E2E2E3"/>
            </a:solidFill>
            <a:ln w="3718"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DA45E0F5-ED93-4246-834F-76E2DBE40C87}"/>
                </a:ext>
              </a:extLst>
            </p:cNvPr>
            <p:cNvSpPr/>
            <p:nvPr/>
          </p:nvSpPr>
          <p:spPr>
            <a:xfrm>
              <a:off x="809749" y="6590003"/>
              <a:ext cx="121095" cy="164778"/>
            </a:xfrm>
            <a:custGeom>
              <a:avLst/>
              <a:gdLst>
                <a:gd name="connsiteX0" fmla="*/ 33023 w 121095"/>
                <a:gd name="connsiteY0" fmla="*/ 98770 h 164778"/>
                <a:gd name="connsiteX1" fmla="*/ 88110 w 121095"/>
                <a:gd name="connsiteY1" fmla="*/ 98770 h 164778"/>
                <a:gd name="connsiteX2" fmla="*/ 88110 w 121095"/>
                <a:gd name="connsiteY2" fmla="*/ 164778 h 164778"/>
                <a:gd name="connsiteX3" fmla="*/ 121096 w 121095"/>
                <a:gd name="connsiteY3" fmla="*/ 164778 h 164778"/>
                <a:gd name="connsiteX4" fmla="*/ 121096 w 121095"/>
                <a:gd name="connsiteY4" fmla="*/ 0 h 164778"/>
                <a:gd name="connsiteX5" fmla="*/ 88110 w 121095"/>
                <a:gd name="connsiteY5" fmla="*/ 0 h 164778"/>
                <a:gd name="connsiteX6" fmla="*/ 88110 w 121095"/>
                <a:gd name="connsiteY6" fmla="*/ 65934 h 164778"/>
                <a:gd name="connsiteX7" fmla="*/ 33023 w 121095"/>
                <a:gd name="connsiteY7" fmla="*/ 65934 h 164778"/>
                <a:gd name="connsiteX8" fmla="*/ 33023 w 121095"/>
                <a:gd name="connsiteY8" fmla="*/ 0 h 164778"/>
                <a:gd name="connsiteX9" fmla="*/ 0 w 121095"/>
                <a:gd name="connsiteY9" fmla="*/ 0 h 164778"/>
                <a:gd name="connsiteX10" fmla="*/ 0 w 121095"/>
                <a:gd name="connsiteY10" fmla="*/ 164778 h 164778"/>
                <a:gd name="connsiteX11" fmla="*/ 33023 w 121095"/>
                <a:gd name="connsiteY11" fmla="*/ 164778 h 164778"/>
                <a:gd name="connsiteX12" fmla="*/ 33023 w 121095"/>
                <a:gd name="connsiteY12" fmla="*/ 98770 h 16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095" h="164778">
                  <a:moveTo>
                    <a:pt x="33023" y="98770"/>
                  </a:moveTo>
                  <a:lnTo>
                    <a:pt x="88110" y="98770"/>
                  </a:lnTo>
                  <a:lnTo>
                    <a:pt x="88110" y="164778"/>
                  </a:lnTo>
                  <a:lnTo>
                    <a:pt x="121096" y="164778"/>
                  </a:lnTo>
                  <a:lnTo>
                    <a:pt x="121096" y="0"/>
                  </a:lnTo>
                  <a:lnTo>
                    <a:pt x="88110" y="0"/>
                  </a:lnTo>
                  <a:lnTo>
                    <a:pt x="88110" y="65934"/>
                  </a:lnTo>
                  <a:lnTo>
                    <a:pt x="33023" y="65934"/>
                  </a:lnTo>
                  <a:lnTo>
                    <a:pt x="33023" y="0"/>
                  </a:lnTo>
                  <a:lnTo>
                    <a:pt x="0" y="0"/>
                  </a:lnTo>
                  <a:lnTo>
                    <a:pt x="0" y="164778"/>
                  </a:lnTo>
                  <a:lnTo>
                    <a:pt x="33023" y="164778"/>
                  </a:lnTo>
                  <a:lnTo>
                    <a:pt x="33023" y="98770"/>
                  </a:lnTo>
                  <a:close/>
                </a:path>
              </a:pathLst>
            </a:custGeom>
            <a:solidFill>
              <a:srgbClr val="E2E2E3"/>
            </a:solidFill>
            <a:ln w="3718"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B08F3565-6E0C-463D-8A2A-10F2F4B145BA}"/>
                </a:ext>
              </a:extLst>
            </p:cNvPr>
            <p:cNvSpPr/>
            <p:nvPr/>
          </p:nvSpPr>
          <p:spPr>
            <a:xfrm>
              <a:off x="223838" y="6589593"/>
              <a:ext cx="132463" cy="168580"/>
            </a:xfrm>
            <a:custGeom>
              <a:avLst/>
              <a:gdLst>
                <a:gd name="connsiteX0" fmla="*/ 0 w 132463"/>
                <a:gd name="connsiteY0" fmla="*/ 165412 h 168580"/>
                <a:gd name="connsiteX1" fmla="*/ 33097 w 132463"/>
                <a:gd name="connsiteY1" fmla="*/ 165412 h 168580"/>
                <a:gd name="connsiteX2" fmla="*/ 33097 w 132463"/>
                <a:gd name="connsiteY2" fmla="*/ 73910 h 168580"/>
                <a:gd name="connsiteX3" fmla="*/ 132464 w 132463"/>
                <a:gd name="connsiteY3" fmla="*/ 168580 h 168580"/>
                <a:gd name="connsiteX4" fmla="*/ 132464 w 132463"/>
                <a:gd name="connsiteY4" fmla="*/ 0 h 168580"/>
                <a:gd name="connsiteX5" fmla="*/ 99255 w 132463"/>
                <a:gd name="connsiteY5" fmla="*/ 0 h 168580"/>
                <a:gd name="connsiteX6" fmla="*/ 99255 w 132463"/>
                <a:gd name="connsiteY6" fmla="*/ 91502 h 168580"/>
                <a:gd name="connsiteX7" fmla="*/ 48490 w 132463"/>
                <a:gd name="connsiteY7" fmla="*/ 43161 h 168580"/>
                <a:gd name="connsiteX8" fmla="*/ 0 w 132463"/>
                <a:gd name="connsiteY8" fmla="*/ 91651 h 168580"/>
                <a:gd name="connsiteX9" fmla="*/ 0 w 132463"/>
                <a:gd name="connsiteY9" fmla="*/ 165412 h 16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463" h="168580">
                  <a:moveTo>
                    <a:pt x="0" y="165412"/>
                  </a:moveTo>
                  <a:lnTo>
                    <a:pt x="33097" y="165412"/>
                  </a:lnTo>
                  <a:lnTo>
                    <a:pt x="33097" y="73910"/>
                  </a:lnTo>
                  <a:lnTo>
                    <a:pt x="132464" y="168580"/>
                  </a:lnTo>
                  <a:lnTo>
                    <a:pt x="132464" y="0"/>
                  </a:lnTo>
                  <a:lnTo>
                    <a:pt x="99255" y="0"/>
                  </a:lnTo>
                  <a:lnTo>
                    <a:pt x="99255" y="91502"/>
                  </a:lnTo>
                  <a:lnTo>
                    <a:pt x="48490" y="43161"/>
                  </a:lnTo>
                  <a:lnTo>
                    <a:pt x="0" y="91651"/>
                  </a:lnTo>
                  <a:lnTo>
                    <a:pt x="0" y="165412"/>
                  </a:lnTo>
                  <a:close/>
                </a:path>
              </a:pathLst>
            </a:custGeom>
            <a:solidFill>
              <a:srgbClr val="E2E2E3"/>
            </a:solidFill>
            <a:ln w="3718" cap="flat">
              <a:no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7B435177-3496-45CC-905C-49D5D94BF29F}"/>
                </a:ext>
              </a:extLst>
            </p:cNvPr>
            <p:cNvSpPr/>
            <p:nvPr/>
          </p:nvSpPr>
          <p:spPr>
            <a:xfrm>
              <a:off x="223838" y="6586537"/>
              <a:ext cx="48490" cy="94707"/>
            </a:xfrm>
            <a:custGeom>
              <a:avLst/>
              <a:gdLst>
                <a:gd name="connsiteX0" fmla="*/ 0 w 48490"/>
                <a:gd name="connsiteY0" fmla="*/ 94707 h 94707"/>
                <a:gd name="connsiteX1" fmla="*/ 48490 w 48490"/>
                <a:gd name="connsiteY1" fmla="*/ 46180 h 94707"/>
                <a:gd name="connsiteX2" fmla="*/ 0 w 48490"/>
                <a:gd name="connsiteY2" fmla="*/ 0 h 94707"/>
                <a:gd name="connsiteX3" fmla="*/ 0 w 48490"/>
                <a:gd name="connsiteY3" fmla="*/ 94707 h 94707"/>
              </a:gdLst>
              <a:ahLst/>
              <a:cxnLst>
                <a:cxn ang="0">
                  <a:pos x="connsiteX0" y="connsiteY0"/>
                </a:cxn>
                <a:cxn ang="0">
                  <a:pos x="connsiteX1" y="connsiteY1"/>
                </a:cxn>
                <a:cxn ang="0">
                  <a:pos x="connsiteX2" y="connsiteY2"/>
                </a:cxn>
                <a:cxn ang="0">
                  <a:pos x="connsiteX3" y="connsiteY3"/>
                </a:cxn>
              </a:cxnLst>
              <a:rect l="l" t="t" r="r" b="b"/>
              <a:pathLst>
                <a:path w="48490" h="94707">
                  <a:moveTo>
                    <a:pt x="0" y="94707"/>
                  </a:moveTo>
                  <a:lnTo>
                    <a:pt x="48490" y="46180"/>
                  </a:lnTo>
                  <a:lnTo>
                    <a:pt x="0" y="0"/>
                  </a:lnTo>
                  <a:lnTo>
                    <a:pt x="0" y="94707"/>
                  </a:lnTo>
                  <a:close/>
                </a:path>
              </a:pathLst>
            </a:custGeom>
            <a:solidFill>
              <a:srgbClr val="E2E2E3"/>
            </a:solidFill>
            <a:ln w="3718"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1096472777"/>
      </p:ext>
    </p:extLst>
  </p:cSld>
  <p:clrMapOvr>
    <a:overrideClrMapping bg1="dk1" tx1="lt1" bg2="dk2" tx2="lt2" accent1="accent1" accent2="accent2" accent3="accent3" accent4="accent4" accent5="accent5" accent6="accent6" hlink="hlink" folHlink="folHlink"/>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ection Divider Gre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904D09A-4AE1-41F7-8585-54F9D1A47C7F}"/>
              </a:ext>
            </a:extLst>
          </p:cNvPr>
          <p:cNvSpPr>
            <a:spLocks noGrp="1"/>
          </p:cNvSpPr>
          <p:nvPr>
            <p:ph type="sldNum" sz="quarter" idx="12"/>
          </p:nvPr>
        </p:nvSpPr>
        <p:spPr/>
        <p:txBody>
          <a:bodyPr/>
          <a:lstStyle/>
          <a:p>
            <a:fld id="{5034EE70-12A8-400F-8E3D-398CDD8B315D}" type="slidenum">
              <a:rPr lang="en-US" smtClean="0"/>
              <a:pPr/>
              <a:t>‹#›</a:t>
            </a:fld>
            <a:endParaRPr lang="en-US" dirty="0"/>
          </a:p>
        </p:txBody>
      </p:sp>
      <p:sp>
        <p:nvSpPr>
          <p:cNvPr id="3" name="TextBox 2">
            <a:extLst>
              <a:ext uri="{FF2B5EF4-FFF2-40B4-BE49-F238E27FC236}">
                <a16:creationId xmlns:a16="http://schemas.microsoft.com/office/drawing/2014/main" id="{8F0FEF4F-CB78-4E83-B032-12859ABB3DF4}"/>
              </a:ext>
            </a:extLst>
          </p:cNvPr>
          <p:cNvSpPr txBox="1"/>
          <p:nvPr userDrawn="1"/>
        </p:nvSpPr>
        <p:spPr>
          <a:xfrm>
            <a:off x="9817769" y="6576218"/>
            <a:ext cx="1771776" cy="171450"/>
          </a:xfrm>
          <a:prstGeom prst="rect">
            <a:avLst/>
          </a:prstGeom>
          <a:noFill/>
        </p:spPr>
        <p:txBody>
          <a:bodyPr wrap="square" rtlCol="0">
            <a:noAutofit/>
          </a:bodyPr>
          <a:lstStyle/>
          <a:p>
            <a:pPr algn="ctr">
              <a:lnSpc>
                <a:spcPct val="90000"/>
              </a:lnSpc>
              <a:spcAft>
                <a:spcPts val="600"/>
              </a:spcAft>
            </a:pPr>
            <a:r>
              <a:rPr lang="en-US" sz="700" cap="all" spc="10" baseline="0" dirty="0"/>
              <a:t>Proprietary and Confidential</a:t>
            </a:r>
          </a:p>
        </p:txBody>
      </p:sp>
      <p:sp>
        <p:nvSpPr>
          <p:cNvPr id="63" name="Freeform: Shape 62">
            <a:extLst>
              <a:ext uri="{FF2B5EF4-FFF2-40B4-BE49-F238E27FC236}">
                <a16:creationId xmlns:a16="http://schemas.microsoft.com/office/drawing/2014/main" id="{D86E5E74-F887-469E-BA30-D2A06C55613B}"/>
              </a:ext>
            </a:extLst>
          </p:cNvPr>
          <p:cNvSpPr/>
          <p:nvPr userDrawn="1"/>
        </p:nvSpPr>
        <p:spPr>
          <a:xfrm>
            <a:off x="223837" y="223838"/>
            <a:ext cx="11744326" cy="6262686"/>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dirty="0">
              <a:solidFill>
                <a:schemeClr val="tx1"/>
              </a:solidFill>
            </a:endParaRPr>
          </a:p>
        </p:txBody>
      </p:sp>
      <p:sp>
        <p:nvSpPr>
          <p:cNvPr id="80" name="Text Placeholder 11">
            <a:extLst>
              <a:ext uri="{FF2B5EF4-FFF2-40B4-BE49-F238E27FC236}">
                <a16:creationId xmlns:a16="http://schemas.microsoft.com/office/drawing/2014/main" id="{B9410B0D-734E-4C7E-BAA9-8C4CAD589FDD}"/>
              </a:ext>
            </a:extLst>
          </p:cNvPr>
          <p:cNvSpPr>
            <a:spLocks noGrp="1"/>
          </p:cNvSpPr>
          <p:nvPr>
            <p:ph type="body" sz="quarter" idx="15" hasCustomPrompt="1"/>
          </p:nvPr>
        </p:nvSpPr>
        <p:spPr>
          <a:xfrm>
            <a:off x="5325600" y="87312"/>
            <a:ext cx="1540800" cy="274637"/>
          </a:xfrm>
          <a:solidFill>
            <a:schemeClr val="accent4"/>
          </a:solidFill>
          <a:ln>
            <a:solidFill>
              <a:schemeClr val="tx1"/>
            </a:solidFill>
          </a:ln>
        </p:spPr>
        <p:txBody>
          <a:bodyPr anchor="ctr"/>
          <a:lstStyle>
            <a:lvl1pPr algn="ctr">
              <a:defRPr sz="1050" b="1" cap="all" baseline="0">
                <a:solidFill>
                  <a:schemeClr val="tx1"/>
                </a:solidFill>
              </a:defRPr>
            </a:lvl1pPr>
          </a:lstStyle>
          <a:p>
            <a:pPr lvl="0"/>
            <a:r>
              <a:rPr lang="en-US"/>
              <a:t>Section XX</a:t>
            </a:r>
          </a:p>
        </p:txBody>
      </p:sp>
      <p:sp>
        <p:nvSpPr>
          <p:cNvPr id="81" name="Text Placeholder 5">
            <a:extLst>
              <a:ext uri="{FF2B5EF4-FFF2-40B4-BE49-F238E27FC236}">
                <a16:creationId xmlns:a16="http://schemas.microsoft.com/office/drawing/2014/main" id="{42AF7850-2114-4493-82FE-B9DEA2D8D9A6}"/>
              </a:ext>
            </a:extLst>
          </p:cNvPr>
          <p:cNvSpPr>
            <a:spLocks noGrp="1"/>
          </p:cNvSpPr>
          <p:nvPr>
            <p:ph type="body" sz="quarter" idx="21" hasCustomPrompt="1"/>
          </p:nvPr>
        </p:nvSpPr>
        <p:spPr>
          <a:xfrm>
            <a:off x="3307080" y="1828800"/>
            <a:ext cx="5577840" cy="3200400"/>
          </a:xfrm>
          <a:ln>
            <a:solidFill>
              <a:schemeClr val="tx1"/>
            </a:solidFill>
          </a:ln>
        </p:spPr>
        <p:txBody>
          <a:bodyPr/>
          <a:lstStyle>
            <a:lvl1pPr>
              <a:defRPr/>
            </a:lvl1pPr>
          </a:lstStyle>
          <a:p>
            <a:pPr lvl="0"/>
            <a:r>
              <a:rPr lang="en-US"/>
              <a:t> </a:t>
            </a:r>
          </a:p>
        </p:txBody>
      </p:sp>
      <p:sp>
        <p:nvSpPr>
          <p:cNvPr id="2" name="Title 1">
            <a:extLst>
              <a:ext uri="{FF2B5EF4-FFF2-40B4-BE49-F238E27FC236}">
                <a16:creationId xmlns:a16="http://schemas.microsoft.com/office/drawing/2014/main" id="{844F0621-2390-4957-AD47-60FDBAA34491}"/>
              </a:ext>
            </a:extLst>
          </p:cNvPr>
          <p:cNvSpPr>
            <a:spLocks noGrp="1"/>
          </p:cNvSpPr>
          <p:nvPr>
            <p:ph type="title" hasCustomPrompt="1"/>
          </p:nvPr>
        </p:nvSpPr>
        <p:spPr>
          <a:xfrm>
            <a:off x="3429000" y="2232661"/>
            <a:ext cx="5334000" cy="2392678"/>
          </a:xfrm>
        </p:spPr>
        <p:txBody>
          <a:bodyPr anchor="ctr"/>
          <a:lstStyle>
            <a:lvl1pPr algn="ctr">
              <a:defRPr sz="2800" b="1"/>
            </a:lvl1pPr>
          </a:lstStyle>
          <a:p>
            <a:r>
              <a:rPr lang="en-US"/>
              <a:t>Click to insert subsection name</a:t>
            </a:r>
          </a:p>
        </p:txBody>
      </p:sp>
      <p:sp>
        <p:nvSpPr>
          <p:cNvPr id="24" name="Footer Placeholder 4">
            <a:extLst>
              <a:ext uri="{FF2B5EF4-FFF2-40B4-BE49-F238E27FC236}">
                <a16:creationId xmlns:a16="http://schemas.microsoft.com/office/drawing/2014/main" id="{4130C53C-2EB0-4D16-8437-DD3010730E1E}"/>
              </a:ext>
            </a:extLst>
          </p:cNvPr>
          <p:cNvSpPr>
            <a:spLocks noGrp="1"/>
          </p:cNvSpPr>
          <p:nvPr>
            <p:ph type="ftr" sz="quarter" idx="3"/>
          </p:nvPr>
        </p:nvSpPr>
        <p:spPr>
          <a:xfrm>
            <a:off x="4648200" y="6534150"/>
            <a:ext cx="5169569" cy="263525"/>
          </a:xfrm>
          <a:prstGeom prst="rect">
            <a:avLst/>
          </a:prstGeom>
        </p:spPr>
        <p:txBody>
          <a:bodyPr vert="horz" wrap="square" lIns="91440" tIns="45720" rIns="91440" bIns="45720" rtlCol="0" anchor="ctr">
            <a:noAutofit/>
          </a:bodyPr>
          <a:lstStyle>
            <a:lvl1pPr algn="r">
              <a:lnSpc>
                <a:spcPct val="90000"/>
              </a:lnSpc>
              <a:spcAft>
                <a:spcPts val="600"/>
              </a:spcAft>
              <a:defRPr sz="600">
                <a:solidFill>
                  <a:schemeClr val="tx1"/>
                </a:solidFill>
              </a:defRPr>
            </a:lvl1pPr>
          </a:lstStyle>
          <a:p>
            <a:endParaRPr lang="en-US" sz="600" noProof="0" dirty="0"/>
          </a:p>
        </p:txBody>
      </p:sp>
      <p:grpSp>
        <p:nvGrpSpPr>
          <p:cNvPr id="9" name="Graphic 46">
            <a:extLst>
              <a:ext uri="{FF2B5EF4-FFF2-40B4-BE49-F238E27FC236}">
                <a16:creationId xmlns:a16="http://schemas.microsoft.com/office/drawing/2014/main" id="{0F22091A-0D54-4E20-BED6-31FC567EF053}"/>
              </a:ext>
            </a:extLst>
          </p:cNvPr>
          <p:cNvGrpSpPr/>
          <p:nvPr userDrawn="1"/>
        </p:nvGrpSpPr>
        <p:grpSpPr>
          <a:xfrm>
            <a:off x="223838" y="6586537"/>
            <a:ext cx="1852878" cy="171636"/>
            <a:chOff x="223838" y="6586537"/>
            <a:chExt cx="1852878" cy="171636"/>
          </a:xfrm>
          <a:solidFill>
            <a:srgbClr val="E2E2E3"/>
          </a:solidFill>
        </p:grpSpPr>
        <p:sp>
          <p:nvSpPr>
            <p:cNvPr id="10" name="Freeform: Shape 9">
              <a:extLst>
                <a:ext uri="{FF2B5EF4-FFF2-40B4-BE49-F238E27FC236}">
                  <a16:creationId xmlns:a16="http://schemas.microsoft.com/office/drawing/2014/main" id="{1AF8885B-66CC-4741-A2FE-1ADD2C488BE9}"/>
                </a:ext>
              </a:extLst>
            </p:cNvPr>
            <p:cNvSpPr/>
            <p:nvPr/>
          </p:nvSpPr>
          <p:spPr>
            <a:xfrm>
              <a:off x="1015600" y="6590823"/>
              <a:ext cx="114610" cy="163250"/>
            </a:xfrm>
            <a:custGeom>
              <a:avLst/>
              <a:gdLst>
                <a:gd name="connsiteX0" fmla="*/ 97913 w 114610"/>
                <a:gd name="connsiteY0" fmla="*/ 163250 h 163250"/>
                <a:gd name="connsiteX1" fmla="*/ 114611 w 114610"/>
                <a:gd name="connsiteY1" fmla="*/ 163250 h 163250"/>
                <a:gd name="connsiteX2" fmla="*/ 114611 w 114610"/>
                <a:gd name="connsiteY2" fmla="*/ 0 h 163250"/>
                <a:gd name="connsiteX3" fmla="*/ 97913 w 114610"/>
                <a:gd name="connsiteY3" fmla="*/ 0 h 163250"/>
                <a:gd name="connsiteX4" fmla="*/ 97913 w 114610"/>
                <a:gd name="connsiteY4" fmla="*/ 73351 h 163250"/>
                <a:gd name="connsiteX5" fmla="*/ 16698 w 114610"/>
                <a:gd name="connsiteY5" fmla="*/ 73351 h 163250"/>
                <a:gd name="connsiteX6" fmla="*/ 16698 w 114610"/>
                <a:gd name="connsiteY6" fmla="*/ 0 h 163250"/>
                <a:gd name="connsiteX7" fmla="*/ 0 w 114610"/>
                <a:gd name="connsiteY7" fmla="*/ 0 h 163250"/>
                <a:gd name="connsiteX8" fmla="*/ 0 w 114610"/>
                <a:gd name="connsiteY8" fmla="*/ 163250 h 163250"/>
                <a:gd name="connsiteX9" fmla="*/ 16698 w 114610"/>
                <a:gd name="connsiteY9" fmla="*/ 163250 h 163250"/>
                <a:gd name="connsiteX10" fmla="*/ 16698 w 114610"/>
                <a:gd name="connsiteY10" fmla="*/ 89937 h 163250"/>
                <a:gd name="connsiteX11" fmla="*/ 97913 w 114610"/>
                <a:gd name="connsiteY11" fmla="*/ 89937 h 163250"/>
                <a:gd name="connsiteX12" fmla="*/ 97913 w 114610"/>
                <a:gd name="connsiteY12" fmla="*/ 16325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610" h="163250">
                  <a:moveTo>
                    <a:pt x="97913" y="163250"/>
                  </a:moveTo>
                  <a:lnTo>
                    <a:pt x="114611" y="163250"/>
                  </a:lnTo>
                  <a:lnTo>
                    <a:pt x="114611" y="0"/>
                  </a:lnTo>
                  <a:lnTo>
                    <a:pt x="97913" y="0"/>
                  </a:lnTo>
                  <a:lnTo>
                    <a:pt x="97913" y="73351"/>
                  </a:lnTo>
                  <a:lnTo>
                    <a:pt x="16698" y="73351"/>
                  </a:lnTo>
                  <a:lnTo>
                    <a:pt x="16698" y="0"/>
                  </a:lnTo>
                  <a:lnTo>
                    <a:pt x="0" y="0"/>
                  </a:lnTo>
                  <a:lnTo>
                    <a:pt x="0" y="163250"/>
                  </a:lnTo>
                  <a:lnTo>
                    <a:pt x="16698" y="163250"/>
                  </a:lnTo>
                  <a:lnTo>
                    <a:pt x="16698" y="89937"/>
                  </a:lnTo>
                  <a:lnTo>
                    <a:pt x="97913" y="89937"/>
                  </a:lnTo>
                  <a:lnTo>
                    <a:pt x="97913" y="163250"/>
                  </a:lnTo>
                  <a:close/>
                </a:path>
              </a:pathLst>
            </a:custGeom>
            <a:solidFill>
              <a:srgbClr val="E2E2E3"/>
            </a:solidFill>
            <a:ln w="3718" cap="flat">
              <a:noFill/>
              <a:prstDash val="solid"/>
              <a:miter/>
            </a:ln>
          </p:spPr>
          <p:txBody>
            <a:bodyPr rtlCol="0" anchor="ctr"/>
            <a:lstStyle/>
            <a:p>
              <a:endParaRPr lang="en-US" dirty="0"/>
            </a:p>
          </p:txBody>
        </p:sp>
        <p:sp>
          <p:nvSpPr>
            <p:cNvPr id="11" name="Freeform: Shape 10">
              <a:extLst>
                <a:ext uri="{FF2B5EF4-FFF2-40B4-BE49-F238E27FC236}">
                  <a16:creationId xmlns:a16="http://schemas.microsoft.com/office/drawing/2014/main" id="{46721CA6-6819-4136-B435-E40A4A21BB8B}"/>
                </a:ext>
              </a:extLst>
            </p:cNvPr>
            <p:cNvSpPr/>
            <p:nvPr/>
          </p:nvSpPr>
          <p:spPr>
            <a:xfrm>
              <a:off x="1158761" y="6590823"/>
              <a:ext cx="16809" cy="163250"/>
            </a:xfrm>
            <a:custGeom>
              <a:avLst/>
              <a:gdLst>
                <a:gd name="connsiteX0" fmla="*/ 0 w 16809"/>
                <a:gd name="connsiteY0" fmla="*/ 0 h 163250"/>
                <a:gd name="connsiteX1" fmla="*/ 16810 w 16809"/>
                <a:gd name="connsiteY1" fmla="*/ 0 h 163250"/>
                <a:gd name="connsiteX2" fmla="*/ 16810 w 16809"/>
                <a:gd name="connsiteY2" fmla="*/ 163250 h 163250"/>
                <a:gd name="connsiteX3" fmla="*/ 0 w 16809"/>
                <a:gd name="connsiteY3" fmla="*/ 163250 h 163250"/>
              </a:gdLst>
              <a:ahLst/>
              <a:cxnLst>
                <a:cxn ang="0">
                  <a:pos x="connsiteX0" y="connsiteY0"/>
                </a:cxn>
                <a:cxn ang="0">
                  <a:pos x="connsiteX1" y="connsiteY1"/>
                </a:cxn>
                <a:cxn ang="0">
                  <a:pos x="connsiteX2" y="connsiteY2"/>
                </a:cxn>
                <a:cxn ang="0">
                  <a:pos x="connsiteX3" y="connsiteY3"/>
                </a:cxn>
              </a:cxnLst>
              <a:rect l="l" t="t" r="r" b="b"/>
              <a:pathLst>
                <a:path w="16809" h="163250">
                  <a:moveTo>
                    <a:pt x="0" y="0"/>
                  </a:moveTo>
                  <a:lnTo>
                    <a:pt x="16810" y="0"/>
                  </a:lnTo>
                  <a:lnTo>
                    <a:pt x="16810" y="163250"/>
                  </a:lnTo>
                  <a:lnTo>
                    <a:pt x="0" y="163250"/>
                  </a:lnTo>
                  <a:close/>
                </a:path>
              </a:pathLst>
            </a:custGeom>
            <a:solidFill>
              <a:srgbClr val="E2E2E3"/>
            </a:solidFill>
            <a:ln w="3718" cap="flat">
              <a:noFill/>
              <a:prstDash val="solid"/>
              <a:miter/>
            </a:ln>
          </p:spPr>
          <p:txBody>
            <a:bodyPr rtlCol="0" anchor="ctr"/>
            <a:lstStyle/>
            <a:p>
              <a:endParaRPr lang="en-US" dirty="0"/>
            </a:p>
          </p:txBody>
        </p:sp>
        <p:sp>
          <p:nvSpPr>
            <p:cNvPr id="12" name="Freeform: Shape 11">
              <a:extLst>
                <a:ext uri="{FF2B5EF4-FFF2-40B4-BE49-F238E27FC236}">
                  <a16:creationId xmlns:a16="http://schemas.microsoft.com/office/drawing/2014/main" id="{D1CC335D-3974-4922-902A-F470C17A6FAA}"/>
                </a:ext>
              </a:extLst>
            </p:cNvPr>
            <p:cNvSpPr/>
            <p:nvPr/>
          </p:nvSpPr>
          <p:spPr>
            <a:xfrm>
              <a:off x="1197184" y="6589704"/>
              <a:ext cx="165642" cy="165862"/>
            </a:xfrm>
            <a:custGeom>
              <a:avLst/>
              <a:gdLst>
                <a:gd name="connsiteX0" fmla="*/ 24343 w 165642"/>
                <a:gd name="connsiteY0" fmla="*/ 141596 h 165862"/>
                <a:gd name="connsiteX1" fmla="*/ 114652 w 165642"/>
                <a:gd name="connsiteY1" fmla="*/ 159859 h 165862"/>
                <a:gd name="connsiteX2" fmla="*/ 141600 w 165642"/>
                <a:gd name="connsiteY2" fmla="*/ 141558 h 165862"/>
                <a:gd name="connsiteX3" fmla="*/ 160869 w 165642"/>
                <a:gd name="connsiteY3" fmla="*/ 110996 h 165862"/>
                <a:gd name="connsiteX4" fmla="*/ 165640 w 165642"/>
                <a:gd name="connsiteY4" fmla="*/ 81514 h 165862"/>
                <a:gd name="connsiteX5" fmla="*/ 91283 w 165642"/>
                <a:gd name="connsiteY5" fmla="*/ 81514 h 165862"/>
                <a:gd name="connsiteX6" fmla="*/ 91283 w 165642"/>
                <a:gd name="connsiteY6" fmla="*/ 96720 h 165862"/>
                <a:gd name="connsiteX7" fmla="*/ 149352 w 165642"/>
                <a:gd name="connsiteY7" fmla="*/ 96720 h 165862"/>
                <a:gd name="connsiteX8" fmla="*/ 142606 w 165642"/>
                <a:gd name="connsiteY8" fmla="*/ 110996 h 165862"/>
                <a:gd name="connsiteX9" fmla="*/ 133623 w 165642"/>
                <a:gd name="connsiteY9" fmla="*/ 124935 h 165862"/>
                <a:gd name="connsiteX10" fmla="*/ 121547 w 165642"/>
                <a:gd name="connsiteY10" fmla="*/ 136415 h 165862"/>
                <a:gd name="connsiteX11" fmla="*/ 103471 w 165642"/>
                <a:gd name="connsiteY11" fmla="*/ 145621 h 165862"/>
                <a:gd name="connsiteX12" fmla="*/ 57962 w 165642"/>
                <a:gd name="connsiteY12" fmla="*/ 143944 h 165862"/>
                <a:gd name="connsiteX13" fmla="*/ 36717 w 165642"/>
                <a:gd name="connsiteY13" fmla="*/ 129445 h 165862"/>
                <a:gd name="connsiteX14" fmla="*/ 22330 w 165642"/>
                <a:gd name="connsiteY14" fmla="*/ 108163 h 165862"/>
                <a:gd name="connsiteX15" fmla="*/ 22330 w 165642"/>
                <a:gd name="connsiteY15" fmla="*/ 57734 h 165862"/>
                <a:gd name="connsiteX16" fmla="*/ 36717 w 165642"/>
                <a:gd name="connsiteY16" fmla="*/ 36452 h 165862"/>
                <a:gd name="connsiteX17" fmla="*/ 58036 w 165642"/>
                <a:gd name="connsiteY17" fmla="*/ 21916 h 165862"/>
                <a:gd name="connsiteX18" fmla="*/ 83232 w 165642"/>
                <a:gd name="connsiteY18" fmla="*/ 17034 h 165862"/>
                <a:gd name="connsiteX19" fmla="*/ 108391 w 165642"/>
                <a:gd name="connsiteY19" fmla="*/ 21916 h 165862"/>
                <a:gd name="connsiteX20" fmla="*/ 122106 w 165642"/>
                <a:gd name="connsiteY20" fmla="*/ 29818 h 165862"/>
                <a:gd name="connsiteX21" fmla="*/ 134145 w 165642"/>
                <a:gd name="connsiteY21" fmla="*/ 17704 h 165862"/>
                <a:gd name="connsiteX22" fmla="*/ 129374 w 165642"/>
                <a:gd name="connsiteY22" fmla="*/ 14275 h 165862"/>
                <a:gd name="connsiteX23" fmla="*/ 114988 w 165642"/>
                <a:gd name="connsiteY23" fmla="*/ 6448 h 165862"/>
                <a:gd name="connsiteX24" fmla="*/ 99520 w 165642"/>
                <a:gd name="connsiteY24" fmla="*/ 1640 h 165862"/>
                <a:gd name="connsiteX25" fmla="*/ 82934 w 165642"/>
                <a:gd name="connsiteY25" fmla="*/ 0 h 165862"/>
                <a:gd name="connsiteX26" fmla="*/ 76001 w 165642"/>
                <a:gd name="connsiteY26" fmla="*/ 0 h 165862"/>
                <a:gd name="connsiteX27" fmla="*/ 51104 w 165642"/>
                <a:gd name="connsiteY27" fmla="*/ 5889 h 165862"/>
                <a:gd name="connsiteX28" fmla="*/ 24306 w 165642"/>
                <a:gd name="connsiteY28" fmla="*/ 24264 h 165862"/>
                <a:gd name="connsiteX29" fmla="*/ 6042 w 165642"/>
                <a:gd name="connsiteY29" fmla="*/ 51137 h 165862"/>
                <a:gd name="connsiteX30" fmla="*/ 4 w 165642"/>
                <a:gd name="connsiteY30" fmla="*/ 83042 h 165862"/>
                <a:gd name="connsiteX31" fmla="*/ 6042 w 165642"/>
                <a:gd name="connsiteY31" fmla="*/ 114909 h 165862"/>
                <a:gd name="connsiteX32" fmla="*/ 24268 w 165642"/>
                <a:gd name="connsiteY32" fmla="*/ 141707 h 16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65642" h="165862">
                  <a:moveTo>
                    <a:pt x="24343" y="141596"/>
                  </a:moveTo>
                  <a:cubicBezTo>
                    <a:pt x="48141" y="165094"/>
                    <a:pt x="83594" y="172264"/>
                    <a:pt x="114652" y="159859"/>
                  </a:cubicBezTo>
                  <a:cubicBezTo>
                    <a:pt x="124719" y="155530"/>
                    <a:pt x="133866" y="149319"/>
                    <a:pt x="141600" y="141558"/>
                  </a:cubicBezTo>
                  <a:cubicBezTo>
                    <a:pt x="150347" y="133035"/>
                    <a:pt x="156948" y="122562"/>
                    <a:pt x="160869" y="110996"/>
                  </a:cubicBezTo>
                  <a:cubicBezTo>
                    <a:pt x="164108" y="101507"/>
                    <a:pt x="165722" y="91539"/>
                    <a:pt x="165640" y="81514"/>
                  </a:cubicBezTo>
                  <a:lnTo>
                    <a:pt x="91283" y="81514"/>
                  </a:lnTo>
                  <a:lnTo>
                    <a:pt x="91283" y="96720"/>
                  </a:lnTo>
                  <a:lnTo>
                    <a:pt x="149352" y="96720"/>
                  </a:lnTo>
                  <a:lnTo>
                    <a:pt x="142606" y="110996"/>
                  </a:lnTo>
                  <a:cubicBezTo>
                    <a:pt x="140217" y="116006"/>
                    <a:pt x="137198" y="120690"/>
                    <a:pt x="133623" y="124935"/>
                  </a:cubicBezTo>
                  <a:cubicBezTo>
                    <a:pt x="130083" y="129240"/>
                    <a:pt x="126027" y="133095"/>
                    <a:pt x="121547" y="136415"/>
                  </a:cubicBezTo>
                  <a:cubicBezTo>
                    <a:pt x="116076" y="140470"/>
                    <a:pt x="109967" y="143582"/>
                    <a:pt x="103471" y="145621"/>
                  </a:cubicBezTo>
                  <a:cubicBezTo>
                    <a:pt x="88569" y="150385"/>
                    <a:pt x="72472" y="149792"/>
                    <a:pt x="57962" y="143944"/>
                  </a:cubicBezTo>
                  <a:cubicBezTo>
                    <a:pt x="49975" y="140595"/>
                    <a:pt x="42748" y="135663"/>
                    <a:pt x="36717" y="129445"/>
                  </a:cubicBezTo>
                  <a:cubicBezTo>
                    <a:pt x="30597" y="123344"/>
                    <a:pt x="25711" y="116117"/>
                    <a:pt x="22330" y="108163"/>
                  </a:cubicBezTo>
                  <a:cubicBezTo>
                    <a:pt x="15819" y="91984"/>
                    <a:pt x="15819" y="73913"/>
                    <a:pt x="22330" y="57734"/>
                  </a:cubicBezTo>
                  <a:cubicBezTo>
                    <a:pt x="25729" y="49791"/>
                    <a:pt x="30612" y="42568"/>
                    <a:pt x="36717" y="36452"/>
                  </a:cubicBezTo>
                  <a:cubicBezTo>
                    <a:pt x="42792" y="30244"/>
                    <a:pt x="50038" y="25303"/>
                    <a:pt x="58036" y="21916"/>
                  </a:cubicBezTo>
                  <a:cubicBezTo>
                    <a:pt x="66013" y="18581"/>
                    <a:pt x="74589" y="16919"/>
                    <a:pt x="83232" y="17034"/>
                  </a:cubicBezTo>
                  <a:cubicBezTo>
                    <a:pt x="91861" y="16956"/>
                    <a:pt x="100418" y="18617"/>
                    <a:pt x="108391" y="21916"/>
                  </a:cubicBezTo>
                  <a:cubicBezTo>
                    <a:pt x="113251" y="24012"/>
                    <a:pt x="117854" y="26664"/>
                    <a:pt x="122106" y="29818"/>
                  </a:cubicBezTo>
                  <a:lnTo>
                    <a:pt x="134145" y="17704"/>
                  </a:lnTo>
                  <a:cubicBezTo>
                    <a:pt x="132356" y="16363"/>
                    <a:pt x="130791" y="15244"/>
                    <a:pt x="129374" y="14275"/>
                  </a:cubicBezTo>
                  <a:cubicBezTo>
                    <a:pt x="124820" y="11246"/>
                    <a:pt x="120004" y="8627"/>
                    <a:pt x="114988" y="6448"/>
                  </a:cubicBezTo>
                  <a:cubicBezTo>
                    <a:pt x="110001" y="4347"/>
                    <a:pt x="104820" y="2737"/>
                    <a:pt x="99520" y="1640"/>
                  </a:cubicBezTo>
                  <a:cubicBezTo>
                    <a:pt x="94060" y="534"/>
                    <a:pt x="88502" y="-15"/>
                    <a:pt x="82934" y="0"/>
                  </a:cubicBezTo>
                  <a:lnTo>
                    <a:pt x="76001" y="0"/>
                  </a:lnTo>
                  <a:cubicBezTo>
                    <a:pt x="67440" y="610"/>
                    <a:pt x="59032" y="2598"/>
                    <a:pt x="51104" y="5889"/>
                  </a:cubicBezTo>
                  <a:cubicBezTo>
                    <a:pt x="41022" y="10138"/>
                    <a:pt x="31902" y="16389"/>
                    <a:pt x="24306" y="24264"/>
                  </a:cubicBezTo>
                  <a:cubicBezTo>
                    <a:pt x="16490" y="31918"/>
                    <a:pt x="10284" y="41054"/>
                    <a:pt x="6042" y="51137"/>
                  </a:cubicBezTo>
                  <a:cubicBezTo>
                    <a:pt x="1965" y="61275"/>
                    <a:pt x="-89" y="72114"/>
                    <a:pt x="4" y="83042"/>
                  </a:cubicBezTo>
                  <a:cubicBezTo>
                    <a:pt x="-107" y="93959"/>
                    <a:pt x="1946" y="104789"/>
                    <a:pt x="6042" y="114909"/>
                  </a:cubicBezTo>
                  <a:cubicBezTo>
                    <a:pt x="10206" y="125003"/>
                    <a:pt x="16411" y="134126"/>
                    <a:pt x="24268" y="141707"/>
                  </a:cubicBezTo>
                </a:path>
              </a:pathLst>
            </a:custGeom>
            <a:solidFill>
              <a:srgbClr val="E2E2E3"/>
            </a:solidFill>
            <a:ln w="3718" cap="flat">
              <a:noFill/>
              <a:prstDash val="solid"/>
              <a:miter/>
            </a:ln>
          </p:spPr>
          <p:txBody>
            <a:bodyPr rtlCol="0" anchor="ctr"/>
            <a:lstStyle/>
            <a:p>
              <a:endParaRPr lang="en-US" dirty="0"/>
            </a:p>
          </p:txBody>
        </p:sp>
        <p:sp>
          <p:nvSpPr>
            <p:cNvPr id="13" name="Freeform: Shape 12">
              <a:extLst>
                <a:ext uri="{FF2B5EF4-FFF2-40B4-BE49-F238E27FC236}">
                  <a16:creationId xmlns:a16="http://schemas.microsoft.com/office/drawing/2014/main" id="{393752CA-4CE3-41FF-8D4B-993268488BCE}"/>
                </a:ext>
              </a:extLst>
            </p:cNvPr>
            <p:cNvSpPr/>
            <p:nvPr/>
          </p:nvSpPr>
          <p:spPr>
            <a:xfrm>
              <a:off x="1384590" y="6590823"/>
              <a:ext cx="114573" cy="163250"/>
            </a:xfrm>
            <a:custGeom>
              <a:avLst/>
              <a:gdLst>
                <a:gd name="connsiteX0" fmla="*/ 97876 w 114573"/>
                <a:gd name="connsiteY0" fmla="*/ 163250 h 163250"/>
                <a:gd name="connsiteX1" fmla="*/ 114573 w 114573"/>
                <a:gd name="connsiteY1" fmla="*/ 163250 h 163250"/>
                <a:gd name="connsiteX2" fmla="*/ 114573 w 114573"/>
                <a:gd name="connsiteY2" fmla="*/ 0 h 163250"/>
                <a:gd name="connsiteX3" fmla="*/ 97876 w 114573"/>
                <a:gd name="connsiteY3" fmla="*/ 0 h 163250"/>
                <a:gd name="connsiteX4" fmla="*/ 97876 w 114573"/>
                <a:gd name="connsiteY4" fmla="*/ 73351 h 163250"/>
                <a:gd name="connsiteX5" fmla="*/ 16660 w 114573"/>
                <a:gd name="connsiteY5" fmla="*/ 73351 h 163250"/>
                <a:gd name="connsiteX6" fmla="*/ 16660 w 114573"/>
                <a:gd name="connsiteY6" fmla="*/ 0 h 163250"/>
                <a:gd name="connsiteX7" fmla="*/ 0 w 114573"/>
                <a:gd name="connsiteY7" fmla="*/ 0 h 163250"/>
                <a:gd name="connsiteX8" fmla="*/ 0 w 114573"/>
                <a:gd name="connsiteY8" fmla="*/ 163250 h 163250"/>
                <a:gd name="connsiteX9" fmla="*/ 16660 w 114573"/>
                <a:gd name="connsiteY9" fmla="*/ 163250 h 163250"/>
                <a:gd name="connsiteX10" fmla="*/ 16660 w 114573"/>
                <a:gd name="connsiteY10" fmla="*/ 89937 h 163250"/>
                <a:gd name="connsiteX11" fmla="*/ 97876 w 114573"/>
                <a:gd name="connsiteY11" fmla="*/ 89937 h 163250"/>
                <a:gd name="connsiteX12" fmla="*/ 97876 w 114573"/>
                <a:gd name="connsiteY12" fmla="*/ 16325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573" h="163250">
                  <a:moveTo>
                    <a:pt x="97876" y="163250"/>
                  </a:moveTo>
                  <a:lnTo>
                    <a:pt x="114573" y="163250"/>
                  </a:lnTo>
                  <a:lnTo>
                    <a:pt x="114573" y="0"/>
                  </a:lnTo>
                  <a:lnTo>
                    <a:pt x="97876" y="0"/>
                  </a:lnTo>
                  <a:lnTo>
                    <a:pt x="97876" y="73351"/>
                  </a:lnTo>
                  <a:lnTo>
                    <a:pt x="16660" y="73351"/>
                  </a:lnTo>
                  <a:lnTo>
                    <a:pt x="16660" y="0"/>
                  </a:lnTo>
                  <a:lnTo>
                    <a:pt x="0" y="0"/>
                  </a:lnTo>
                  <a:lnTo>
                    <a:pt x="0" y="163250"/>
                  </a:lnTo>
                  <a:lnTo>
                    <a:pt x="16660" y="163250"/>
                  </a:lnTo>
                  <a:lnTo>
                    <a:pt x="16660" y="89937"/>
                  </a:lnTo>
                  <a:lnTo>
                    <a:pt x="97876" y="89937"/>
                  </a:lnTo>
                  <a:lnTo>
                    <a:pt x="97876" y="163250"/>
                  </a:lnTo>
                  <a:close/>
                </a:path>
              </a:pathLst>
            </a:custGeom>
            <a:solidFill>
              <a:srgbClr val="E2E2E3"/>
            </a:solidFill>
            <a:ln w="3718" cap="flat">
              <a:noFill/>
              <a:prstDash val="solid"/>
              <a:miter/>
            </a:ln>
          </p:spPr>
          <p:txBody>
            <a:bodyPr rtlCol="0" anchor="ctr"/>
            <a:lstStyle/>
            <a:p>
              <a:endParaRPr lang="en-US" dirty="0"/>
            </a:p>
          </p:txBody>
        </p:sp>
        <p:sp>
          <p:nvSpPr>
            <p:cNvPr id="14" name="Freeform: Shape 13">
              <a:extLst>
                <a:ext uri="{FF2B5EF4-FFF2-40B4-BE49-F238E27FC236}">
                  <a16:creationId xmlns:a16="http://schemas.microsoft.com/office/drawing/2014/main" id="{AD396426-79EA-4A32-826D-167175C07074}"/>
                </a:ext>
              </a:extLst>
            </p:cNvPr>
            <p:cNvSpPr/>
            <p:nvPr/>
          </p:nvSpPr>
          <p:spPr>
            <a:xfrm>
              <a:off x="1527751" y="6590823"/>
              <a:ext cx="90346" cy="163250"/>
            </a:xfrm>
            <a:custGeom>
              <a:avLst/>
              <a:gdLst>
                <a:gd name="connsiteX0" fmla="*/ 16810 w 90346"/>
                <a:gd name="connsiteY0" fmla="*/ 0 h 163250"/>
                <a:gd name="connsiteX1" fmla="*/ 0 w 90346"/>
                <a:gd name="connsiteY1" fmla="*/ 0 h 163250"/>
                <a:gd name="connsiteX2" fmla="*/ 0 w 90346"/>
                <a:gd name="connsiteY2" fmla="*/ 163250 h 163250"/>
                <a:gd name="connsiteX3" fmla="*/ 90347 w 90346"/>
                <a:gd name="connsiteY3" fmla="*/ 163250 h 163250"/>
                <a:gd name="connsiteX4" fmla="*/ 90347 w 90346"/>
                <a:gd name="connsiteY4" fmla="*/ 146813 h 163250"/>
                <a:gd name="connsiteX5" fmla="*/ 16810 w 90346"/>
                <a:gd name="connsiteY5" fmla="*/ 146813 h 163250"/>
                <a:gd name="connsiteX6" fmla="*/ 16810 w 90346"/>
                <a:gd name="connsiteY6" fmla="*/ 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346" h="163250">
                  <a:moveTo>
                    <a:pt x="16810" y="0"/>
                  </a:moveTo>
                  <a:lnTo>
                    <a:pt x="0" y="0"/>
                  </a:lnTo>
                  <a:lnTo>
                    <a:pt x="0" y="163250"/>
                  </a:lnTo>
                  <a:lnTo>
                    <a:pt x="90347" y="163250"/>
                  </a:lnTo>
                  <a:lnTo>
                    <a:pt x="90347" y="146813"/>
                  </a:lnTo>
                  <a:lnTo>
                    <a:pt x="16810" y="146813"/>
                  </a:lnTo>
                  <a:lnTo>
                    <a:pt x="16810" y="0"/>
                  </a:lnTo>
                  <a:close/>
                </a:path>
              </a:pathLst>
            </a:custGeom>
            <a:solidFill>
              <a:srgbClr val="E2E2E3"/>
            </a:solidFill>
            <a:ln w="3718"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C0593DF1-AC7D-4512-B053-045F779CAB20}"/>
                </a:ext>
              </a:extLst>
            </p:cNvPr>
            <p:cNvSpPr/>
            <p:nvPr/>
          </p:nvSpPr>
          <p:spPr>
            <a:xfrm>
              <a:off x="1640796" y="6593991"/>
              <a:ext cx="136563" cy="160268"/>
            </a:xfrm>
            <a:custGeom>
              <a:avLst/>
              <a:gdLst>
                <a:gd name="connsiteX0" fmla="*/ 36191 w 136563"/>
                <a:gd name="connsiteY0" fmla="*/ 119866 h 160268"/>
                <a:gd name="connsiteX1" fmla="*/ 37943 w 136563"/>
                <a:gd name="connsiteY1" fmla="*/ 115803 h 160268"/>
                <a:gd name="connsiteX2" fmla="*/ 51696 w 136563"/>
                <a:gd name="connsiteY2" fmla="*/ 81700 h 160268"/>
                <a:gd name="connsiteX3" fmla="*/ 65673 w 136563"/>
                <a:gd name="connsiteY3" fmla="*/ 47223 h 160268"/>
                <a:gd name="connsiteX4" fmla="*/ 68356 w 136563"/>
                <a:gd name="connsiteY4" fmla="*/ 41036 h 160268"/>
                <a:gd name="connsiteX5" fmla="*/ 71040 w 136563"/>
                <a:gd name="connsiteY5" fmla="*/ 47261 h 160268"/>
                <a:gd name="connsiteX6" fmla="*/ 84756 w 136563"/>
                <a:gd name="connsiteY6" fmla="*/ 81700 h 160268"/>
                <a:gd name="connsiteX7" fmla="*/ 98546 w 136563"/>
                <a:gd name="connsiteY7" fmla="*/ 115803 h 160268"/>
                <a:gd name="connsiteX8" fmla="*/ 100298 w 136563"/>
                <a:gd name="connsiteY8" fmla="*/ 119866 h 160268"/>
                <a:gd name="connsiteX9" fmla="*/ 118636 w 136563"/>
                <a:gd name="connsiteY9" fmla="*/ 160268 h 160268"/>
                <a:gd name="connsiteX10" fmla="*/ 136563 w 136563"/>
                <a:gd name="connsiteY10" fmla="*/ 160268 h 160268"/>
                <a:gd name="connsiteX11" fmla="*/ 68319 w 136563"/>
                <a:gd name="connsiteY11" fmla="*/ 0 h 160268"/>
                <a:gd name="connsiteX12" fmla="*/ 0 w 136563"/>
                <a:gd name="connsiteY12" fmla="*/ 160268 h 160268"/>
                <a:gd name="connsiteX13" fmla="*/ 18002 w 136563"/>
                <a:gd name="connsiteY13" fmla="*/ 160268 h 160268"/>
                <a:gd name="connsiteX14" fmla="*/ 30488 w 136563"/>
                <a:gd name="connsiteY14" fmla="*/ 132426 h 160268"/>
                <a:gd name="connsiteX15" fmla="*/ 106113 w 136563"/>
                <a:gd name="connsiteY15" fmla="*/ 132426 h 160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6563" h="160268">
                  <a:moveTo>
                    <a:pt x="36191" y="119866"/>
                  </a:moveTo>
                  <a:lnTo>
                    <a:pt x="37943" y="115803"/>
                  </a:lnTo>
                  <a:cubicBezTo>
                    <a:pt x="42452" y="105255"/>
                    <a:pt x="47074" y="93776"/>
                    <a:pt x="51696" y="81700"/>
                  </a:cubicBezTo>
                  <a:cubicBezTo>
                    <a:pt x="56318" y="69624"/>
                    <a:pt x="61088" y="57846"/>
                    <a:pt x="65673" y="47223"/>
                  </a:cubicBezTo>
                  <a:lnTo>
                    <a:pt x="68356" y="41036"/>
                  </a:lnTo>
                  <a:lnTo>
                    <a:pt x="71040" y="47261"/>
                  </a:lnTo>
                  <a:cubicBezTo>
                    <a:pt x="75550" y="57883"/>
                    <a:pt x="80171" y="69624"/>
                    <a:pt x="84756" y="81700"/>
                  </a:cubicBezTo>
                  <a:cubicBezTo>
                    <a:pt x="89340" y="93776"/>
                    <a:pt x="93925" y="105255"/>
                    <a:pt x="98546" y="115803"/>
                  </a:cubicBezTo>
                  <a:lnTo>
                    <a:pt x="100298" y="119866"/>
                  </a:lnTo>
                  <a:close/>
                  <a:moveTo>
                    <a:pt x="118636" y="160268"/>
                  </a:moveTo>
                  <a:lnTo>
                    <a:pt x="136563" y="160268"/>
                  </a:lnTo>
                  <a:lnTo>
                    <a:pt x="68319" y="0"/>
                  </a:lnTo>
                  <a:lnTo>
                    <a:pt x="0" y="160268"/>
                  </a:lnTo>
                  <a:lnTo>
                    <a:pt x="18002" y="160268"/>
                  </a:lnTo>
                  <a:lnTo>
                    <a:pt x="30488" y="132426"/>
                  </a:lnTo>
                  <a:lnTo>
                    <a:pt x="106113" y="132426"/>
                  </a:lnTo>
                  <a:close/>
                </a:path>
              </a:pathLst>
            </a:custGeom>
            <a:solidFill>
              <a:srgbClr val="E2E2E3"/>
            </a:solidFill>
            <a:ln w="3718"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80F54DF5-4FB9-4500-B4AA-4A7DDD66D6FF}"/>
                </a:ext>
              </a:extLst>
            </p:cNvPr>
            <p:cNvSpPr/>
            <p:nvPr/>
          </p:nvSpPr>
          <p:spPr>
            <a:xfrm>
              <a:off x="1800505" y="6590487"/>
              <a:ext cx="127208" cy="164070"/>
            </a:xfrm>
            <a:custGeom>
              <a:avLst/>
              <a:gdLst>
                <a:gd name="connsiteX0" fmla="*/ 110436 w 127208"/>
                <a:gd name="connsiteY0" fmla="*/ 119120 h 164070"/>
                <a:gd name="connsiteX1" fmla="*/ 0 w 127208"/>
                <a:gd name="connsiteY1" fmla="*/ 3019 h 164070"/>
                <a:gd name="connsiteX2" fmla="*/ 0 w 127208"/>
                <a:gd name="connsiteY2" fmla="*/ 164070 h 164070"/>
                <a:gd name="connsiteX3" fmla="*/ 16810 w 127208"/>
                <a:gd name="connsiteY3" fmla="*/ 164070 h 164070"/>
                <a:gd name="connsiteX4" fmla="*/ 16810 w 127208"/>
                <a:gd name="connsiteY4" fmla="*/ 44540 h 164070"/>
                <a:gd name="connsiteX5" fmla="*/ 127208 w 127208"/>
                <a:gd name="connsiteY5" fmla="*/ 162244 h 164070"/>
                <a:gd name="connsiteX6" fmla="*/ 127208 w 127208"/>
                <a:gd name="connsiteY6" fmla="*/ 0 h 164070"/>
                <a:gd name="connsiteX7" fmla="*/ 110436 w 127208"/>
                <a:gd name="connsiteY7" fmla="*/ 0 h 164070"/>
                <a:gd name="connsiteX8" fmla="*/ 110436 w 127208"/>
                <a:gd name="connsiteY8" fmla="*/ 119120 h 16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208" h="164070">
                  <a:moveTo>
                    <a:pt x="110436" y="119120"/>
                  </a:moveTo>
                  <a:lnTo>
                    <a:pt x="0" y="3019"/>
                  </a:lnTo>
                  <a:lnTo>
                    <a:pt x="0" y="164070"/>
                  </a:lnTo>
                  <a:lnTo>
                    <a:pt x="16810" y="164070"/>
                  </a:lnTo>
                  <a:lnTo>
                    <a:pt x="16810" y="44540"/>
                  </a:lnTo>
                  <a:lnTo>
                    <a:pt x="127208" y="162244"/>
                  </a:lnTo>
                  <a:lnTo>
                    <a:pt x="127208" y="0"/>
                  </a:lnTo>
                  <a:lnTo>
                    <a:pt x="110436" y="0"/>
                  </a:lnTo>
                  <a:lnTo>
                    <a:pt x="110436" y="119120"/>
                  </a:lnTo>
                  <a:close/>
                </a:path>
              </a:pathLst>
            </a:custGeom>
            <a:solidFill>
              <a:srgbClr val="E2E2E3"/>
            </a:solidFill>
            <a:ln w="3718" cap="flat">
              <a:no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70C89647-3085-4603-9D73-D54D05E99A53}"/>
                </a:ext>
              </a:extLst>
            </p:cNvPr>
            <p:cNvSpPr/>
            <p:nvPr/>
          </p:nvSpPr>
          <p:spPr>
            <a:xfrm>
              <a:off x="1956301" y="6590935"/>
              <a:ext cx="120414" cy="163325"/>
            </a:xfrm>
            <a:custGeom>
              <a:avLst/>
              <a:gdLst>
                <a:gd name="connsiteX0" fmla="*/ 64704 w 120414"/>
                <a:gd name="connsiteY0" fmla="*/ 142080 h 163325"/>
                <a:gd name="connsiteX1" fmla="*/ 38912 w 120414"/>
                <a:gd name="connsiteY1" fmla="*/ 146478 h 163325"/>
                <a:gd name="connsiteX2" fmla="*/ 16549 w 120414"/>
                <a:gd name="connsiteY2" fmla="*/ 146478 h 163325"/>
                <a:gd name="connsiteX3" fmla="*/ 16549 w 120414"/>
                <a:gd name="connsiteY3" fmla="*/ 16474 h 163325"/>
                <a:gd name="connsiteX4" fmla="*/ 38539 w 120414"/>
                <a:gd name="connsiteY4" fmla="*/ 16474 h 163325"/>
                <a:gd name="connsiteX5" fmla="*/ 64629 w 120414"/>
                <a:gd name="connsiteY5" fmla="*/ 20872 h 163325"/>
                <a:gd name="connsiteX6" fmla="*/ 85650 w 120414"/>
                <a:gd name="connsiteY6" fmla="*/ 34476 h 163325"/>
                <a:gd name="connsiteX7" fmla="*/ 99180 w 120414"/>
                <a:gd name="connsiteY7" fmla="*/ 55535 h 163325"/>
                <a:gd name="connsiteX8" fmla="*/ 103578 w 120414"/>
                <a:gd name="connsiteY8" fmla="*/ 81625 h 163325"/>
                <a:gd name="connsiteX9" fmla="*/ 99180 w 120414"/>
                <a:gd name="connsiteY9" fmla="*/ 107715 h 163325"/>
                <a:gd name="connsiteX10" fmla="*/ 85799 w 120414"/>
                <a:gd name="connsiteY10" fmla="*/ 128811 h 163325"/>
                <a:gd name="connsiteX11" fmla="*/ 64815 w 120414"/>
                <a:gd name="connsiteY11" fmla="*/ 142266 h 163325"/>
                <a:gd name="connsiteX12" fmla="*/ 114983 w 120414"/>
                <a:gd name="connsiteY12" fmla="*/ 113492 h 163325"/>
                <a:gd name="connsiteX13" fmla="*/ 114983 w 120414"/>
                <a:gd name="connsiteY13" fmla="*/ 50130 h 163325"/>
                <a:gd name="connsiteX14" fmla="*/ 98845 w 120414"/>
                <a:gd name="connsiteY14" fmla="*/ 24040 h 163325"/>
                <a:gd name="connsiteX15" fmla="*/ 71487 w 120414"/>
                <a:gd name="connsiteY15" fmla="*/ 6187 h 163325"/>
                <a:gd name="connsiteX16" fmla="*/ 43161 w 120414"/>
                <a:gd name="connsiteY16" fmla="*/ 0 h 163325"/>
                <a:gd name="connsiteX17" fmla="*/ 0 w 120414"/>
                <a:gd name="connsiteY17" fmla="*/ 0 h 163325"/>
                <a:gd name="connsiteX18" fmla="*/ 0 w 120414"/>
                <a:gd name="connsiteY18" fmla="*/ 163325 h 163325"/>
                <a:gd name="connsiteX19" fmla="*/ 38688 w 120414"/>
                <a:gd name="connsiteY19" fmla="*/ 163325 h 163325"/>
                <a:gd name="connsiteX20" fmla="*/ 71487 w 120414"/>
                <a:gd name="connsiteY20" fmla="*/ 156989 h 163325"/>
                <a:gd name="connsiteX21" fmla="*/ 98509 w 120414"/>
                <a:gd name="connsiteY21" fmla="*/ 139322 h 163325"/>
                <a:gd name="connsiteX22" fmla="*/ 114760 w 120414"/>
                <a:gd name="connsiteY22" fmla="*/ 113232 h 16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0414" h="163325">
                  <a:moveTo>
                    <a:pt x="64704" y="142080"/>
                  </a:moveTo>
                  <a:cubicBezTo>
                    <a:pt x="56437" y="145074"/>
                    <a:pt x="47704" y="146564"/>
                    <a:pt x="38912" y="146478"/>
                  </a:cubicBezTo>
                  <a:lnTo>
                    <a:pt x="16549" y="146478"/>
                  </a:lnTo>
                  <a:lnTo>
                    <a:pt x="16549" y="16474"/>
                  </a:lnTo>
                  <a:lnTo>
                    <a:pt x="38539" y="16474"/>
                  </a:lnTo>
                  <a:cubicBezTo>
                    <a:pt x="47428" y="16361"/>
                    <a:pt x="56269" y="17850"/>
                    <a:pt x="64629" y="20872"/>
                  </a:cubicBezTo>
                  <a:cubicBezTo>
                    <a:pt x="72486" y="23938"/>
                    <a:pt x="79635" y="28566"/>
                    <a:pt x="85650" y="34476"/>
                  </a:cubicBezTo>
                  <a:cubicBezTo>
                    <a:pt x="91610" y="40450"/>
                    <a:pt x="96224" y="47630"/>
                    <a:pt x="99180" y="55535"/>
                  </a:cubicBezTo>
                  <a:cubicBezTo>
                    <a:pt x="102195" y="63898"/>
                    <a:pt x="103686" y="72735"/>
                    <a:pt x="103578" y="81625"/>
                  </a:cubicBezTo>
                  <a:cubicBezTo>
                    <a:pt x="103690" y="90516"/>
                    <a:pt x="102203" y="99353"/>
                    <a:pt x="99180" y="107715"/>
                  </a:cubicBezTo>
                  <a:cubicBezTo>
                    <a:pt x="96258" y="115613"/>
                    <a:pt x="91700" y="122803"/>
                    <a:pt x="85799" y="128811"/>
                  </a:cubicBezTo>
                  <a:cubicBezTo>
                    <a:pt x="79855" y="134752"/>
                    <a:pt x="72695" y="139342"/>
                    <a:pt x="64815" y="142266"/>
                  </a:cubicBezTo>
                  <a:moveTo>
                    <a:pt x="114983" y="113492"/>
                  </a:moveTo>
                  <a:cubicBezTo>
                    <a:pt x="122225" y="92993"/>
                    <a:pt x="122225" y="70630"/>
                    <a:pt x="114983" y="50130"/>
                  </a:cubicBezTo>
                  <a:cubicBezTo>
                    <a:pt x="111647" y="40324"/>
                    <a:pt x="106131" y="31404"/>
                    <a:pt x="98845" y="24040"/>
                  </a:cubicBezTo>
                  <a:cubicBezTo>
                    <a:pt x="91036" y="16288"/>
                    <a:pt x="81726" y="10213"/>
                    <a:pt x="71487" y="6187"/>
                  </a:cubicBezTo>
                  <a:cubicBezTo>
                    <a:pt x="62456" y="2562"/>
                    <a:pt x="52881" y="471"/>
                    <a:pt x="43161" y="0"/>
                  </a:cubicBezTo>
                  <a:lnTo>
                    <a:pt x="0" y="0"/>
                  </a:lnTo>
                  <a:lnTo>
                    <a:pt x="0" y="163325"/>
                  </a:lnTo>
                  <a:lnTo>
                    <a:pt x="38688" y="163325"/>
                  </a:lnTo>
                  <a:cubicBezTo>
                    <a:pt x="49929" y="163357"/>
                    <a:pt x="61066" y="161205"/>
                    <a:pt x="71487" y="156989"/>
                  </a:cubicBezTo>
                  <a:cubicBezTo>
                    <a:pt x="81618" y="153032"/>
                    <a:pt x="90820" y="147016"/>
                    <a:pt x="98509" y="139322"/>
                  </a:cubicBezTo>
                  <a:cubicBezTo>
                    <a:pt x="105826" y="131963"/>
                    <a:pt x="111383" y="123044"/>
                    <a:pt x="114760" y="113232"/>
                  </a:cubicBezTo>
                </a:path>
              </a:pathLst>
            </a:custGeom>
            <a:solidFill>
              <a:srgbClr val="E2E2E3"/>
            </a:solidFill>
            <a:ln w="3718" cap="flat">
              <a:noFill/>
              <a:prstDash val="solid"/>
              <a:miter/>
            </a:ln>
          </p:spPr>
          <p:txBody>
            <a:bodyPr rtlCol="0" anchor="ctr"/>
            <a:lstStyle/>
            <a:p>
              <a:endParaRPr lang="en-US" dirty="0"/>
            </a:p>
          </p:txBody>
        </p:sp>
        <p:sp>
          <p:nvSpPr>
            <p:cNvPr id="18" name="Freeform: Shape 17">
              <a:extLst>
                <a:ext uri="{FF2B5EF4-FFF2-40B4-BE49-F238E27FC236}">
                  <a16:creationId xmlns:a16="http://schemas.microsoft.com/office/drawing/2014/main" id="{DA6754E7-E27A-4D19-8D37-8DDC40F59170}"/>
                </a:ext>
              </a:extLst>
            </p:cNvPr>
            <p:cNvSpPr/>
            <p:nvPr/>
          </p:nvSpPr>
          <p:spPr>
            <a:xfrm>
              <a:off x="370754" y="6588754"/>
              <a:ext cx="167181" cy="167152"/>
            </a:xfrm>
            <a:custGeom>
              <a:avLst/>
              <a:gdLst>
                <a:gd name="connsiteX0" fmla="*/ 48014 w 167181"/>
                <a:gd name="connsiteY0" fmla="*/ 48062 h 167152"/>
                <a:gd name="connsiteX1" fmla="*/ 118646 w 167181"/>
                <a:gd name="connsiteY1" fmla="*/ 47877 h 167152"/>
                <a:gd name="connsiteX2" fmla="*/ 118830 w 167181"/>
                <a:gd name="connsiteY2" fmla="*/ 48062 h 167152"/>
                <a:gd name="connsiteX3" fmla="*/ 133739 w 167181"/>
                <a:gd name="connsiteY3" fmla="*/ 83544 h 167152"/>
                <a:gd name="connsiteX4" fmla="*/ 118830 w 167181"/>
                <a:gd name="connsiteY4" fmla="*/ 119027 h 167152"/>
                <a:gd name="connsiteX5" fmla="*/ 48014 w 167181"/>
                <a:gd name="connsiteY5" fmla="*/ 119027 h 167152"/>
                <a:gd name="connsiteX6" fmla="*/ 33292 w 167181"/>
                <a:gd name="connsiteY6" fmla="*/ 83507 h 167152"/>
                <a:gd name="connsiteX7" fmla="*/ 48014 w 167181"/>
                <a:gd name="connsiteY7" fmla="*/ 48024 h 167152"/>
                <a:gd name="connsiteX8" fmla="*/ 83460 w 167181"/>
                <a:gd name="connsiteY8" fmla="*/ 167108 h 167152"/>
                <a:gd name="connsiteX9" fmla="*/ 142573 w 167181"/>
                <a:gd name="connsiteY9" fmla="*/ 142806 h 167152"/>
                <a:gd name="connsiteX10" fmla="*/ 167172 w 167181"/>
                <a:gd name="connsiteY10" fmla="*/ 83693 h 167152"/>
                <a:gd name="connsiteX11" fmla="*/ 142573 w 167181"/>
                <a:gd name="connsiteY11" fmla="*/ 24543 h 167152"/>
                <a:gd name="connsiteX12" fmla="*/ 24924 w 167181"/>
                <a:gd name="connsiteY12" fmla="*/ 24189 h 167152"/>
                <a:gd name="connsiteX13" fmla="*/ 24533 w 167181"/>
                <a:gd name="connsiteY13" fmla="*/ 24580 h 167152"/>
                <a:gd name="connsiteX14" fmla="*/ 8 w 167181"/>
                <a:gd name="connsiteY14" fmla="*/ 83731 h 167152"/>
                <a:gd name="connsiteX15" fmla="*/ 24533 w 167181"/>
                <a:gd name="connsiteY15" fmla="*/ 142844 h 167152"/>
                <a:gd name="connsiteX16" fmla="*/ 83609 w 167181"/>
                <a:gd name="connsiteY16" fmla="*/ 167145 h 16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7181" h="167152">
                  <a:moveTo>
                    <a:pt x="48014" y="48062"/>
                  </a:moveTo>
                  <a:cubicBezTo>
                    <a:pt x="67467" y="28506"/>
                    <a:pt x="99090" y="28424"/>
                    <a:pt x="118646" y="47877"/>
                  </a:cubicBezTo>
                  <a:cubicBezTo>
                    <a:pt x="118707" y="47938"/>
                    <a:pt x="118769" y="48000"/>
                    <a:pt x="118830" y="48062"/>
                  </a:cubicBezTo>
                  <a:cubicBezTo>
                    <a:pt x="128486" y="57324"/>
                    <a:pt x="133882" y="70166"/>
                    <a:pt x="133739" y="83544"/>
                  </a:cubicBezTo>
                  <a:cubicBezTo>
                    <a:pt x="133931" y="96933"/>
                    <a:pt x="128527" y="109794"/>
                    <a:pt x="118830" y="119027"/>
                  </a:cubicBezTo>
                  <a:cubicBezTo>
                    <a:pt x="99245" y="138511"/>
                    <a:pt x="67599" y="138511"/>
                    <a:pt x="48014" y="119027"/>
                  </a:cubicBezTo>
                  <a:cubicBezTo>
                    <a:pt x="38418" y="109724"/>
                    <a:pt x="33090" y="96871"/>
                    <a:pt x="33292" y="83507"/>
                  </a:cubicBezTo>
                  <a:cubicBezTo>
                    <a:pt x="33145" y="70165"/>
                    <a:pt x="38464" y="57343"/>
                    <a:pt x="48014" y="48024"/>
                  </a:cubicBezTo>
                  <a:moveTo>
                    <a:pt x="83460" y="167108"/>
                  </a:moveTo>
                  <a:cubicBezTo>
                    <a:pt x="105663" y="167458"/>
                    <a:pt x="127035" y="158672"/>
                    <a:pt x="142573" y="142806"/>
                  </a:cubicBezTo>
                  <a:cubicBezTo>
                    <a:pt x="158615" y="127366"/>
                    <a:pt x="167524" y="105957"/>
                    <a:pt x="167172" y="83693"/>
                  </a:cubicBezTo>
                  <a:cubicBezTo>
                    <a:pt x="167485" y="61427"/>
                    <a:pt x="158583" y="40021"/>
                    <a:pt x="142573" y="24543"/>
                  </a:cubicBezTo>
                  <a:cubicBezTo>
                    <a:pt x="110183" y="-8042"/>
                    <a:pt x="57510" y="-8201"/>
                    <a:pt x="24924" y="24189"/>
                  </a:cubicBezTo>
                  <a:cubicBezTo>
                    <a:pt x="24793" y="24319"/>
                    <a:pt x="24663" y="24450"/>
                    <a:pt x="24533" y="24580"/>
                  </a:cubicBezTo>
                  <a:cubicBezTo>
                    <a:pt x="8591" y="40099"/>
                    <a:pt x="-276" y="61485"/>
                    <a:pt x="8" y="83731"/>
                  </a:cubicBezTo>
                  <a:cubicBezTo>
                    <a:pt x="-310" y="105972"/>
                    <a:pt x="8564" y="127360"/>
                    <a:pt x="24533" y="142844"/>
                  </a:cubicBezTo>
                  <a:cubicBezTo>
                    <a:pt x="40084" y="158666"/>
                    <a:pt x="61426" y="167445"/>
                    <a:pt x="83609" y="167145"/>
                  </a:cubicBezTo>
                </a:path>
              </a:pathLst>
            </a:custGeom>
            <a:solidFill>
              <a:srgbClr val="E2E2E3"/>
            </a:solidFill>
            <a:ln w="3718"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930DEEB8-547B-4549-909B-D22823F6197B}"/>
                </a:ext>
              </a:extLst>
            </p:cNvPr>
            <p:cNvSpPr/>
            <p:nvPr/>
          </p:nvSpPr>
          <p:spPr>
            <a:xfrm>
              <a:off x="552052" y="6589991"/>
              <a:ext cx="121133" cy="164789"/>
            </a:xfrm>
            <a:custGeom>
              <a:avLst/>
              <a:gdLst>
                <a:gd name="connsiteX0" fmla="*/ 33321 w 121133"/>
                <a:gd name="connsiteY0" fmla="*/ 32848 h 164789"/>
                <a:gd name="connsiteX1" fmla="*/ 51957 w 121133"/>
                <a:gd name="connsiteY1" fmla="*/ 32848 h 164789"/>
                <a:gd name="connsiteX2" fmla="*/ 72382 w 121133"/>
                <a:gd name="connsiteY2" fmla="*/ 39371 h 164789"/>
                <a:gd name="connsiteX3" fmla="*/ 78941 w 121133"/>
                <a:gd name="connsiteY3" fmla="*/ 55211 h 164789"/>
                <a:gd name="connsiteX4" fmla="*/ 56914 w 121133"/>
                <a:gd name="connsiteY4" fmla="*/ 78543 h 164789"/>
                <a:gd name="connsiteX5" fmla="*/ 45732 w 121133"/>
                <a:gd name="connsiteY5" fmla="*/ 78543 h 164789"/>
                <a:gd name="connsiteX6" fmla="*/ 45732 w 121133"/>
                <a:gd name="connsiteY6" fmla="*/ 78543 h 164789"/>
                <a:gd name="connsiteX7" fmla="*/ 33321 w 121133"/>
                <a:gd name="connsiteY7" fmla="*/ 78543 h 164789"/>
                <a:gd name="connsiteX8" fmla="*/ 33321 w 121133"/>
                <a:gd name="connsiteY8" fmla="*/ 164790 h 164789"/>
                <a:gd name="connsiteX9" fmla="*/ 33321 w 121133"/>
                <a:gd name="connsiteY9" fmla="*/ 91924 h 164789"/>
                <a:gd name="connsiteX10" fmla="*/ 80656 w 121133"/>
                <a:gd name="connsiteY10" fmla="*/ 164790 h 164789"/>
                <a:gd name="connsiteX11" fmla="*/ 121133 w 121133"/>
                <a:gd name="connsiteY11" fmla="*/ 164790 h 164789"/>
                <a:gd name="connsiteX12" fmla="*/ 82818 w 121133"/>
                <a:gd name="connsiteY12" fmla="*/ 105155 h 164789"/>
                <a:gd name="connsiteX13" fmla="*/ 102423 w 121133"/>
                <a:gd name="connsiteY13" fmla="*/ 89725 h 164789"/>
                <a:gd name="connsiteX14" fmla="*/ 112859 w 121133"/>
                <a:gd name="connsiteY14" fmla="*/ 58342 h 164789"/>
                <a:gd name="connsiteX15" fmla="*/ 112859 w 121133"/>
                <a:gd name="connsiteY15" fmla="*/ 54205 h 164789"/>
                <a:gd name="connsiteX16" fmla="*/ 96906 w 121133"/>
                <a:gd name="connsiteY16" fmla="*/ 16933 h 164789"/>
                <a:gd name="connsiteX17" fmla="*/ 53746 w 121133"/>
                <a:gd name="connsiteY17" fmla="*/ 12 h 164789"/>
                <a:gd name="connsiteX18" fmla="*/ 0 w 121133"/>
                <a:gd name="connsiteY18" fmla="*/ 12 h 164789"/>
                <a:gd name="connsiteX19" fmla="*/ 0 w 121133"/>
                <a:gd name="connsiteY19" fmla="*/ 164790 h 16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133" h="164789">
                  <a:moveTo>
                    <a:pt x="33321" y="32848"/>
                  </a:moveTo>
                  <a:lnTo>
                    <a:pt x="51957" y="32848"/>
                  </a:lnTo>
                  <a:cubicBezTo>
                    <a:pt x="59325" y="32508"/>
                    <a:pt x="66575" y="34822"/>
                    <a:pt x="72382" y="39371"/>
                  </a:cubicBezTo>
                  <a:cubicBezTo>
                    <a:pt x="76586" y="43570"/>
                    <a:pt x="78945" y="49269"/>
                    <a:pt x="78941" y="55211"/>
                  </a:cubicBezTo>
                  <a:cubicBezTo>
                    <a:pt x="79296" y="67735"/>
                    <a:pt x="69437" y="78178"/>
                    <a:pt x="56914" y="78543"/>
                  </a:cubicBezTo>
                  <a:lnTo>
                    <a:pt x="45732" y="78543"/>
                  </a:lnTo>
                  <a:lnTo>
                    <a:pt x="45732" y="78543"/>
                  </a:lnTo>
                  <a:lnTo>
                    <a:pt x="33321" y="78543"/>
                  </a:lnTo>
                  <a:close/>
                  <a:moveTo>
                    <a:pt x="33321" y="164790"/>
                  </a:moveTo>
                  <a:lnTo>
                    <a:pt x="33321" y="91924"/>
                  </a:lnTo>
                  <a:lnTo>
                    <a:pt x="80656" y="164790"/>
                  </a:lnTo>
                  <a:lnTo>
                    <a:pt x="121133" y="164790"/>
                  </a:lnTo>
                  <a:lnTo>
                    <a:pt x="82818" y="105155"/>
                  </a:lnTo>
                  <a:cubicBezTo>
                    <a:pt x="90932" y="102416"/>
                    <a:pt x="97853" y="96968"/>
                    <a:pt x="102423" y="89725"/>
                  </a:cubicBezTo>
                  <a:cubicBezTo>
                    <a:pt x="109132" y="80630"/>
                    <a:pt x="112784" y="69643"/>
                    <a:pt x="112859" y="58342"/>
                  </a:cubicBezTo>
                  <a:lnTo>
                    <a:pt x="112859" y="54205"/>
                  </a:lnTo>
                  <a:cubicBezTo>
                    <a:pt x="112859" y="35979"/>
                    <a:pt x="106933" y="26810"/>
                    <a:pt x="96906" y="16933"/>
                  </a:cubicBezTo>
                  <a:cubicBezTo>
                    <a:pt x="85337" y="5785"/>
                    <a:pt x="69810" y="-303"/>
                    <a:pt x="53746" y="12"/>
                  </a:cubicBezTo>
                  <a:lnTo>
                    <a:pt x="0" y="12"/>
                  </a:lnTo>
                  <a:lnTo>
                    <a:pt x="0" y="164790"/>
                  </a:lnTo>
                  <a:close/>
                </a:path>
              </a:pathLst>
            </a:custGeom>
            <a:solidFill>
              <a:srgbClr val="E2E2E3"/>
            </a:solidFill>
            <a:ln w="3718" cap="flat">
              <a:noFill/>
              <a:prstDash val="solid"/>
              <a:miter/>
            </a:ln>
          </p:spPr>
          <p:txBody>
            <a:bodyPr rtlCol="0" anchor="ctr"/>
            <a:lstStyle/>
            <a:p>
              <a:endParaRPr lang="en-US" dirty="0"/>
            </a:p>
          </p:txBody>
        </p:sp>
        <p:sp>
          <p:nvSpPr>
            <p:cNvPr id="20" name="Freeform: Shape 19">
              <a:extLst>
                <a:ext uri="{FF2B5EF4-FFF2-40B4-BE49-F238E27FC236}">
                  <a16:creationId xmlns:a16="http://schemas.microsoft.com/office/drawing/2014/main" id="{D5F75C27-DDC4-4264-9E37-9038A59DA326}"/>
                </a:ext>
              </a:extLst>
            </p:cNvPr>
            <p:cNvSpPr/>
            <p:nvPr/>
          </p:nvSpPr>
          <p:spPr>
            <a:xfrm>
              <a:off x="681161" y="6590003"/>
              <a:ext cx="114275" cy="164778"/>
            </a:xfrm>
            <a:custGeom>
              <a:avLst/>
              <a:gdLst>
                <a:gd name="connsiteX0" fmla="*/ 40552 w 114275"/>
                <a:gd name="connsiteY0" fmla="*/ 164778 h 164778"/>
                <a:gd name="connsiteX1" fmla="*/ 73798 w 114275"/>
                <a:gd name="connsiteY1" fmla="*/ 164778 h 164778"/>
                <a:gd name="connsiteX2" fmla="*/ 73798 w 114275"/>
                <a:gd name="connsiteY2" fmla="*/ 32836 h 164778"/>
                <a:gd name="connsiteX3" fmla="*/ 114275 w 114275"/>
                <a:gd name="connsiteY3" fmla="*/ 32836 h 164778"/>
                <a:gd name="connsiteX4" fmla="*/ 114275 w 114275"/>
                <a:gd name="connsiteY4" fmla="*/ 0 h 164778"/>
                <a:gd name="connsiteX5" fmla="*/ 0 w 114275"/>
                <a:gd name="connsiteY5" fmla="*/ 0 h 164778"/>
                <a:gd name="connsiteX6" fmla="*/ 0 w 114275"/>
                <a:gd name="connsiteY6" fmla="*/ 32836 h 164778"/>
                <a:gd name="connsiteX7" fmla="*/ 40552 w 114275"/>
                <a:gd name="connsiteY7" fmla="*/ 32836 h 164778"/>
                <a:gd name="connsiteX8" fmla="*/ 40552 w 114275"/>
                <a:gd name="connsiteY8" fmla="*/ 164778 h 16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275" h="164778">
                  <a:moveTo>
                    <a:pt x="40552" y="164778"/>
                  </a:moveTo>
                  <a:lnTo>
                    <a:pt x="73798" y="164778"/>
                  </a:lnTo>
                  <a:lnTo>
                    <a:pt x="73798" y="32836"/>
                  </a:lnTo>
                  <a:lnTo>
                    <a:pt x="114275" y="32836"/>
                  </a:lnTo>
                  <a:lnTo>
                    <a:pt x="114275" y="0"/>
                  </a:lnTo>
                  <a:lnTo>
                    <a:pt x="0" y="0"/>
                  </a:lnTo>
                  <a:lnTo>
                    <a:pt x="0" y="32836"/>
                  </a:lnTo>
                  <a:lnTo>
                    <a:pt x="40552" y="32836"/>
                  </a:lnTo>
                  <a:lnTo>
                    <a:pt x="40552" y="164778"/>
                  </a:lnTo>
                  <a:close/>
                </a:path>
              </a:pathLst>
            </a:custGeom>
            <a:solidFill>
              <a:srgbClr val="E2E2E3"/>
            </a:solidFill>
            <a:ln w="3718"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BB6873C2-45EB-497C-96B4-8E4BB38FE863}"/>
                </a:ext>
              </a:extLst>
            </p:cNvPr>
            <p:cNvSpPr/>
            <p:nvPr/>
          </p:nvSpPr>
          <p:spPr>
            <a:xfrm>
              <a:off x="809749" y="6590003"/>
              <a:ext cx="121095" cy="164778"/>
            </a:xfrm>
            <a:custGeom>
              <a:avLst/>
              <a:gdLst>
                <a:gd name="connsiteX0" fmla="*/ 33023 w 121095"/>
                <a:gd name="connsiteY0" fmla="*/ 98770 h 164778"/>
                <a:gd name="connsiteX1" fmla="*/ 88110 w 121095"/>
                <a:gd name="connsiteY1" fmla="*/ 98770 h 164778"/>
                <a:gd name="connsiteX2" fmla="*/ 88110 w 121095"/>
                <a:gd name="connsiteY2" fmla="*/ 164778 h 164778"/>
                <a:gd name="connsiteX3" fmla="*/ 121096 w 121095"/>
                <a:gd name="connsiteY3" fmla="*/ 164778 h 164778"/>
                <a:gd name="connsiteX4" fmla="*/ 121096 w 121095"/>
                <a:gd name="connsiteY4" fmla="*/ 0 h 164778"/>
                <a:gd name="connsiteX5" fmla="*/ 88110 w 121095"/>
                <a:gd name="connsiteY5" fmla="*/ 0 h 164778"/>
                <a:gd name="connsiteX6" fmla="*/ 88110 w 121095"/>
                <a:gd name="connsiteY6" fmla="*/ 65934 h 164778"/>
                <a:gd name="connsiteX7" fmla="*/ 33023 w 121095"/>
                <a:gd name="connsiteY7" fmla="*/ 65934 h 164778"/>
                <a:gd name="connsiteX8" fmla="*/ 33023 w 121095"/>
                <a:gd name="connsiteY8" fmla="*/ 0 h 164778"/>
                <a:gd name="connsiteX9" fmla="*/ 0 w 121095"/>
                <a:gd name="connsiteY9" fmla="*/ 0 h 164778"/>
                <a:gd name="connsiteX10" fmla="*/ 0 w 121095"/>
                <a:gd name="connsiteY10" fmla="*/ 164778 h 164778"/>
                <a:gd name="connsiteX11" fmla="*/ 33023 w 121095"/>
                <a:gd name="connsiteY11" fmla="*/ 164778 h 164778"/>
                <a:gd name="connsiteX12" fmla="*/ 33023 w 121095"/>
                <a:gd name="connsiteY12" fmla="*/ 98770 h 16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095" h="164778">
                  <a:moveTo>
                    <a:pt x="33023" y="98770"/>
                  </a:moveTo>
                  <a:lnTo>
                    <a:pt x="88110" y="98770"/>
                  </a:lnTo>
                  <a:lnTo>
                    <a:pt x="88110" y="164778"/>
                  </a:lnTo>
                  <a:lnTo>
                    <a:pt x="121096" y="164778"/>
                  </a:lnTo>
                  <a:lnTo>
                    <a:pt x="121096" y="0"/>
                  </a:lnTo>
                  <a:lnTo>
                    <a:pt x="88110" y="0"/>
                  </a:lnTo>
                  <a:lnTo>
                    <a:pt x="88110" y="65934"/>
                  </a:lnTo>
                  <a:lnTo>
                    <a:pt x="33023" y="65934"/>
                  </a:lnTo>
                  <a:lnTo>
                    <a:pt x="33023" y="0"/>
                  </a:lnTo>
                  <a:lnTo>
                    <a:pt x="0" y="0"/>
                  </a:lnTo>
                  <a:lnTo>
                    <a:pt x="0" y="164778"/>
                  </a:lnTo>
                  <a:lnTo>
                    <a:pt x="33023" y="164778"/>
                  </a:lnTo>
                  <a:lnTo>
                    <a:pt x="33023" y="98770"/>
                  </a:lnTo>
                  <a:close/>
                </a:path>
              </a:pathLst>
            </a:custGeom>
            <a:solidFill>
              <a:srgbClr val="E2E2E3"/>
            </a:solidFill>
            <a:ln w="3718"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4D8FD274-5013-41B6-B11A-01B885EDFE1E}"/>
                </a:ext>
              </a:extLst>
            </p:cNvPr>
            <p:cNvSpPr/>
            <p:nvPr/>
          </p:nvSpPr>
          <p:spPr>
            <a:xfrm>
              <a:off x="223838" y="6589593"/>
              <a:ext cx="132463" cy="168580"/>
            </a:xfrm>
            <a:custGeom>
              <a:avLst/>
              <a:gdLst>
                <a:gd name="connsiteX0" fmla="*/ 0 w 132463"/>
                <a:gd name="connsiteY0" fmla="*/ 165412 h 168580"/>
                <a:gd name="connsiteX1" fmla="*/ 33097 w 132463"/>
                <a:gd name="connsiteY1" fmla="*/ 165412 h 168580"/>
                <a:gd name="connsiteX2" fmla="*/ 33097 w 132463"/>
                <a:gd name="connsiteY2" fmla="*/ 73910 h 168580"/>
                <a:gd name="connsiteX3" fmla="*/ 132464 w 132463"/>
                <a:gd name="connsiteY3" fmla="*/ 168580 h 168580"/>
                <a:gd name="connsiteX4" fmla="*/ 132464 w 132463"/>
                <a:gd name="connsiteY4" fmla="*/ 0 h 168580"/>
                <a:gd name="connsiteX5" fmla="*/ 99255 w 132463"/>
                <a:gd name="connsiteY5" fmla="*/ 0 h 168580"/>
                <a:gd name="connsiteX6" fmla="*/ 99255 w 132463"/>
                <a:gd name="connsiteY6" fmla="*/ 91502 h 168580"/>
                <a:gd name="connsiteX7" fmla="*/ 48490 w 132463"/>
                <a:gd name="connsiteY7" fmla="*/ 43161 h 168580"/>
                <a:gd name="connsiteX8" fmla="*/ 0 w 132463"/>
                <a:gd name="connsiteY8" fmla="*/ 91651 h 168580"/>
                <a:gd name="connsiteX9" fmla="*/ 0 w 132463"/>
                <a:gd name="connsiteY9" fmla="*/ 165412 h 16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463" h="168580">
                  <a:moveTo>
                    <a:pt x="0" y="165412"/>
                  </a:moveTo>
                  <a:lnTo>
                    <a:pt x="33097" y="165412"/>
                  </a:lnTo>
                  <a:lnTo>
                    <a:pt x="33097" y="73910"/>
                  </a:lnTo>
                  <a:lnTo>
                    <a:pt x="132464" y="168580"/>
                  </a:lnTo>
                  <a:lnTo>
                    <a:pt x="132464" y="0"/>
                  </a:lnTo>
                  <a:lnTo>
                    <a:pt x="99255" y="0"/>
                  </a:lnTo>
                  <a:lnTo>
                    <a:pt x="99255" y="91502"/>
                  </a:lnTo>
                  <a:lnTo>
                    <a:pt x="48490" y="43161"/>
                  </a:lnTo>
                  <a:lnTo>
                    <a:pt x="0" y="91651"/>
                  </a:lnTo>
                  <a:lnTo>
                    <a:pt x="0" y="165412"/>
                  </a:lnTo>
                  <a:close/>
                </a:path>
              </a:pathLst>
            </a:custGeom>
            <a:solidFill>
              <a:srgbClr val="E2E2E3"/>
            </a:solidFill>
            <a:ln w="3718" cap="flat">
              <a:no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B93FF5B9-FCA1-435D-AD3F-F545F8E6B0CC}"/>
                </a:ext>
              </a:extLst>
            </p:cNvPr>
            <p:cNvSpPr/>
            <p:nvPr/>
          </p:nvSpPr>
          <p:spPr>
            <a:xfrm>
              <a:off x="223838" y="6586537"/>
              <a:ext cx="48490" cy="94707"/>
            </a:xfrm>
            <a:custGeom>
              <a:avLst/>
              <a:gdLst>
                <a:gd name="connsiteX0" fmla="*/ 0 w 48490"/>
                <a:gd name="connsiteY0" fmla="*/ 94707 h 94707"/>
                <a:gd name="connsiteX1" fmla="*/ 48490 w 48490"/>
                <a:gd name="connsiteY1" fmla="*/ 46180 h 94707"/>
                <a:gd name="connsiteX2" fmla="*/ 0 w 48490"/>
                <a:gd name="connsiteY2" fmla="*/ 0 h 94707"/>
                <a:gd name="connsiteX3" fmla="*/ 0 w 48490"/>
                <a:gd name="connsiteY3" fmla="*/ 94707 h 94707"/>
              </a:gdLst>
              <a:ahLst/>
              <a:cxnLst>
                <a:cxn ang="0">
                  <a:pos x="connsiteX0" y="connsiteY0"/>
                </a:cxn>
                <a:cxn ang="0">
                  <a:pos x="connsiteX1" y="connsiteY1"/>
                </a:cxn>
                <a:cxn ang="0">
                  <a:pos x="connsiteX2" y="connsiteY2"/>
                </a:cxn>
                <a:cxn ang="0">
                  <a:pos x="connsiteX3" y="connsiteY3"/>
                </a:cxn>
              </a:cxnLst>
              <a:rect l="l" t="t" r="r" b="b"/>
              <a:pathLst>
                <a:path w="48490" h="94707">
                  <a:moveTo>
                    <a:pt x="0" y="94707"/>
                  </a:moveTo>
                  <a:lnTo>
                    <a:pt x="48490" y="46180"/>
                  </a:lnTo>
                  <a:lnTo>
                    <a:pt x="0" y="0"/>
                  </a:lnTo>
                  <a:lnTo>
                    <a:pt x="0" y="94707"/>
                  </a:lnTo>
                  <a:close/>
                </a:path>
              </a:pathLst>
            </a:custGeom>
            <a:solidFill>
              <a:schemeClr val="accent3"/>
            </a:solidFill>
            <a:ln w="3718"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3157240013"/>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Slide - 02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Rectangle 3"/>
          <p:cNvSpPr/>
          <p:nvPr userDrawn="1"/>
        </p:nvSpPr>
        <p:spPr>
          <a:xfrm>
            <a:off x="0" y="6757361"/>
            <a:ext cx="12192000" cy="73152"/>
          </a:xfrm>
          <a:prstGeom prst="rect">
            <a:avLst/>
          </a:prstGeom>
          <a:solidFill>
            <a:srgbClr val="2B346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6" name="Content Placeholder 2"/>
          <p:cNvSpPr>
            <a:spLocks noGrp="1"/>
          </p:cNvSpPr>
          <p:nvPr>
            <p:ph idx="13"/>
          </p:nvPr>
        </p:nvSpPr>
        <p:spPr>
          <a:xfrm>
            <a:off x="342242" y="1235895"/>
            <a:ext cx="11528917" cy="4793268"/>
          </a:xfrm>
        </p:spPr>
        <p:txBody>
          <a:bodyPr>
            <a:noAutofit/>
          </a:bodyPr>
          <a:lstStyle>
            <a:lvl1pPr marL="0" indent="0">
              <a:buFontTx/>
              <a:buNone/>
              <a:defRPr sz="1477"/>
            </a:lvl1pPr>
            <a:lvl2pPr marL="450186" indent="-225092">
              <a:buSzPct val="110000"/>
              <a:buFont typeface="Arial"/>
              <a:buChar char="•"/>
              <a:defRPr sz="1477"/>
            </a:lvl2pPr>
            <a:lvl3pPr marL="900372" indent="-225092">
              <a:buSzPct val="90000"/>
              <a:buFont typeface="Courier New"/>
              <a:buChar char="o"/>
              <a:defRPr sz="1477"/>
            </a:lvl3pPr>
            <a:lvl4pPr marL="1350558" indent="-225092">
              <a:buSzPct val="110000"/>
              <a:buFont typeface="Arial"/>
              <a:buChar char="•"/>
              <a:defRPr sz="1477"/>
            </a:lvl4pPr>
            <a:lvl5pPr marL="1800744" indent="-225092">
              <a:buSzPct val="90000"/>
              <a:buFont typeface="Courier New"/>
              <a:buChar char="o"/>
              <a:defRPr sz="14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5769087"/>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ection Header Whi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77C82F6-2F93-495C-B344-1630D7491A3E}"/>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600"/>
              </a:spcAft>
            </a:pPr>
            <a:endParaRPr lang="en-US" sz="2000" dirty="0">
              <a:solidFill>
                <a:schemeClr val="tx1"/>
              </a:solidFill>
            </a:endParaRPr>
          </a:p>
        </p:txBody>
      </p:sp>
      <p:sp>
        <p:nvSpPr>
          <p:cNvPr id="5" name="Slide Number Placeholder 4">
            <a:extLst>
              <a:ext uri="{FF2B5EF4-FFF2-40B4-BE49-F238E27FC236}">
                <a16:creationId xmlns:a16="http://schemas.microsoft.com/office/drawing/2014/main" id="{0904D09A-4AE1-41F7-8585-54F9D1A47C7F}"/>
              </a:ext>
            </a:extLst>
          </p:cNvPr>
          <p:cNvSpPr>
            <a:spLocks noGrp="1"/>
          </p:cNvSpPr>
          <p:nvPr>
            <p:ph type="sldNum" sz="quarter" idx="12"/>
          </p:nvPr>
        </p:nvSpPr>
        <p:spPr/>
        <p:txBody>
          <a:bodyPr/>
          <a:lstStyle/>
          <a:p>
            <a:fld id="{5034EE70-12A8-400F-8E3D-398CDD8B315D}" type="slidenum">
              <a:rPr lang="en-US" smtClean="0"/>
              <a:pPr/>
              <a:t>‹#›</a:t>
            </a:fld>
            <a:endParaRPr lang="en-US" dirty="0"/>
          </a:p>
        </p:txBody>
      </p:sp>
      <p:sp>
        <p:nvSpPr>
          <p:cNvPr id="6" name="TextBox 5">
            <a:extLst>
              <a:ext uri="{FF2B5EF4-FFF2-40B4-BE49-F238E27FC236}">
                <a16:creationId xmlns:a16="http://schemas.microsoft.com/office/drawing/2014/main" id="{C4540448-67A6-4C57-9648-8D2208CD0D9B}"/>
              </a:ext>
            </a:extLst>
          </p:cNvPr>
          <p:cNvSpPr txBox="1"/>
          <p:nvPr userDrawn="1"/>
        </p:nvSpPr>
        <p:spPr>
          <a:xfrm>
            <a:off x="9817769" y="6576218"/>
            <a:ext cx="1771776" cy="171450"/>
          </a:xfrm>
          <a:prstGeom prst="rect">
            <a:avLst/>
          </a:prstGeom>
          <a:noFill/>
        </p:spPr>
        <p:txBody>
          <a:bodyPr wrap="square" rtlCol="0">
            <a:noAutofit/>
          </a:bodyPr>
          <a:lstStyle/>
          <a:p>
            <a:pPr algn="ctr">
              <a:lnSpc>
                <a:spcPct val="90000"/>
              </a:lnSpc>
              <a:spcAft>
                <a:spcPts val="600"/>
              </a:spcAft>
            </a:pPr>
            <a:r>
              <a:rPr lang="en-US" sz="700" cap="all" spc="10" baseline="0" dirty="0"/>
              <a:t>Proprietary and Confidential</a:t>
            </a:r>
          </a:p>
        </p:txBody>
      </p:sp>
      <p:sp>
        <p:nvSpPr>
          <p:cNvPr id="36" name="Freeform: Shape 35">
            <a:extLst>
              <a:ext uri="{FF2B5EF4-FFF2-40B4-BE49-F238E27FC236}">
                <a16:creationId xmlns:a16="http://schemas.microsoft.com/office/drawing/2014/main" id="{839F8D8D-4826-495C-A4D7-B3DB3A43F0F2}"/>
              </a:ext>
            </a:extLst>
          </p:cNvPr>
          <p:cNvSpPr/>
          <p:nvPr userDrawn="1"/>
        </p:nvSpPr>
        <p:spPr>
          <a:xfrm>
            <a:off x="223837" y="223838"/>
            <a:ext cx="11744326" cy="6262686"/>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dirty="0">
              <a:solidFill>
                <a:schemeClr val="tx1"/>
              </a:solidFill>
            </a:endParaRPr>
          </a:p>
        </p:txBody>
      </p:sp>
      <p:sp>
        <p:nvSpPr>
          <p:cNvPr id="47" name="Text Placeholder 11">
            <a:extLst>
              <a:ext uri="{FF2B5EF4-FFF2-40B4-BE49-F238E27FC236}">
                <a16:creationId xmlns:a16="http://schemas.microsoft.com/office/drawing/2014/main" id="{A3331E67-FBC8-4135-BBDF-24300815DCD0}"/>
              </a:ext>
            </a:extLst>
          </p:cNvPr>
          <p:cNvSpPr>
            <a:spLocks noGrp="1"/>
          </p:cNvSpPr>
          <p:nvPr>
            <p:ph type="body" sz="quarter" idx="15" hasCustomPrompt="1"/>
          </p:nvPr>
        </p:nvSpPr>
        <p:spPr>
          <a:xfrm>
            <a:off x="5325600" y="87312"/>
            <a:ext cx="1540800" cy="274637"/>
          </a:xfrm>
          <a:solidFill>
            <a:schemeClr val="bg1"/>
          </a:solidFill>
          <a:ln>
            <a:solidFill>
              <a:schemeClr val="accent1"/>
            </a:solidFill>
          </a:ln>
        </p:spPr>
        <p:txBody>
          <a:bodyPr anchor="ctr"/>
          <a:lstStyle>
            <a:lvl1pPr algn="ctr">
              <a:defRPr sz="1050" b="1" cap="all" baseline="0">
                <a:solidFill>
                  <a:schemeClr val="accent1"/>
                </a:solidFill>
              </a:defRPr>
            </a:lvl1pPr>
          </a:lstStyle>
          <a:p>
            <a:pPr lvl="0"/>
            <a:r>
              <a:rPr lang="en-US"/>
              <a:t>Section XX</a:t>
            </a:r>
          </a:p>
        </p:txBody>
      </p:sp>
      <p:sp>
        <p:nvSpPr>
          <p:cNvPr id="49" name="Text Placeholder 5">
            <a:extLst>
              <a:ext uri="{FF2B5EF4-FFF2-40B4-BE49-F238E27FC236}">
                <a16:creationId xmlns:a16="http://schemas.microsoft.com/office/drawing/2014/main" id="{8E027FC3-BD2D-4918-8CE3-16A44BA9A2A3}"/>
              </a:ext>
            </a:extLst>
          </p:cNvPr>
          <p:cNvSpPr>
            <a:spLocks noGrp="1"/>
          </p:cNvSpPr>
          <p:nvPr>
            <p:ph type="body" sz="quarter" idx="21" hasCustomPrompt="1"/>
          </p:nvPr>
        </p:nvSpPr>
        <p:spPr>
          <a:xfrm>
            <a:off x="3307080" y="1828800"/>
            <a:ext cx="5577840" cy="3200400"/>
          </a:xfrm>
          <a:ln>
            <a:solidFill>
              <a:schemeClr val="tx1"/>
            </a:solidFill>
          </a:ln>
        </p:spPr>
        <p:txBody>
          <a:bodyPr/>
          <a:lstStyle>
            <a:lvl1pPr>
              <a:defRPr/>
            </a:lvl1pPr>
          </a:lstStyle>
          <a:p>
            <a:pPr lvl="0"/>
            <a:r>
              <a:rPr lang="en-US"/>
              <a:t> </a:t>
            </a:r>
          </a:p>
        </p:txBody>
      </p:sp>
      <p:sp>
        <p:nvSpPr>
          <p:cNvPr id="2" name="Title 1">
            <a:extLst>
              <a:ext uri="{FF2B5EF4-FFF2-40B4-BE49-F238E27FC236}">
                <a16:creationId xmlns:a16="http://schemas.microsoft.com/office/drawing/2014/main" id="{844F0621-2390-4957-AD47-60FDBAA34491}"/>
              </a:ext>
            </a:extLst>
          </p:cNvPr>
          <p:cNvSpPr>
            <a:spLocks noGrp="1"/>
          </p:cNvSpPr>
          <p:nvPr>
            <p:ph type="title" hasCustomPrompt="1"/>
          </p:nvPr>
        </p:nvSpPr>
        <p:spPr>
          <a:xfrm>
            <a:off x="3429000" y="2232661"/>
            <a:ext cx="5334000" cy="2392678"/>
          </a:xfrm>
        </p:spPr>
        <p:txBody>
          <a:bodyPr anchor="ctr"/>
          <a:lstStyle>
            <a:lvl1pPr algn="ctr">
              <a:defRPr sz="2800" b="1">
                <a:solidFill>
                  <a:schemeClr val="accent1"/>
                </a:solidFill>
              </a:defRPr>
            </a:lvl1pPr>
          </a:lstStyle>
          <a:p>
            <a:r>
              <a:rPr lang="en-US"/>
              <a:t>Click to insert subsection name</a:t>
            </a:r>
          </a:p>
        </p:txBody>
      </p:sp>
      <p:sp>
        <p:nvSpPr>
          <p:cNvPr id="11" name="Footer Placeholder 4">
            <a:extLst>
              <a:ext uri="{FF2B5EF4-FFF2-40B4-BE49-F238E27FC236}">
                <a16:creationId xmlns:a16="http://schemas.microsoft.com/office/drawing/2014/main" id="{3BE00C29-045C-44F6-8CD7-EE73F674BB69}"/>
              </a:ext>
            </a:extLst>
          </p:cNvPr>
          <p:cNvSpPr>
            <a:spLocks noGrp="1"/>
          </p:cNvSpPr>
          <p:nvPr>
            <p:ph type="ftr" sz="quarter" idx="3"/>
          </p:nvPr>
        </p:nvSpPr>
        <p:spPr>
          <a:xfrm>
            <a:off x="4648200" y="6534150"/>
            <a:ext cx="5169569" cy="263525"/>
          </a:xfrm>
          <a:prstGeom prst="rect">
            <a:avLst/>
          </a:prstGeom>
        </p:spPr>
        <p:txBody>
          <a:bodyPr vert="horz" wrap="square" lIns="91440" tIns="45720" rIns="91440" bIns="45720" rtlCol="0" anchor="ctr">
            <a:noAutofit/>
          </a:bodyPr>
          <a:lstStyle>
            <a:lvl1pPr algn="r">
              <a:lnSpc>
                <a:spcPct val="90000"/>
              </a:lnSpc>
              <a:spcAft>
                <a:spcPts val="600"/>
              </a:spcAft>
              <a:defRPr sz="600">
                <a:solidFill>
                  <a:schemeClr val="tx1"/>
                </a:solidFill>
              </a:defRPr>
            </a:lvl1pPr>
          </a:lstStyle>
          <a:p>
            <a:endParaRPr lang="en-US" sz="600" noProof="0" dirty="0"/>
          </a:p>
        </p:txBody>
      </p:sp>
      <p:pic>
        <p:nvPicPr>
          <p:cNvPr id="10" name="Graphic 9">
            <a:extLst>
              <a:ext uri="{FF2B5EF4-FFF2-40B4-BE49-F238E27FC236}">
                <a16:creationId xmlns:a16="http://schemas.microsoft.com/office/drawing/2014/main" id="{50342B43-072E-4C67-B882-C1422F92C52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3838" y="6586537"/>
            <a:ext cx="1852404" cy="171450"/>
          </a:xfrm>
          <a:prstGeom prst="rect">
            <a:avLst/>
          </a:prstGeom>
        </p:spPr>
      </p:pic>
    </p:spTree>
    <p:extLst>
      <p:ext uri="{BB962C8B-B14F-4D97-AF65-F5344CB8AC3E}">
        <p14:creationId xmlns:p14="http://schemas.microsoft.com/office/powerpoint/2010/main" val="1170614885"/>
      </p:ext>
    </p:extLst>
  </p:cSld>
  <p:clrMapOvr>
    <a:overrideClrMapping bg1="lt1" tx1="dk1" bg2="lt2" tx2="dk2" accent1="accent1" accent2="accent2" accent3="accent3" accent4="accent4" accent5="accent5" accent6="accent6" hlink="hlink" folHlink="folHlink"/>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ubsection Divider Blu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5023233-F6FC-4927-94AC-4F8681FC8475}"/>
              </a:ext>
            </a:extLst>
          </p:cNvPr>
          <p:cNvSpPr>
            <a:spLocks noGrp="1"/>
          </p:cNvSpPr>
          <p:nvPr>
            <p:ph type="body" sz="quarter" idx="21" hasCustomPrompt="1"/>
          </p:nvPr>
        </p:nvSpPr>
        <p:spPr>
          <a:xfrm>
            <a:off x="2714625" y="1828800"/>
            <a:ext cx="6762750" cy="3200400"/>
          </a:xfrm>
          <a:ln>
            <a:solidFill>
              <a:schemeClr val="tx1"/>
            </a:solidFill>
          </a:ln>
        </p:spPr>
        <p:txBody>
          <a:bodyPr/>
          <a:lstStyle>
            <a:lvl1pPr>
              <a:defRPr/>
            </a:lvl1pPr>
          </a:lstStyle>
          <a:p>
            <a:pPr lvl="0"/>
            <a:r>
              <a:rPr lang="en-US"/>
              <a:t> </a:t>
            </a:r>
          </a:p>
        </p:txBody>
      </p:sp>
      <p:sp>
        <p:nvSpPr>
          <p:cNvPr id="66" name="Text Placeholder 43">
            <a:extLst>
              <a:ext uri="{FF2B5EF4-FFF2-40B4-BE49-F238E27FC236}">
                <a16:creationId xmlns:a16="http://schemas.microsoft.com/office/drawing/2014/main" id="{B71C1A23-9EDF-4C92-98F1-0130A7178B36}"/>
              </a:ext>
            </a:extLst>
          </p:cNvPr>
          <p:cNvSpPr>
            <a:spLocks noGrp="1"/>
          </p:cNvSpPr>
          <p:nvPr>
            <p:ph type="body" sz="quarter" idx="27" hasCustomPrompt="1"/>
          </p:nvPr>
        </p:nvSpPr>
        <p:spPr>
          <a:xfrm>
            <a:off x="2714625" y="1828800"/>
            <a:ext cx="272115" cy="272115"/>
          </a:xfrm>
          <a:custGeom>
            <a:avLst/>
            <a:gdLst>
              <a:gd name="connsiteX0" fmla="*/ 0 w 272115"/>
              <a:gd name="connsiteY0" fmla="*/ 0 h 272115"/>
              <a:gd name="connsiteX1" fmla="*/ 272115 w 272115"/>
              <a:gd name="connsiteY1" fmla="*/ 0 h 272115"/>
              <a:gd name="connsiteX2" fmla="*/ 0 w 272115"/>
              <a:gd name="connsiteY2" fmla="*/ 272115 h 272115"/>
            </a:gdLst>
            <a:ahLst/>
            <a:cxnLst>
              <a:cxn ang="0">
                <a:pos x="connsiteX0" y="connsiteY0"/>
              </a:cxn>
              <a:cxn ang="0">
                <a:pos x="connsiteX1" y="connsiteY1"/>
              </a:cxn>
              <a:cxn ang="0">
                <a:pos x="connsiteX2" y="connsiteY2"/>
              </a:cxn>
            </a:cxnLst>
            <a:rect l="l" t="t" r="r" b="b"/>
            <a:pathLst>
              <a:path w="272115" h="272115">
                <a:moveTo>
                  <a:pt x="0" y="0"/>
                </a:moveTo>
                <a:lnTo>
                  <a:pt x="272115" y="0"/>
                </a:lnTo>
                <a:lnTo>
                  <a:pt x="0" y="272115"/>
                </a:lnTo>
                <a:close/>
              </a:path>
            </a:pathLst>
          </a:custGeom>
          <a:solidFill>
            <a:schemeClr val="tx1"/>
          </a:solidFill>
        </p:spPr>
        <p:txBody>
          <a:bodyPr wrap="square">
            <a:noAutofit/>
          </a:bodyPr>
          <a:lstStyle/>
          <a:p>
            <a:pPr lvl="0"/>
            <a:r>
              <a:rPr lang="en-US"/>
              <a:t> </a:t>
            </a:r>
          </a:p>
        </p:txBody>
      </p:sp>
      <p:sp>
        <p:nvSpPr>
          <p:cNvPr id="2" name="Title 1">
            <a:extLst>
              <a:ext uri="{FF2B5EF4-FFF2-40B4-BE49-F238E27FC236}">
                <a16:creationId xmlns:a16="http://schemas.microsoft.com/office/drawing/2014/main" id="{844F0621-2390-4957-AD47-60FDBAA34491}"/>
              </a:ext>
            </a:extLst>
          </p:cNvPr>
          <p:cNvSpPr>
            <a:spLocks noGrp="1"/>
          </p:cNvSpPr>
          <p:nvPr>
            <p:ph type="title" hasCustomPrompt="1"/>
          </p:nvPr>
        </p:nvSpPr>
        <p:spPr>
          <a:xfrm>
            <a:off x="3028950" y="2232661"/>
            <a:ext cx="6134100" cy="2392678"/>
          </a:xfrm>
        </p:spPr>
        <p:txBody>
          <a:bodyPr anchor="ctr"/>
          <a:lstStyle>
            <a:lvl1pPr algn="ctr">
              <a:defRPr sz="2800" b="1">
                <a:solidFill>
                  <a:schemeClr val="tx1"/>
                </a:solidFill>
              </a:defRPr>
            </a:lvl1pPr>
          </a:lstStyle>
          <a:p>
            <a:r>
              <a:rPr lang="en-US"/>
              <a:t>Click to insert section divider name</a:t>
            </a:r>
          </a:p>
        </p:txBody>
      </p:sp>
      <p:sp>
        <p:nvSpPr>
          <p:cNvPr id="36" name="Slide Number Placeholder 4">
            <a:extLst>
              <a:ext uri="{FF2B5EF4-FFF2-40B4-BE49-F238E27FC236}">
                <a16:creationId xmlns:a16="http://schemas.microsoft.com/office/drawing/2014/main" id="{6A3B74FE-6C78-45C8-B9FA-8391A6052964}"/>
              </a:ext>
            </a:extLst>
          </p:cNvPr>
          <p:cNvSpPr>
            <a:spLocks noGrp="1"/>
          </p:cNvSpPr>
          <p:nvPr>
            <p:ph type="sldNum" sz="quarter" idx="12"/>
          </p:nvPr>
        </p:nvSpPr>
        <p:spPr>
          <a:xfrm>
            <a:off x="11610974" y="6538912"/>
            <a:ext cx="445293" cy="263525"/>
          </a:xfrm>
        </p:spPr>
        <p:txBody>
          <a:bodyPr/>
          <a:lstStyle/>
          <a:p>
            <a:fld id="{5034EE70-12A8-400F-8E3D-398CDD8B315D}" type="slidenum">
              <a:rPr lang="en-US" smtClean="0"/>
              <a:pPr/>
              <a:t>‹#›</a:t>
            </a:fld>
            <a:endParaRPr lang="en-US" dirty="0"/>
          </a:p>
        </p:txBody>
      </p:sp>
      <p:sp>
        <p:nvSpPr>
          <p:cNvPr id="51" name="TextBox 50">
            <a:extLst>
              <a:ext uri="{FF2B5EF4-FFF2-40B4-BE49-F238E27FC236}">
                <a16:creationId xmlns:a16="http://schemas.microsoft.com/office/drawing/2014/main" id="{997F92BE-02E5-4DA2-B742-D335EDD57AF1}"/>
              </a:ext>
            </a:extLst>
          </p:cNvPr>
          <p:cNvSpPr txBox="1"/>
          <p:nvPr userDrawn="1"/>
        </p:nvSpPr>
        <p:spPr>
          <a:xfrm>
            <a:off x="9817769" y="6576218"/>
            <a:ext cx="1771776" cy="171450"/>
          </a:xfrm>
          <a:prstGeom prst="rect">
            <a:avLst/>
          </a:prstGeom>
          <a:noFill/>
        </p:spPr>
        <p:txBody>
          <a:bodyPr wrap="square" rtlCol="0">
            <a:noAutofit/>
          </a:bodyPr>
          <a:lstStyle/>
          <a:p>
            <a:pPr algn="ctr">
              <a:lnSpc>
                <a:spcPct val="90000"/>
              </a:lnSpc>
              <a:spcAft>
                <a:spcPts val="600"/>
              </a:spcAft>
            </a:pPr>
            <a:r>
              <a:rPr lang="en-US" sz="700" cap="all" spc="10" baseline="0" dirty="0"/>
              <a:t>Proprietary and Confidential</a:t>
            </a:r>
          </a:p>
        </p:txBody>
      </p:sp>
      <p:sp>
        <p:nvSpPr>
          <p:cNvPr id="34" name="Freeform: Shape 33">
            <a:extLst>
              <a:ext uri="{FF2B5EF4-FFF2-40B4-BE49-F238E27FC236}">
                <a16:creationId xmlns:a16="http://schemas.microsoft.com/office/drawing/2014/main" id="{54894F10-4F63-4022-B727-4C14FBA0FFBC}"/>
              </a:ext>
            </a:extLst>
          </p:cNvPr>
          <p:cNvSpPr/>
          <p:nvPr userDrawn="1"/>
        </p:nvSpPr>
        <p:spPr>
          <a:xfrm>
            <a:off x="223837" y="223838"/>
            <a:ext cx="11744326" cy="6262686"/>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dirty="0">
              <a:solidFill>
                <a:schemeClr val="tx1"/>
              </a:solidFill>
            </a:endParaRPr>
          </a:p>
        </p:txBody>
      </p:sp>
      <p:sp>
        <p:nvSpPr>
          <p:cNvPr id="24" name="Footer Placeholder 4">
            <a:extLst>
              <a:ext uri="{FF2B5EF4-FFF2-40B4-BE49-F238E27FC236}">
                <a16:creationId xmlns:a16="http://schemas.microsoft.com/office/drawing/2014/main" id="{8BCA1B9F-5EC5-4A42-B0CB-9E69E631AC22}"/>
              </a:ext>
            </a:extLst>
          </p:cNvPr>
          <p:cNvSpPr>
            <a:spLocks noGrp="1"/>
          </p:cNvSpPr>
          <p:nvPr>
            <p:ph type="ftr" sz="quarter" idx="3"/>
          </p:nvPr>
        </p:nvSpPr>
        <p:spPr>
          <a:xfrm>
            <a:off x="4648200" y="6534150"/>
            <a:ext cx="5169569" cy="263525"/>
          </a:xfrm>
          <a:prstGeom prst="rect">
            <a:avLst/>
          </a:prstGeom>
        </p:spPr>
        <p:txBody>
          <a:bodyPr vert="horz" wrap="square" lIns="91440" tIns="45720" rIns="91440" bIns="45720" rtlCol="0" anchor="ctr">
            <a:noAutofit/>
          </a:bodyPr>
          <a:lstStyle>
            <a:lvl1pPr algn="r">
              <a:lnSpc>
                <a:spcPct val="90000"/>
              </a:lnSpc>
              <a:spcAft>
                <a:spcPts val="600"/>
              </a:spcAft>
              <a:defRPr sz="600">
                <a:solidFill>
                  <a:schemeClr val="tx1"/>
                </a:solidFill>
              </a:defRPr>
            </a:lvl1pPr>
          </a:lstStyle>
          <a:p>
            <a:endParaRPr lang="en-US" sz="600" noProof="0" dirty="0"/>
          </a:p>
        </p:txBody>
      </p:sp>
      <p:grpSp>
        <p:nvGrpSpPr>
          <p:cNvPr id="9" name="Graphic 46">
            <a:extLst>
              <a:ext uri="{FF2B5EF4-FFF2-40B4-BE49-F238E27FC236}">
                <a16:creationId xmlns:a16="http://schemas.microsoft.com/office/drawing/2014/main" id="{E2215EBB-1530-48AC-9B9C-9998F024436D}"/>
              </a:ext>
            </a:extLst>
          </p:cNvPr>
          <p:cNvGrpSpPr/>
          <p:nvPr userDrawn="1"/>
        </p:nvGrpSpPr>
        <p:grpSpPr>
          <a:xfrm>
            <a:off x="223838" y="6586537"/>
            <a:ext cx="1852878" cy="171636"/>
            <a:chOff x="223838" y="6586537"/>
            <a:chExt cx="1852878" cy="171636"/>
          </a:xfrm>
          <a:solidFill>
            <a:srgbClr val="E2E2E3"/>
          </a:solidFill>
        </p:grpSpPr>
        <p:sp>
          <p:nvSpPr>
            <p:cNvPr id="10" name="Freeform: Shape 9">
              <a:extLst>
                <a:ext uri="{FF2B5EF4-FFF2-40B4-BE49-F238E27FC236}">
                  <a16:creationId xmlns:a16="http://schemas.microsoft.com/office/drawing/2014/main" id="{25E93A30-018E-45EE-A0D1-A41E57EEFBD2}"/>
                </a:ext>
              </a:extLst>
            </p:cNvPr>
            <p:cNvSpPr/>
            <p:nvPr/>
          </p:nvSpPr>
          <p:spPr>
            <a:xfrm>
              <a:off x="1015600" y="6590823"/>
              <a:ext cx="114610" cy="163250"/>
            </a:xfrm>
            <a:custGeom>
              <a:avLst/>
              <a:gdLst>
                <a:gd name="connsiteX0" fmla="*/ 97913 w 114610"/>
                <a:gd name="connsiteY0" fmla="*/ 163250 h 163250"/>
                <a:gd name="connsiteX1" fmla="*/ 114611 w 114610"/>
                <a:gd name="connsiteY1" fmla="*/ 163250 h 163250"/>
                <a:gd name="connsiteX2" fmla="*/ 114611 w 114610"/>
                <a:gd name="connsiteY2" fmla="*/ 0 h 163250"/>
                <a:gd name="connsiteX3" fmla="*/ 97913 w 114610"/>
                <a:gd name="connsiteY3" fmla="*/ 0 h 163250"/>
                <a:gd name="connsiteX4" fmla="*/ 97913 w 114610"/>
                <a:gd name="connsiteY4" fmla="*/ 73351 h 163250"/>
                <a:gd name="connsiteX5" fmla="*/ 16698 w 114610"/>
                <a:gd name="connsiteY5" fmla="*/ 73351 h 163250"/>
                <a:gd name="connsiteX6" fmla="*/ 16698 w 114610"/>
                <a:gd name="connsiteY6" fmla="*/ 0 h 163250"/>
                <a:gd name="connsiteX7" fmla="*/ 0 w 114610"/>
                <a:gd name="connsiteY7" fmla="*/ 0 h 163250"/>
                <a:gd name="connsiteX8" fmla="*/ 0 w 114610"/>
                <a:gd name="connsiteY8" fmla="*/ 163250 h 163250"/>
                <a:gd name="connsiteX9" fmla="*/ 16698 w 114610"/>
                <a:gd name="connsiteY9" fmla="*/ 163250 h 163250"/>
                <a:gd name="connsiteX10" fmla="*/ 16698 w 114610"/>
                <a:gd name="connsiteY10" fmla="*/ 89937 h 163250"/>
                <a:gd name="connsiteX11" fmla="*/ 97913 w 114610"/>
                <a:gd name="connsiteY11" fmla="*/ 89937 h 163250"/>
                <a:gd name="connsiteX12" fmla="*/ 97913 w 114610"/>
                <a:gd name="connsiteY12" fmla="*/ 16325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610" h="163250">
                  <a:moveTo>
                    <a:pt x="97913" y="163250"/>
                  </a:moveTo>
                  <a:lnTo>
                    <a:pt x="114611" y="163250"/>
                  </a:lnTo>
                  <a:lnTo>
                    <a:pt x="114611" y="0"/>
                  </a:lnTo>
                  <a:lnTo>
                    <a:pt x="97913" y="0"/>
                  </a:lnTo>
                  <a:lnTo>
                    <a:pt x="97913" y="73351"/>
                  </a:lnTo>
                  <a:lnTo>
                    <a:pt x="16698" y="73351"/>
                  </a:lnTo>
                  <a:lnTo>
                    <a:pt x="16698" y="0"/>
                  </a:lnTo>
                  <a:lnTo>
                    <a:pt x="0" y="0"/>
                  </a:lnTo>
                  <a:lnTo>
                    <a:pt x="0" y="163250"/>
                  </a:lnTo>
                  <a:lnTo>
                    <a:pt x="16698" y="163250"/>
                  </a:lnTo>
                  <a:lnTo>
                    <a:pt x="16698" y="89937"/>
                  </a:lnTo>
                  <a:lnTo>
                    <a:pt x="97913" y="89937"/>
                  </a:lnTo>
                  <a:lnTo>
                    <a:pt x="97913" y="163250"/>
                  </a:lnTo>
                  <a:close/>
                </a:path>
              </a:pathLst>
            </a:custGeom>
            <a:solidFill>
              <a:srgbClr val="E2E2E3"/>
            </a:solidFill>
            <a:ln w="3718" cap="flat">
              <a:noFill/>
              <a:prstDash val="solid"/>
              <a:miter/>
            </a:ln>
          </p:spPr>
          <p:txBody>
            <a:bodyPr rtlCol="0" anchor="ctr"/>
            <a:lstStyle/>
            <a:p>
              <a:endParaRPr lang="en-US" dirty="0"/>
            </a:p>
          </p:txBody>
        </p:sp>
        <p:sp>
          <p:nvSpPr>
            <p:cNvPr id="11" name="Freeform: Shape 10">
              <a:extLst>
                <a:ext uri="{FF2B5EF4-FFF2-40B4-BE49-F238E27FC236}">
                  <a16:creationId xmlns:a16="http://schemas.microsoft.com/office/drawing/2014/main" id="{98E8FD69-9E31-45B1-914E-AE0E7BDF24DE}"/>
                </a:ext>
              </a:extLst>
            </p:cNvPr>
            <p:cNvSpPr/>
            <p:nvPr/>
          </p:nvSpPr>
          <p:spPr>
            <a:xfrm>
              <a:off x="1158761" y="6590823"/>
              <a:ext cx="16809" cy="163250"/>
            </a:xfrm>
            <a:custGeom>
              <a:avLst/>
              <a:gdLst>
                <a:gd name="connsiteX0" fmla="*/ 0 w 16809"/>
                <a:gd name="connsiteY0" fmla="*/ 0 h 163250"/>
                <a:gd name="connsiteX1" fmla="*/ 16810 w 16809"/>
                <a:gd name="connsiteY1" fmla="*/ 0 h 163250"/>
                <a:gd name="connsiteX2" fmla="*/ 16810 w 16809"/>
                <a:gd name="connsiteY2" fmla="*/ 163250 h 163250"/>
                <a:gd name="connsiteX3" fmla="*/ 0 w 16809"/>
                <a:gd name="connsiteY3" fmla="*/ 163250 h 163250"/>
              </a:gdLst>
              <a:ahLst/>
              <a:cxnLst>
                <a:cxn ang="0">
                  <a:pos x="connsiteX0" y="connsiteY0"/>
                </a:cxn>
                <a:cxn ang="0">
                  <a:pos x="connsiteX1" y="connsiteY1"/>
                </a:cxn>
                <a:cxn ang="0">
                  <a:pos x="connsiteX2" y="connsiteY2"/>
                </a:cxn>
                <a:cxn ang="0">
                  <a:pos x="connsiteX3" y="connsiteY3"/>
                </a:cxn>
              </a:cxnLst>
              <a:rect l="l" t="t" r="r" b="b"/>
              <a:pathLst>
                <a:path w="16809" h="163250">
                  <a:moveTo>
                    <a:pt x="0" y="0"/>
                  </a:moveTo>
                  <a:lnTo>
                    <a:pt x="16810" y="0"/>
                  </a:lnTo>
                  <a:lnTo>
                    <a:pt x="16810" y="163250"/>
                  </a:lnTo>
                  <a:lnTo>
                    <a:pt x="0" y="163250"/>
                  </a:lnTo>
                  <a:close/>
                </a:path>
              </a:pathLst>
            </a:custGeom>
            <a:solidFill>
              <a:srgbClr val="E2E2E3"/>
            </a:solidFill>
            <a:ln w="3718" cap="flat">
              <a:noFill/>
              <a:prstDash val="solid"/>
              <a:miter/>
            </a:ln>
          </p:spPr>
          <p:txBody>
            <a:bodyPr rtlCol="0" anchor="ctr"/>
            <a:lstStyle/>
            <a:p>
              <a:endParaRPr lang="en-US" dirty="0"/>
            </a:p>
          </p:txBody>
        </p:sp>
        <p:sp>
          <p:nvSpPr>
            <p:cNvPr id="12" name="Freeform: Shape 11">
              <a:extLst>
                <a:ext uri="{FF2B5EF4-FFF2-40B4-BE49-F238E27FC236}">
                  <a16:creationId xmlns:a16="http://schemas.microsoft.com/office/drawing/2014/main" id="{BDF87704-7528-412F-867A-20FD961E1ED7}"/>
                </a:ext>
              </a:extLst>
            </p:cNvPr>
            <p:cNvSpPr/>
            <p:nvPr/>
          </p:nvSpPr>
          <p:spPr>
            <a:xfrm>
              <a:off x="1197184" y="6589704"/>
              <a:ext cx="165642" cy="165862"/>
            </a:xfrm>
            <a:custGeom>
              <a:avLst/>
              <a:gdLst>
                <a:gd name="connsiteX0" fmla="*/ 24343 w 165642"/>
                <a:gd name="connsiteY0" fmla="*/ 141596 h 165862"/>
                <a:gd name="connsiteX1" fmla="*/ 114652 w 165642"/>
                <a:gd name="connsiteY1" fmla="*/ 159859 h 165862"/>
                <a:gd name="connsiteX2" fmla="*/ 141600 w 165642"/>
                <a:gd name="connsiteY2" fmla="*/ 141558 h 165862"/>
                <a:gd name="connsiteX3" fmla="*/ 160869 w 165642"/>
                <a:gd name="connsiteY3" fmla="*/ 110996 h 165862"/>
                <a:gd name="connsiteX4" fmla="*/ 165640 w 165642"/>
                <a:gd name="connsiteY4" fmla="*/ 81514 h 165862"/>
                <a:gd name="connsiteX5" fmla="*/ 91283 w 165642"/>
                <a:gd name="connsiteY5" fmla="*/ 81514 h 165862"/>
                <a:gd name="connsiteX6" fmla="*/ 91283 w 165642"/>
                <a:gd name="connsiteY6" fmla="*/ 96720 h 165862"/>
                <a:gd name="connsiteX7" fmla="*/ 149352 w 165642"/>
                <a:gd name="connsiteY7" fmla="*/ 96720 h 165862"/>
                <a:gd name="connsiteX8" fmla="*/ 142606 w 165642"/>
                <a:gd name="connsiteY8" fmla="*/ 110996 h 165862"/>
                <a:gd name="connsiteX9" fmla="*/ 133623 w 165642"/>
                <a:gd name="connsiteY9" fmla="*/ 124935 h 165862"/>
                <a:gd name="connsiteX10" fmla="*/ 121547 w 165642"/>
                <a:gd name="connsiteY10" fmla="*/ 136415 h 165862"/>
                <a:gd name="connsiteX11" fmla="*/ 103471 w 165642"/>
                <a:gd name="connsiteY11" fmla="*/ 145621 h 165862"/>
                <a:gd name="connsiteX12" fmla="*/ 57962 w 165642"/>
                <a:gd name="connsiteY12" fmla="*/ 143944 h 165862"/>
                <a:gd name="connsiteX13" fmla="*/ 36717 w 165642"/>
                <a:gd name="connsiteY13" fmla="*/ 129445 h 165862"/>
                <a:gd name="connsiteX14" fmla="*/ 22330 w 165642"/>
                <a:gd name="connsiteY14" fmla="*/ 108163 h 165862"/>
                <a:gd name="connsiteX15" fmla="*/ 22330 w 165642"/>
                <a:gd name="connsiteY15" fmla="*/ 57734 h 165862"/>
                <a:gd name="connsiteX16" fmla="*/ 36717 w 165642"/>
                <a:gd name="connsiteY16" fmla="*/ 36452 h 165862"/>
                <a:gd name="connsiteX17" fmla="*/ 58036 w 165642"/>
                <a:gd name="connsiteY17" fmla="*/ 21916 h 165862"/>
                <a:gd name="connsiteX18" fmla="*/ 83232 w 165642"/>
                <a:gd name="connsiteY18" fmla="*/ 17034 h 165862"/>
                <a:gd name="connsiteX19" fmla="*/ 108391 w 165642"/>
                <a:gd name="connsiteY19" fmla="*/ 21916 h 165862"/>
                <a:gd name="connsiteX20" fmla="*/ 122106 w 165642"/>
                <a:gd name="connsiteY20" fmla="*/ 29818 h 165862"/>
                <a:gd name="connsiteX21" fmla="*/ 134145 w 165642"/>
                <a:gd name="connsiteY21" fmla="*/ 17704 h 165862"/>
                <a:gd name="connsiteX22" fmla="*/ 129374 w 165642"/>
                <a:gd name="connsiteY22" fmla="*/ 14275 h 165862"/>
                <a:gd name="connsiteX23" fmla="*/ 114988 w 165642"/>
                <a:gd name="connsiteY23" fmla="*/ 6448 h 165862"/>
                <a:gd name="connsiteX24" fmla="*/ 99520 w 165642"/>
                <a:gd name="connsiteY24" fmla="*/ 1640 h 165862"/>
                <a:gd name="connsiteX25" fmla="*/ 82934 w 165642"/>
                <a:gd name="connsiteY25" fmla="*/ 0 h 165862"/>
                <a:gd name="connsiteX26" fmla="*/ 76001 w 165642"/>
                <a:gd name="connsiteY26" fmla="*/ 0 h 165862"/>
                <a:gd name="connsiteX27" fmla="*/ 51104 w 165642"/>
                <a:gd name="connsiteY27" fmla="*/ 5889 h 165862"/>
                <a:gd name="connsiteX28" fmla="*/ 24306 w 165642"/>
                <a:gd name="connsiteY28" fmla="*/ 24264 h 165862"/>
                <a:gd name="connsiteX29" fmla="*/ 6042 w 165642"/>
                <a:gd name="connsiteY29" fmla="*/ 51137 h 165862"/>
                <a:gd name="connsiteX30" fmla="*/ 4 w 165642"/>
                <a:gd name="connsiteY30" fmla="*/ 83042 h 165862"/>
                <a:gd name="connsiteX31" fmla="*/ 6042 w 165642"/>
                <a:gd name="connsiteY31" fmla="*/ 114909 h 165862"/>
                <a:gd name="connsiteX32" fmla="*/ 24268 w 165642"/>
                <a:gd name="connsiteY32" fmla="*/ 141707 h 16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65642" h="165862">
                  <a:moveTo>
                    <a:pt x="24343" y="141596"/>
                  </a:moveTo>
                  <a:cubicBezTo>
                    <a:pt x="48141" y="165094"/>
                    <a:pt x="83594" y="172264"/>
                    <a:pt x="114652" y="159859"/>
                  </a:cubicBezTo>
                  <a:cubicBezTo>
                    <a:pt x="124719" y="155530"/>
                    <a:pt x="133866" y="149319"/>
                    <a:pt x="141600" y="141558"/>
                  </a:cubicBezTo>
                  <a:cubicBezTo>
                    <a:pt x="150347" y="133035"/>
                    <a:pt x="156948" y="122562"/>
                    <a:pt x="160869" y="110996"/>
                  </a:cubicBezTo>
                  <a:cubicBezTo>
                    <a:pt x="164108" y="101507"/>
                    <a:pt x="165722" y="91539"/>
                    <a:pt x="165640" y="81514"/>
                  </a:cubicBezTo>
                  <a:lnTo>
                    <a:pt x="91283" y="81514"/>
                  </a:lnTo>
                  <a:lnTo>
                    <a:pt x="91283" y="96720"/>
                  </a:lnTo>
                  <a:lnTo>
                    <a:pt x="149352" y="96720"/>
                  </a:lnTo>
                  <a:lnTo>
                    <a:pt x="142606" y="110996"/>
                  </a:lnTo>
                  <a:cubicBezTo>
                    <a:pt x="140217" y="116006"/>
                    <a:pt x="137198" y="120690"/>
                    <a:pt x="133623" y="124935"/>
                  </a:cubicBezTo>
                  <a:cubicBezTo>
                    <a:pt x="130083" y="129240"/>
                    <a:pt x="126027" y="133095"/>
                    <a:pt x="121547" y="136415"/>
                  </a:cubicBezTo>
                  <a:cubicBezTo>
                    <a:pt x="116076" y="140470"/>
                    <a:pt x="109967" y="143582"/>
                    <a:pt x="103471" y="145621"/>
                  </a:cubicBezTo>
                  <a:cubicBezTo>
                    <a:pt x="88569" y="150385"/>
                    <a:pt x="72472" y="149792"/>
                    <a:pt x="57962" y="143944"/>
                  </a:cubicBezTo>
                  <a:cubicBezTo>
                    <a:pt x="49975" y="140595"/>
                    <a:pt x="42748" y="135663"/>
                    <a:pt x="36717" y="129445"/>
                  </a:cubicBezTo>
                  <a:cubicBezTo>
                    <a:pt x="30597" y="123344"/>
                    <a:pt x="25711" y="116117"/>
                    <a:pt x="22330" y="108163"/>
                  </a:cubicBezTo>
                  <a:cubicBezTo>
                    <a:pt x="15819" y="91984"/>
                    <a:pt x="15819" y="73913"/>
                    <a:pt x="22330" y="57734"/>
                  </a:cubicBezTo>
                  <a:cubicBezTo>
                    <a:pt x="25729" y="49791"/>
                    <a:pt x="30612" y="42568"/>
                    <a:pt x="36717" y="36452"/>
                  </a:cubicBezTo>
                  <a:cubicBezTo>
                    <a:pt x="42792" y="30244"/>
                    <a:pt x="50038" y="25303"/>
                    <a:pt x="58036" y="21916"/>
                  </a:cubicBezTo>
                  <a:cubicBezTo>
                    <a:pt x="66013" y="18581"/>
                    <a:pt x="74589" y="16919"/>
                    <a:pt x="83232" y="17034"/>
                  </a:cubicBezTo>
                  <a:cubicBezTo>
                    <a:pt x="91861" y="16956"/>
                    <a:pt x="100418" y="18617"/>
                    <a:pt x="108391" y="21916"/>
                  </a:cubicBezTo>
                  <a:cubicBezTo>
                    <a:pt x="113251" y="24012"/>
                    <a:pt x="117854" y="26664"/>
                    <a:pt x="122106" y="29818"/>
                  </a:cubicBezTo>
                  <a:lnTo>
                    <a:pt x="134145" y="17704"/>
                  </a:lnTo>
                  <a:cubicBezTo>
                    <a:pt x="132356" y="16363"/>
                    <a:pt x="130791" y="15244"/>
                    <a:pt x="129374" y="14275"/>
                  </a:cubicBezTo>
                  <a:cubicBezTo>
                    <a:pt x="124820" y="11246"/>
                    <a:pt x="120004" y="8627"/>
                    <a:pt x="114988" y="6448"/>
                  </a:cubicBezTo>
                  <a:cubicBezTo>
                    <a:pt x="110001" y="4347"/>
                    <a:pt x="104820" y="2737"/>
                    <a:pt x="99520" y="1640"/>
                  </a:cubicBezTo>
                  <a:cubicBezTo>
                    <a:pt x="94060" y="534"/>
                    <a:pt x="88502" y="-15"/>
                    <a:pt x="82934" y="0"/>
                  </a:cubicBezTo>
                  <a:lnTo>
                    <a:pt x="76001" y="0"/>
                  </a:lnTo>
                  <a:cubicBezTo>
                    <a:pt x="67440" y="610"/>
                    <a:pt x="59032" y="2598"/>
                    <a:pt x="51104" y="5889"/>
                  </a:cubicBezTo>
                  <a:cubicBezTo>
                    <a:pt x="41022" y="10138"/>
                    <a:pt x="31902" y="16389"/>
                    <a:pt x="24306" y="24264"/>
                  </a:cubicBezTo>
                  <a:cubicBezTo>
                    <a:pt x="16490" y="31918"/>
                    <a:pt x="10284" y="41054"/>
                    <a:pt x="6042" y="51137"/>
                  </a:cubicBezTo>
                  <a:cubicBezTo>
                    <a:pt x="1965" y="61275"/>
                    <a:pt x="-89" y="72114"/>
                    <a:pt x="4" y="83042"/>
                  </a:cubicBezTo>
                  <a:cubicBezTo>
                    <a:pt x="-107" y="93959"/>
                    <a:pt x="1946" y="104789"/>
                    <a:pt x="6042" y="114909"/>
                  </a:cubicBezTo>
                  <a:cubicBezTo>
                    <a:pt x="10206" y="125003"/>
                    <a:pt x="16411" y="134126"/>
                    <a:pt x="24268" y="141707"/>
                  </a:cubicBezTo>
                </a:path>
              </a:pathLst>
            </a:custGeom>
            <a:solidFill>
              <a:srgbClr val="E2E2E3"/>
            </a:solidFill>
            <a:ln w="3718" cap="flat">
              <a:noFill/>
              <a:prstDash val="solid"/>
              <a:miter/>
            </a:ln>
          </p:spPr>
          <p:txBody>
            <a:bodyPr rtlCol="0" anchor="ctr"/>
            <a:lstStyle/>
            <a:p>
              <a:endParaRPr lang="en-US" dirty="0"/>
            </a:p>
          </p:txBody>
        </p:sp>
        <p:sp>
          <p:nvSpPr>
            <p:cNvPr id="13" name="Freeform: Shape 12">
              <a:extLst>
                <a:ext uri="{FF2B5EF4-FFF2-40B4-BE49-F238E27FC236}">
                  <a16:creationId xmlns:a16="http://schemas.microsoft.com/office/drawing/2014/main" id="{8CCECC49-E958-4A27-8CF6-1032C3A687ED}"/>
                </a:ext>
              </a:extLst>
            </p:cNvPr>
            <p:cNvSpPr/>
            <p:nvPr/>
          </p:nvSpPr>
          <p:spPr>
            <a:xfrm>
              <a:off x="1384590" y="6590823"/>
              <a:ext cx="114573" cy="163250"/>
            </a:xfrm>
            <a:custGeom>
              <a:avLst/>
              <a:gdLst>
                <a:gd name="connsiteX0" fmla="*/ 97876 w 114573"/>
                <a:gd name="connsiteY0" fmla="*/ 163250 h 163250"/>
                <a:gd name="connsiteX1" fmla="*/ 114573 w 114573"/>
                <a:gd name="connsiteY1" fmla="*/ 163250 h 163250"/>
                <a:gd name="connsiteX2" fmla="*/ 114573 w 114573"/>
                <a:gd name="connsiteY2" fmla="*/ 0 h 163250"/>
                <a:gd name="connsiteX3" fmla="*/ 97876 w 114573"/>
                <a:gd name="connsiteY3" fmla="*/ 0 h 163250"/>
                <a:gd name="connsiteX4" fmla="*/ 97876 w 114573"/>
                <a:gd name="connsiteY4" fmla="*/ 73351 h 163250"/>
                <a:gd name="connsiteX5" fmla="*/ 16660 w 114573"/>
                <a:gd name="connsiteY5" fmla="*/ 73351 h 163250"/>
                <a:gd name="connsiteX6" fmla="*/ 16660 w 114573"/>
                <a:gd name="connsiteY6" fmla="*/ 0 h 163250"/>
                <a:gd name="connsiteX7" fmla="*/ 0 w 114573"/>
                <a:gd name="connsiteY7" fmla="*/ 0 h 163250"/>
                <a:gd name="connsiteX8" fmla="*/ 0 w 114573"/>
                <a:gd name="connsiteY8" fmla="*/ 163250 h 163250"/>
                <a:gd name="connsiteX9" fmla="*/ 16660 w 114573"/>
                <a:gd name="connsiteY9" fmla="*/ 163250 h 163250"/>
                <a:gd name="connsiteX10" fmla="*/ 16660 w 114573"/>
                <a:gd name="connsiteY10" fmla="*/ 89937 h 163250"/>
                <a:gd name="connsiteX11" fmla="*/ 97876 w 114573"/>
                <a:gd name="connsiteY11" fmla="*/ 89937 h 163250"/>
                <a:gd name="connsiteX12" fmla="*/ 97876 w 114573"/>
                <a:gd name="connsiteY12" fmla="*/ 16325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573" h="163250">
                  <a:moveTo>
                    <a:pt x="97876" y="163250"/>
                  </a:moveTo>
                  <a:lnTo>
                    <a:pt x="114573" y="163250"/>
                  </a:lnTo>
                  <a:lnTo>
                    <a:pt x="114573" y="0"/>
                  </a:lnTo>
                  <a:lnTo>
                    <a:pt x="97876" y="0"/>
                  </a:lnTo>
                  <a:lnTo>
                    <a:pt x="97876" y="73351"/>
                  </a:lnTo>
                  <a:lnTo>
                    <a:pt x="16660" y="73351"/>
                  </a:lnTo>
                  <a:lnTo>
                    <a:pt x="16660" y="0"/>
                  </a:lnTo>
                  <a:lnTo>
                    <a:pt x="0" y="0"/>
                  </a:lnTo>
                  <a:lnTo>
                    <a:pt x="0" y="163250"/>
                  </a:lnTo>
                  <a:lnTo>
                    <a:pt x="16660" y="163250"/>
                  </a:lnTo>
                  <a:lnTo>
                    <a:pt x="16660" y="89937"/>
                  </a:lnTo>
                  <a:lnTo>
                    <a:pt x="97876" y="89937"/>
                  </a:lnTo>
                  <a:lnTo>
                    <a:pt x="97876" y="163250"/>
                  </a:lnTo>
                  <a:close/>
                </a:path>
              </a:pathLst>
            </a:custGeom>
            <a:solidFill>
              <a:srgbClr val="E2E2E3"/>
            </a:solidFill>
            <a:ln w="3718" cap="flat">
              <a:noFill/>
              <a:prstDash val="solid"/>
              <a:miter/>
            </a:ln>
          </p:spPr>
          <p:txBody>
            <a:bodyPr rtlCol="0" anchor="ctr"/>
            <a:lstStyle/>
            <a:p>
              <a:endParaRPr lang="en-US" dirty="0"/>
            </a:p>
          </p:txBody>
        </p:sp>
        <p:sp>
          <p:nvSpPr>
            <p:cNvPr id="14" name="Freeform: Shape 13">
              <a:extLst>
                <a:ext uri="{FF2B5EF4-FFF2-40B4-BE49-F238E27FC236}">
                  <a16:creationId xmlns:a16="http://schemas.microsoft.com/office/drawing/2014/main" id="{C30B2D49-1DC0-4027-BA21-8F898157673E}"/>
                </a:ext>
              </a:extLst>
            </p:cNvPr>
            <p:cNvSpPr/>
            <p:nvPr/>
          </p:nvSpPr>
          <p:spPr>
            <a:xfrm>
              <a:off x="1527751" y="6590823"/>
              <a:ext cx="90346" cy="163250"/>
            </a:xfrm>
            <a:custGeom>
              <a:avLst/>
              <a:gdLst>
                <a:gd name="connsiteX0" fmla="*/ 16810 w 90346"/>
                <a:gd name="connsiteY0" fmla="*/ 0 h 163250"/>
                <a:gd name="connsiteX1" fmla="*/ 0 w 90346"/>
                <a:gd name="connsiteY1" fmla="*/ 0 h 163250"/>
                <a:gd name="connsiteX2" fmla="*/ 0 w 90346"/>
                <a:gd name="connsiteY2" fmla="*/ 163250 h 163250"/>
                <a:gd name="connsiteX3" fmla="*/ 90347 w 90346"/>
                <a:gd name="connsiteY3" fmla="*/ 163250 h 163250"/>
                <a:gd name="connsiteX4" fmla="*/ 90347 w 90346"/>
                <a:gd name="connsiteY4" fmla="*/ 146813 h 163250"/>
                <a:gd name="connsiteX5" fmla="*/ 16810 w 90346"/>
                <a:gd name="connsiteY5" fmla="*/ 146813 h 163250"/>
                <a:gd name="connsiteX6" fmla="*/ 16810 w 90346"/>
                <a:gd name="connsiteY6" fmla="*/ 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346" h="163250">
                  <a:moveTo>
                    <a:pt x="16810" y="0"/>
                  </a:moveTo>
                  <a:lnTo>
                    <a:pt x="0" y="0"/>
                  </a:lnTo>
                  <a:lnTo>
                    <a:pt x="0" y="163250"/>
                  </a:lnTo>
                  <a:lnTo>
                    <a:pt x="90347" y="163250"/>
                  </a:lnTo>
                  <a:lnTo>
                    <a:pt x="90347" y="146813"/>
                  </a:lnTo>
                  <a:lnTo>
                    <a:pt x="16810" y="146813"/>
                  </a:lnTo>
                  <a:lnTo>
                    <a:pt x="16810" y="0"/>
                  </a:lnTo>
                  <a:close/>
                </a:path>
              </a:pathLst>
            </a:custGeom>
            <a:solidFill>
              <a:srgbClr val="E2E2E3"/>
            </a:solidFill>
            <a:ln w="3718"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B7C3FA0D-20E8-4F5E-80E3-5A67A8D2E9A6}"/>
                </a:ext>
              </a:extLst>
            </p:cNvPr>
            <p:cNvSpPr/>
            <p:nvPr/>
          </p:nvSpPr>
          <p:spPr>
            <a:xfrm>
              <a:off x="1640796" y="6593991"/>
              <a:ext cx="136563" cy="160268"/>
            </a:xfrm>
            <a:custGeom>
              <a:avLst/>
              <a:gdLst>
                <a:gd name="connsiteX0" fmla="*/ 36191 w 136563"/>
                <a:gd name="connsiteY0" fmla="*/ 119866 h 160268"/>
                <a:gd name="connsiteX1" fmla="*/ 37943 w 136563"/>
                <a:gd name="connsiteY1" fmla="*/ 115803 h 160268"/>
                <a:gd name="connsiteX2" fmla="*/ 51696 w 136563"/>
                <a:gd name="connsiteY2" fmla="*/ 81700 h 160268"/>
                <a:gd name="connsiteX3" fmla="*/ 65673 w 136563"/>
                <a:gd name="connsiteY3" fmla="*/ 47223 h 160268"/>
                <a:gd name="connsiteX4" fmla="*/ 68356 w 136563"/>
                <a:gd name="connsiteY4" fmla="*/ 41036 h 160268"/>
                <a:gd name="connsiteX5" fmla="*/ 71040 w 136563"/>
                <a:gd name="connsiteY5" fmla="*/ 47261 h 160268"/>
                <a:gd name="connsiteX6" fmla="*/ 84756 w 136563"/>
                <a:gd name="connsiteY6" fmla="*/ 81700 h 160268"/>
                <a:gd name="connsiteX7" fmla="*/ 98546 w 136563"/>
                <a:gd name="connsiteY7" fmla="*/ 115803 h 160268"/>
                <a:gd name="connsiteX8" fmla="*/ 100298 w 136563"/>
                <a:gd name="connsiteY8" fmla="*/ 119866 h 160268"/>
                <a:gd name="connsiteX9" fmla="*/ 118636 w 136563"/>
                <a:gd name="connsiteY9" fmla="*/ 160268 h 160268"/>
                <a:gd name="connsiteX10" fmla="*/ 136563 w 136563"/>
                <a:gd name="connsiteY10" fmla="*/ 160268 h 160268"/>
                <a:gd name="connsiteX11" fmla="*/ 68319 w 136563"/>
                <a:gd name="connsiteY11" fmla="*/ 0 h 160268"/>
                <a:gd name="connsiteX12" fmla="*/ 0 w 136563"/>
                <a:gd name="connsiteY12" fmla="*/ 160268 h 160268"/>
                <a:gd name="connsiteX13" fmla="*/ 18002 w 136563"/>
                <a:gd name="connsiteY13" fmla="*/ 160268 h 160268"/>
                <a:gd name="connsiteX14" fmla="*/ 30488 w 136563"/>
                <a:gd name="connsiteY14" fmla="*/ 132426 h 160268"/>
                <a:gd name="connsiteX15" fmla="*/ 106113 w 136563"/>
                <a:gd name="connsiteY15" fmla="*/ 132426 h 160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6563" h="160268">
                  <a:moveTo>
                    <a:pt x="36191" y="119866"/>
                  </a:moveTo>
                  <a:lnTo>
                    <a:pt x="37943" y="115803"/>
                  </a:lnTo>
                  <a:cubicBezTo>
                    <a:pt x="42452" y="105255"/>
                    <a:pt x="47074" y="93776"/>
                    <a:pt x="51696" y="81700"/>
                  </a:cubicBezTo>
                  <a:cubicBezTo>
                    <a:pt x="56318" y="69624"/>
                    <a:pt x="61088" y="57846"/>
                    <a:pt x="65673" y="47223"/>
                  </a:cubicBezTo>
                  <a:lnTo>
                    <a:pt x="68356" y="41036"/>
                  </a:lnTo>
                  <a:lnTo>
                    <a:pt x="71040" y="47261"/>
                  </a:lnTo>
                  <a:cubicBezTo>
                    <a:pt x="75550" y="57883"/>
                    <a:pt x="80171" y="69624"/>
                    <a:pt x="84756" y="81700"/>
                  </a:cubicBezTo>
                  <a:cubicBezTo>
                    <a:pt x="89340" y="93776"/>
                    <a:pt x="93925" y="105255"/>
                    <a:pt x="98546" y="115803"/>
                  </a:cubicBezTo>
                  <a:lnTo>
                    <a:pt x="100298" y="119866"/>
                  </a:lnTo>
                  <a:close/>
                  <a:moveTo>
                    <a:pt x="118636" y="160268"/>
                  </a:moveTo>
                  <a:lnTo>
                    <a:pt x="136563" y="160268"/>
                  </a:lnTo>
                  <a:lnTo>
                    <a:pt x="68319" y="0"/>
                  </a:lnTo>
                  <a:lnTo>
                    <a:pt x="0" y="160268"/>
                  </a:lnTo>
                  <a:lnTo>
                    <a:pt x="18002" y="160268"/>
                  </a:lnTo>
                  <a:lnTo>
                    <a:pt x="30488" y="132426"/>
                  </a:lnTo>
                  <a:lnTo>
                    <a:pt x="106113" y="132426"/>
                  </a:lnTo>
                  <a:close/>
                </a:path>
              </a:pathLst>
            </a:custGeom>
            <a:solidFill>
              <a:srgbClr val="E2E2E3"/>
            </a:solidFill>
            <a:ln w="3718"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B1F4CC2F-9C7C-4A87-9B99-431500C43EF3}"/>
                </a:ext>
              </a:extLst>
            </p:cNvPr>
            <p:cNvSpPr/>
            <p:nvPr/>
          </p:nvSpPr>
          <p:spPr>
            <a:xfrm>
              <a:off x="1800505" y="6590487"/>
              <a:ext cx="127208" cy="164070"/>
            </a:xfrm>
            <a:custGeom>
              <a:avLst/>
              <a:gdLst>
                <a:gd name="connsiteX0" fmla="*/ 110436 w 127208"/>
                <a:gd name="connsiteY0" fmla="*/ 119120 h 164070"/>
                <a:gd name="connsiteX1" fmla="*/ 0 w 127208"/>
                <a:gd name="connsiteY1" fmla="*/ 3019 h 164070"/>
                <a:gd name="connsiteX2" fmla="*/ 0 w 127208"/>
                <a:gd name="connsiteY2" fmla="*/ 164070 h 164070"/>
                <a:gd name="connsiteX3" fmla="*/ 16810 w 127208"/>
                <a:gd name="connsiteY3" fmla="*/ 164070 h 164070"/>
                <a:gd name="connsiteX4" fmla="*/ 16810 w 127208"/>
                <a:gd name="connsiteY4" fmla="*/ 44540 h 164070"/>
                <a:gd name="connsiteX5" fmla="*/ 127208 w 127208"/>
                <a:gd name="connsiteY5" fmla="*/ 162244 h 164070"/>
                <a:gd name="connsiteX6" fmla="*/ 127208 w 127208"/>
                <a:gd name="connsiteY6" fmla="*/ 0 h 164070"/>
                <a:gd name="connsiteX7" fmla="*/ 110436 w 127208"/>
                <a:gd name="connsiteY7" fmla="*/ 0 h 164070"/>
                <a:gd name="connsiteX8" fmla="*/ 110436 w 127208"/>
                <a:gd name="connsiteY8" fmla="*/ 119120 h 16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208" h="164070">
                  <a:moveTo>
                    <a:pt x="110436" y="119120"/>
                  </a:moveTo>
                  <a:lnTo>
                    <a:pt x="0" y="3019"/>
                  </a:lnTo>
                  <a:lnTo>
                    <a:pt x="0" y="164070"/>
                  </a:lnTo>
                  <a:lnTo>
                    <a:pt x="16810" y="164070"/>
                  </a:lnTo>
                  <a:lnTo>
                    <a:pt x="16810" y="44540"/>
                  </a:lnTo>
                  <a:lnTo>
                    <a:pt x="127208" y="162244"/>
                  </a:lnTo>
                  <a:lnTo>
                    <a:pt x="127208" y="0"/>
                  </a:lnTo>
                  <a:lnTo>
                    <a:pt x="110436" y="0"/>
                  </a:lnTo>
                  <a:lnTo>
                    <a:pt x="110436" y="119120"/>
                  </a:lnTo>
                  <a:close/>
                </a:path>
              </a:pathLst>
            </a:custGeom>
            <a:solidFill>
              <a:srgbClr val="E2E2E3"/>
            </a:solidFill>
            <a:ln w="3718" cap="flat">
              <a:no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98EAC49B-B06C-4507-9347-2924B22E8BA2}"/>
                </a:ext>
              </a:extLst>
            </p:cNvPr>
            <p:cNvSpPr/>
            <p:nvPr/>
          </p:nvSpPr>
          <p:spPr>
            <a:xfrm>
              <a:off x="1956301" y="6590935"/>
              <a:ext cx="120414" cy="163325"/>
            </a:xfrm>
            <a:custGeom>
              <a:avLst/>
              <a:gdLst>
                <a:gd name="connsiteX0" fmla="*/ 64704 w 120414"/>
                <a:gd name="connsiteY0" fmla="*/ 142080 h 163325"/>
                <a:gd name="connsiteX1" fmla="*/ 38912 w 120414"/>
                <a:gd name="connsiteY1" fmla="*/ 146478 h 163325"/>
                <a:gd name="connsiteX2" fmla="*/ 16549 w 120414"/>
                <a:gd name="connsiteY2" fmla="*/ 146478 h 163325"/>
                <a:gd name="connsiteX3" fmla="*/ 16549 w 120414"/>
                <a:gd name="connsiteY3" fmla="*/ 16474 h 163325"/>
                <a:gd name="connsiteX4" fmla="*/ 38539 w 120414"/>
                <a:gd name="connsiteY4" fmla="*/ 16474 h 163325"/>
                <a:gd name="connsiteX5" fmla="*/ 64629 w 120414"/>
                <a:gd name="connsiteY5" fmla="*/ 20872 h 163325"/>
                <a:gd name="connsiteX6" fmla="*/ 85650 w 120414"/>
                <a:gd name="connsiteY6" fmla="*/ 34476 h 163325"/>
                <a:gd name="connsiteX7" fmla="*/ 99180 w 120414"/>
                <a:gd name="connsiteY7" fmla="*/ 55535 h 163325"/>
                <a:gd name="connsiteX8" fmla="*/ 103578 w 120414"/>
                <a:gd name="connsiteY8" fmla="*/ 81625 h 163325"/>
                <a:gd name="connsiteX9" fmla="*/ 99180 w 120414"/>
                <a:gd name="connsiteY9" fmla="*/ 107715 h 163325"/>
                <a:gd name="connsiteX10" fmla="*/ 85799 w 120414"/>
                <a:gd name="connsiteY10" fmla="*/ 128811 h 163325"/>
                <a:gd name="connsiteX11" fmla="*/ 64815 w 120414"/>
                <a:gd name="connsiteY11" fmla="*/ 142266 h 163325"/>
                <a:gd name="connsiteX12" fmla="*/ 114983 w 120414"/>
                <a:gd name="connsiteY12" fmla="*/ 113492 h 163325"/>
                <a:gd name="connsiteX13" fmla="*/ 114983 w 120414"/>
                <a:gd name="connsiteY13" fmla="*/ 50130 h 163325"/>
                <a:gd name="connsiteX14" fmla="*/ 98845 w 120414"/>
                <a:gd name="connsiteY14" fmla="*/ 24040 h 163325"/>
                <a:gd name="connsiteX15" fmla="*/ 71487 w 120414"/>
                <a:gd name="connsiteY15" fmla="*/ 6187 h 163325"/>
                <a:gd name="connsiteX16" fmla="*/ 43161 w 120414"/>
                <a:gd name="connsiteY16" fmla="*/ 0 h 163325"/>
                <a:gd name="connsiteX17" fmla="*/ 0 w 120414"/>
                <a:gd name="connsiteY17" fmla="*/ 0 h 163325"/>
                <a:gd name="connsiteX18" fmla="*/ 0 w 120414"/>
                <a:gd name="connsiteY18" fmla="*/ 163325 h 163325"/>
                <a:gd name="connsiteX19" fmla="*/ 38688 w 120414"/>
                <a:gd name="connsiteY19" fmla="*/ 163325 h 163325"/>
                <a:gd name="connsiteX20" fmla="*/ 71487 w 120414"/>
                <a:gd name="connsiteY20" fmla="*/ 156989 h 163325"/>
                <a:gd name="connsiteX21" fmla="*/ 98509 w 120414"/>
                <a:gd name="connsiteY21" fmla="*/ 139322 h 163325"/>
                <a:gd name="connsiteX22" fmla="*/ 114760 w 120414"/>
                <a:gd name="connsiteY22" fmla="*/ 113232 h 16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0414" h="163325">
                  <a:moveTo>
                    <a:pt x="64704" y="142080"/>
                  </a:moveTo>
                  <a:cubicBezTo>
                    <a:pt x="56437" y="145074"/>
                    <a:pt x="47704" y="146564"/>
                    <a:pt x="38912" y="146478"/>
                  </a:cubicBezTo>
                  <a:lnTo>
                    <a:pt x="16549" y="146478"/>
                  </a:lnTo>
                  <a:lnTo>
                    <a:pt x="16549" y="16474"/>
                  </a:lnTo>
                  <a:lnTo>
                    <a:pt x="38539" y="16474"/>
                  </a:lnTo>
                  <a:cubicBezTo>
                    <a:pt x="47428" y="16361"/>
                    <a:pt x="56269" y="17850"/>
                    <a:pt x="64629" y="20872"/>
                  </a:cubicBezTo>
                  <a:cubicBezTo>
                    <a:pt x="72486" y="23938"/>
                    <a:pt x="79635" y="28566"/>
                    <a:pt x="85650" y="34476"/>
                  </a:cubicBezTo>
                  <a:cubicBezTo>
                    <a:pt x="91610" y="40450"/>
                    <a:pt x="96224" y="47630"/>
                    <a:pt x="99180" y="55535"/>
                  </a:cubicBezTo>
                  <a:cubicBezTo>
                    <a:pt x="102195" y="63898"/>
                    <a:pt x="103686" y="72735"/>
                    <a:pt x="103578" y="81625"/>
                  </a:cubicBezTo>
                  <a:cubicBezTo>
                    <a:pt x="103690" y="90516"/>
                    <a:pt x="102203" y="99353"/>
                    <a:pt x="99180" y="107715"/>
                  </a:cubicBezTo>
                  <a:cubicBezTo>
                    <a:pt x="96258" y="115613"/>
                    <a:pt x="91700" y="122803"/>
                    <a:pt x="85799" y="128811"/>
                  </a:cubicBezTo>
                  <a:cubicBezTo>
                    <a:pt x="79855" y="134752"/>
                    <a:pt x="72695" y="139342"/>
                    <a:pt x="64815" y="142266"/>
                  </a:cubicBezTo>
                  <a:moveTo>
                    <a:pt x="114983" y="113492"/>
                  </a:moveTo>
                  <a:cubicBezTo>
                    <a:pt x="122225" y="92993"/>
                    <a:pt x="122225" y="70630"/>
                    <a:pt x="114983" y="50130"/>
                  </a:cubicBezTo>
                  <a:cubicBezTo>
                    <a:pt x="111647" y="40324"/>
                    <a:pt x="106131" y="31404"/>
                    <a:pt x="98845" y="24040"/>
                  </a:cubicBezTo>
                  <a:cubicBezTo>
                    <a:pt x="91036" y="16288"/>
                    <a:pt x="81726" y="10213"/>
                    <a:pt x="71487" y="6187"/>
                  </a:cubicBezTo>
                  <a:cubicBezTo>
                    <a:pt x="62456" y="2562"/>
                    <a:pt x="52881" y="471"/>
                    <a:pt x="43161" y="0"/>
                  </a:cubicBezTo>
                  <a:lnTo>
                    <a:pt x="0" y="0"/>
                  </a:lnTo>
                  <a:lnTo>
                    <a:pt x="0" y="163325"/>
                  </a:lnTo>
                  <a:lnTo>
                    <a:pt x="38688" y="163325"/>
                  </a:lnTo>
                  <a:cubicBezTo>
                    <a:pt x="49929" y="163357"/>
                    <a:pt x="61066" y="161205"/>
                    <a:pt x="71487" y="156989"/>
                  </a:cubicBezTo>
                  <a:cubicBezTo>
                    <a:pt x="81618" y="153032"/>
                    <a:pt x="90820" y="147016"/>
                    <a:pt x="98509" y="139322"/>
                  </a:cubicBezTo>
                  <a:cubicBezTo>
                    <a:pt x="105826" y="131963"/>
                    <a:pt x="111383" y="123044"/>
                    <a:pt x="114760" y="113232"/>
                  </a:cubicBezTo>
                </a:path>
              </a:pathLst>
            </a:custGeom>
            <a:solidFill>
              <a:srgbClr val="E2E2E3"/>
            </a:solidFill>
            <a:ln w="3718" cap="flat">
              <a:noFill/>
              <a:prstDash val="solid"/>
              <a:miter/>
            </a:ln>
          </p:spPr>
          <p:txBody>
            <a:bodyPr rtlCol="0" anchor="ctr"/>
            <a:lstStyle/>
            <a:p>
              <a:endParaRPr lang="en-US" dirty="0"/>
            </a:p>
          </p:txBody>
        </p:sp>
        <p:sp>
          <p:nvSpPr>
            <p:cNvPr id="18" name="Freeform: Shape 17">
              <a:extLst>
                <a:ext uri="{FF2B5EF4-FFF2-40B4-BE49-F238E27FC236}">
                  <a16:creationId xmlns:a16="http://schemas.microsoft.com/office/drawing/2014/main" id="{8308E426-5DF1-4A62-8A7C-8417F3510962}"/>
                </a:ext>
              </a:extLst>
            </p:cNvPr>
            <p:cNvSpPr/>
            <p:nvPr/>
          </p:nvSpPr>
          <p:spPr>
            <a:xfrm>
              <a:off x="370754" y="6588754"/>
              <a:ext cx="167181" cy="167152"/>
            </a:xfrm>
            <a:custGeom>
              <a:avLst/>
              <a:gdLst>
                <a:gd name="connsiteX0" fmla="*/ 48014 w 167181"/>
                <a:gd name="connsiteY0" fmla="*/ 48062 h 167152"/>
                <a:gd name="connsiteX1" fmla="*/ 118646 w 167181"/>
                <a:gd name="connsiteY1" fmla="*/ 47877 h 167152"/>
                <a:gd name="connsiteX2" fmla="*/ 118830 w 167181"/>
                <a:gd name="connsiteY2" fmla="*/ 48062 h 167152"/>
                <a:gd name="connsiteX3" fmla="*/ 133739 w 167181"/>
                <a:gd name="connsiteY3" fmla="*/ 83544 h 167152"/>
                <a:gd name="connsiteX4" fmla="*/ 118830 w 167181"/>
                <a:gd name="connsiteY4" fmla="*/ 119027 h 167152"/>
                <a:gd name="connsiteX5" fmla="*/ 48014 w 167181"/>
                <a:gd name="connsiteY5" fmla="*/ 119027 h 167152"/>
                <a:gd name="connsiteX6" fmla="*/ 33292 w 167181"/>
                <a:gd name="connsiteY6" fmla="*/ 83507 h 167152"/>
                <a:gd name="connsiteX7" fmla="*/ 48014 w 167181"/>
                <a:gd name="connsiteY7" fmla="*/ 48024 h 167152"/>
                <a:gd name="connsiteX8" fmla="*/ 83460 w 167181"/>
                <a:gd name="connsiteY8" fmla="*/ 167108 h 167152"/>
                <a:gd name="connsiteX9" fmla="*/ 142573 w 167181"/>
                <a:gd name="connsiteY9" fmla="*/ 142806 h 167152"/>
                <a:gd name="connsiteX10" fmla="*/ 167172 w 167181"/>
                <a:gd name="connsiteY10" fmla="*/ 83693 h 167152"/>
                <a:gd name="connsiteX11" fmla="*/ 142573 w 167181"/>
                <a:gd name="connsiteY11" fmla="*/ 24543 h 167152"/>
                <a:gd name="connsiteX12" fmla="*/ 24924 w 167181"/>
                <a:gd name="connsiteY12" fmla="*/ 24189 h 167152"/>
                <a:gd name="connsiteX13" fmla="*/ 24533 w 167181"/>
                <a:gd name="connsiteY13" fmla="*/ 24580 h 167152"/>
                <a:gd name="connsiteX14" fmla="*/ 8 w 167181"/>
                <a:gd name="connsiteY14" fmla="*/ 83731 h 167152"/>
                <a:gd name="connsiteX15" fmla="*/ 24533 w 167181"/>
                <a:gd name="connsiteY15" fmla="*/ 142844 h 167152"/>
                <a:gd name="connsiteX16" fmla="*/ 83609 w 167181"/>
                <a:gd name="connsiteY16" fmla="*/ 167145 h 16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7181" h="167152">
                  <a:moveTo>
                    <a:pt x="48014" y="48062"/>
                  </a:moveTo>
                  <a:cubicBezTo>
                    <a:pt x="67467" y="28506"/>
                    <a:pt x="99090" y="28424"/>
                    <a:pt x="118646" y="47877"/>
                  </a:cubicBezTo>
                  <a:cubicBezTo>
                    <a:pt x="118707" y="47938"/>
                    <a:pt x="118769" y="48000"/>
                    <a:pt x="118830" y="48062"/>
                  </a:cubicBezTo>
                  <a:cubicBezTo>
                    <a:pt x="128486" y="57324"/>
                    <a:pt x="133882" y="70166"/>
                    <a:pt x="133739" y="83544"/>
                  </a:cubicBezTo>
                  <a:cubicBezTo>
                    <a:pt x="133931" y="96933"/>
                    <a:pt x="128527" y="109794"/>
                    <a:pt x="118830" y="119027"/>
                  </a:cubicBezTo>
                  <a:cubicBezTo>
                    <a:pt x="99245" y="138511"/>
                    <a:pt x="67599" y="138511"/>
                    <a:pt x="48014" y="119027"/>
                  </a:cubicBezTo>
                  <a:cubicBezTo>
                    <a:pt x="38418" y="109724"/>
                    <a:pt x="33090" y="96871"/>
                    <a:pt x="33292" y="83507"/>
                  </a:cubicBezTo>
                  <a:cubicBezTo>
                    <a:pt x="33145" y="70165"/>
                    <a:pt x="38464" y="57343"/>
                    <a:pt x="48014" y="48024"/>
                  </a:cubicBezTo>
                  <a:moveTo>
                    <a:pt x="83460" y="167108"/>
                  </a:moveTo>
                  <a:cubicBezTo>
                    <a:pt x="105663" y="167458"/>
                    <a:pt x="127035" y="158672"/>
                    <a:pt x="142573" y="142806"/>
                  </a:cubicBezTo>
                  <a:cubicBezTo>
                    <a:pt x="158615" y="127366"/>
                    <a:pt x="167524" y="105957"/>
                    <a:pt x="167172" y="83693"/>
                  </a:cubicBezTo>
                  <a:cubicBezTo>
                    <a:pt x="167485" y="61427"/>
                    <a:pt x="158583" y="40021"/>
                    <a:pt x="142573" y="24543"/>
                  </a:cubicBezTo>
                  <a:cubicBezTo>
                    <a:pt x="110183" y="-8042"/>
                    <a:pt x="57510" y="-8201"/>
                    <a:pt x="24924" y="24189"/>
                  </a:cubicBezTo>
                  <a:cubicBezTo>
                    <a:pt x="24793" y="24319"/>
                    <a:pt x="24663" y="24450"/>
                    <a:pt x="24533" y="24580"/>
                  </a:cubicBezTo>
                  <a:cubicBezTo>
                    <a:pt x="8591" y="40099"/>
                    <a:pt x="-276" y="61485"/>
                    <a:pt x="8" y="83731"/>
                  </a:cubicBezTo>
                  <a:cubicBezTo>
                    <a:pt x="-310" y="105972"/>
                    <a:pt x="8564" y="127360"/>
                    <a:pt x="24533" y="142844"/>
                  </a:cubicBezTo>
                  <a:cubicBezTo>
                    <a:pt x="40084" y="158666"/>
                    <a:pt x="61426" y="167445"/>
                    <a:pt x="83609" y="167145"/>
                  </a:cubicBezTo>
                </a:path>
              </a:pathLst>
            </a:custGeom>
            <a:solidFill>
              <a:srgbClr val="E2E2E3"/>
            </a:solidFill>
            <a:ln w="3718"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10083DD0-F907-4D31-B799-28A9B16F7DAE}"/>
                </a:ext>
              </a:extLst>
            </p:cNvPr>
            <p:cNvSpPr/>
            <p:nvPr/>
          </p:nvSpPr>
          <p:spPr>
            <a:xfrm>
              <a:off x="552052" y="6589991"/>
              <a:ext cx="121133" cy="164789"/>
            </a:xfrm>
            <a:custGeom>
              <a:avLst/>
              <a:gdLst>
                <a:gd name="connsiteX0" fmla="*/ 33321 w 121133"/>
                <a:gd name="connsiteY0" fmla="*/ 32848 h 164789"/>
                <a:gd name="connsiteX1" fmla="*/ 51957 w 121133"/>
                <a:gd name="connsiteY1" fmla="*/ 32848 h 164789"/>
                <a:gd name="connsiteX2" fmla="*/ 72382 w 121133"/>
                <a:gd name="connsiteY2" fmla="*/ 39371 h 164789"/>
                <a:gd name="connsiteX3" fmla="*/ 78941 w 121133"/>
                <a:gd name="connsiteY3" fmla="*/ 55211 h 164789"/>
                <a:gd name="connsiteX4" fmla="*/ 56914 w 121133"/>
                <a:gd name="connsiteY4" fmla="*/ 78543 h 164789"/>
                <a:gd name="connsiteX5" fmla="*/ 45732 w 121133"/>
                <a:gd name="connsiteY5" fmla="*/ 78543 h 164789"/>
                <a:gd name="connsiteX6" fmla="*/ 45732 w 121133"/>
                <a:gd name="connsiteY6" fmla="*/ 78543 h 164789"/>
                <a:gd name="connsiteX7" fmla="*/ 33321 w 121133"/>
                <a:gd name="connsiteY7" fmla="*/ 78543 h 164789"/>
                <a:gd name="connsiteX8" fmla="*/ 33321 w 121133"/>
                <a:gd name="connsiteY8" fmla="*/ 164790 h 164789"/>
                <a:gd name="connsiteX9" fmla="*/ 33321 w 121133"/>
                <a:gd name="connsiteY9" fmla="*/ 91924 h 164789"/>
                <a:gd name="connsiteX10" fmla="*/ 80656 w 121133"/>
                <a:gd name="connsiteY10" fmla="*/ 164790 h 164789"/>
                <a:gd name="connsiteX11" fmla="*/ 121133 w 121133"/>
                <a:gd name="connsiteY11" fmla="*/ 164790 h 164789"/>
                <a:gd name="connsiteX12" fmla="*/ 82818 w 121133"/>
                <a:gd name="connsiteY12" fmla="*/ 105155 h 164789"/>
                <a:gd name="connsiteX13" fmla="*/ 102423 w 121133"/>
                <a:gd name="connsiteY13" fmla="*/ 89725 h 164789"/>
                <a:gd name="connsiteX14" fmla="*/ 112859 w 121133"/>
                <a:gd name="connsiteY14" fmla="*/ 58342 h 164789"/>
                <a:gd name="connsiteX15" fmla="*/ 112859 w 121133"/>
                <a:gd name="connsiteY15" fmla="*/ 54205 h 164789"/>
                <a:gd name="connsiteX16" fmla="*/ 96906 w 121133"/>
                <a:gd name="connsiteY16" fmla="*/ 16933 h 164789"/>
                <a:gd name="connsiteX17" fmla="*/ 53746 w 121133"/>
                <a:gd name="connsiteY17" fmla="*/ 12 h 164789"/>
                <a:gd name="connsiteX18" fmla="*/ 0 w 121133"/>
                <a:gd name="connsiteY18" fmla="*/ 12 h 164789"/>
                <a:gd name="connsiteX19" fmla="*/ 0 w 121133"/>
                <a:gd name="connsiteY19" fmla="*/ 164790 h 16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133" h="164789">
                  <a:moveTo>
                    <a:pt x="33321" y="32848"/>
                  </a:moveTo>
                  <a:lnTo>
                    <a:pt x="51957" y="32848"/>
                  </a:lnTo>
                  <a:cubicBezTo>
                    <a:pt x="59325" y="32508"/>
                    <a:pt x="66575" y="34822"/>
                    <a:pt x="72382" y="39371"/>
                  </a:cubicBezTo>
                  <a:cubicBezTo>
                    <a:pt x="76586" y="43570"/>
                    <a:pt x="78945" y="49269"/>
                    <a:pt x="78941" y="55211"/>
                  </a:cubicBezTo>
                  <a:cubicBezTo>
                    <a:pt x="79296" y="67735"/>
                    <a:pt x="69437" y="78178"/>
                    <a:pt x="56914" y="78543"/>
                  </a:cubicBezTo>
                  <a:lnTo>
                    <a:pt x="45732" y="78543"/>
                  </a:lnTo>
                  <a:lnTo>
                    <a:pt x="45732" y="78543"/>
                  </a:lnTo>
                  <a:lnTo>
                    <a:pt x="33321" y="78543"/>
                  </a:lnTo>
                  <a:close/>
                  <a:moveTo>
                    <a:pt x="33321" y="164790"/>
                  </a:moveTo>
                  <a:lnTo>
                    <a:pt x="33321" y="91924"/>
                  </a:lnTo>
                  <a:lnTo>
                    <a:pt x="80656" y="164790"/>
                  </a:lnTo>
                  <a:lnTo>
                    <a:pt x="121133" y="164790"/>
                  </a:lnTo>
                  <a:lnTo>
                    <a:pt x="82818" y="105155"/>
                  </a:lnTo>
                  <a:cubicBezTo>
                    <a:pt x="90932" y="102416"/>
                    <a:pt x="97853" y="96968"/>
                    <a:pt x="102423" y="89725"/>
                  </a:cubicBezTo>
                  <a:cubicBezTo>
                    <a:pt x="109132" y="80630"/>
                    <a:pt x="112784" y="69643"/>
                    <a:pt x="112859" y="58342"/>
                  </a:cubicBezTo>
                  <a:lnTo>
                    <a:pt x="112859" y="54205"/>
                  </a:lnTo>
                  <a:cubicBezTo>
                    <a:pt x="112859" y="35979"/>
                    <a:pt x="106933" y="26810"/>
                    <a:pt x="96906" y="16933"/>
                  </a:cubicBezTo>
                  <a:cubicBezTo>
                    <a:pt x="85337" y="5785"/>
                    <a:pt x="69810" y="-303"/>
                    <a:pt x="53746" y="12"/>
                  </a:cubicBezTo>
                  <a:lnTo>
                    <a:pt x="0" y="12"/>
                  </a:lnTo>
                  <a:lnTo>
                    <a:pt x="0" y="164790"/>
                  </a:lnTo>
                  <a:close/>
                </a:path>
              </a:pathLst>
            </a:custGeom>
            <a:solidFill>
              <a:srgbClr val="E2E2E3"/>
            </a:solidFill>
            <a:ln w="3718" cap="flat">
              <a:noFill/>
              <a:prstDash val="solid"/>
              <a:miter/>
            </a:ln>
          </p:spPr>
          <p:txBody>
            <a:bodyPr rtlCol="0" anchor="ctr"/>
            <a:lstStyle/>
            <a:p>
              <a:endParaRPr lang="en-US" dirty="0"/>
            </a:p>
          </p:txBody>
        </p:sp>
        <p:sp>
          <p:nvSpPr>
            <p:cNvPr id="20" name="Freeform: Shape 19">
              <a:extLst>
                <a:ext uri="{FF2B5EF4-FFF2-40B4-BE49-F238E27FC236}">
                  <a16:creationId xmlns:a16="http://schemas.microsoft.com/office/drawing/2014/main" id="{4FB7B3CB-DD9B-4147-943D-9685E9BA2329}"/>
                </a:ext>
              </a:extLst>
            </p:cNvPr>
            <p:cNvSpPr/>
            <p:nvPr/>
          </p:nvSpPr>
          <p:spPr>
            <a:xfrm>
              <a:off x="681161" y="6590003"/>
              <a:ext cx="114275" cy="164778"/>
            </a:xfrm>
            <a:custGeom>
              <a:avLst/>
              <a:gdLst>
                <a:gd name="connsiteX0" fmla="*/ 40552 w 114275"/>
                <a:gd name="connsiteY0" fmla="*/ 164778 h 164778"/>
                <a:gd name="connsiteX1" fmla="*/ 73798 w 114275"/>
                <a:gd name="connsiteY1" fmla="*/ 164778 h 164778"/>
                <a:gd name="connsiteX2" fmla="*/ 73798 w 114275"/>
                <a:gd name="connsiteY2" fmla="*/ 32836 h 164778"/>
                <a:gd name="connsiteX3" fmla="*/ 114275 w 114275"/>
                <a:gd name="connsiteY3" fmla="*/ 32836 h 164778"/>
                <a:gd name="connsiteX4" fmla="*/ 114275 w 114275"/>
                <a:gd name="connsiteY4" fmla="*/ 0 h 164778"/>
                <a:gd name="connsiteX5" fmla="*/ 0 w 114275"/>
                <a:gd name="connsiteY5" fmla="*/ 0 h 164778"/>
                <a:gd name="connsiteX6" fmla="*/ 0 w 114275"/>
                <a:gd name="connsiteY6" fmla="*/ 32836 h 164778"/>
                <a:gd name="connsiteX7" fmla="*/ 40552 w 114275"/>
                <a:gd name="connsiteY7" fmla="*/ 32836 h 164778"/>
                <a:gd name="connsiteX8" fmla="*/ 40552 w 114275"/>
                <a:gd name="connsiteY8" fmla="*/ 164778 h 16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275" h="164778">
                  <a:moveTo>
                    <a:pt x="40552" y="164778"/>
                  </a:moveTo>
                  <a:lnTo>
                    <a:pt x="73798" y="164778"/>
                  </a:lnTo>
                  <a:lnTo>
                    <a:pt x="73798" y="32836"/>
                  </a:lnTo>
                  <a:lnTo>
                    <a:pt x="114275" y="32836"/>
                  </a:lnTo>
                  <a:lnTo>
                    <a:pt x="114275" y="0"/>
                  </a:lnTo>
                  <a:lnTo>
                    <a:pt x="0" y="0"/>
                  </a:lnTo>
                  <a:lnTo>
                    <a:pt x="0" y="32836"/>
                  </a:lnTo>
                  <a:lnTo>
                    <a:pt x="40552" y="32836"/>
                  </a:lnTo>
                  <a:lnTo>
                    <a:pt x="40552" y="164778"/>
                  </a:lnTo>
                  <a:close/>
                </a:path>
              </a:pathLst>
            </a:custGeom>
            <a:solidFill>
              <a:srgbClr val="E2E2E3"/>
            </a:solidFill>
            <a:ln w="3718"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FABD583C-55CD-4554-AD1F-87CE3EE2B3BE}"/>
                </a:ext>
              </a:extLst>
            </p:cNvPr>
            <p:cNvSpPr/>
            <p:nvPr/>
          </p:nvSpPr>
          <p:spPr>
            <a:xfrm>
              <a:off x="809749" y="6590003"/>
              <a:ext cx="121095" cy="164778"/>
            </a:xfrm>
            <a:custGeom>
              <a:avLst/>
              <a:gdLst>
                <a:gd name="connsiteX0" fmla="*/ 33023 w 121095"/>
                <a:gd name="connsiteY0" fmla="*/ 98770 h 164778"/>
                <a:gd name="connsiteX1" fmla="*/ 88110 w 121095"/>
                <a:gd name="connsiteY1" fmla="*/ 98770 h 164778"/>
                <a:gd name="connsiteX2" fmla="*/ 88110 w 121095"/>
                <a:gd name="connsiteY2" fmla="*/ 164778 h 164778"/>
                <a:gd name="connsiteX3" fmla="*/ 121096 w 121095"/>
                <a:gd name="connsiteY3" fmla="*/ 164778 h 164778"/>
                <a:gd name="connsiteX4" fmla="*/ 121096 w 121095"/>
                <a:gd name="connsiteY4" fmla="*/ 0 h 164778"/>
                <a:gd name="connsiteX5" fmla="*/ 88110 w 121095"/>
                <a:gd name="connsiteY5" fmla="*/ 0 h 164778"/>
                <a:gd name="connsiteX6" fmla="*/ 88110 w 121095"/>
                <a:gd name="connsiteY6" fmla="*/ 65934 h 164778"/>
                <a:gd name="connsiteX7" fmla="*/ 33023 w 121095"/>
                <a:gd name="connsiteY7" fmla="*/ 65934 h 164778"/>
                <a:gd name="connsiteX8" fmla="*/ 33023 w 121095"/>
                <a:gd name="connsiteY8" fmla="*/ 0 h 164778"/>
                <a:gd name="connsiteX9" fmla="*/ 0 w 121095"/>
                <a:gd name="connsiteY9" fmla="*/ 0 h 164778"/>
                <a:gd name="connsiteX10" fmla="*/ 0 w 121095"/>
                <a:gd name="connsiteY10" fmla="*/ 164778 h 164778"/>
                <a:gd name="connsiteX11" fmla="*/ 33023 w 121095"/>
                <a:gd name="connsiteY11" fmla="*/ 164778 h 164778"/>
                <a:gd name="connsiteX12" fmla="*/ 33023 w 121095"/>
                <a:gd name="connsiteY12" fmla="*/ 98770 h 16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095" h="164778">
                  <a:moveTo>
                    <a:pt x="33023" y="98770"/>
                  </a:moveTo>
                  <a:lnTo>
                    <a:pt x="88110" y="98770"/>
                  </a:lnTo>
                  <a:lnTo>
                    <a:pt x="88110" y="164778"/>
                  </a:lnTo>
                  <a:lnTo>
                    <a:pt x="121096" y="164778"/>
                  </a:lnTo>
                  <a:lnTo>
                    <a:pt x="121096" y="0"/>
                  </a:lnTo>
                  <a:lnTo>
                    <a:pt x="88110" y="0"/>
                  </a:lnTo>
                  <a:lnTo>
                    <a:pt x="88110" y="65934"/>
                  </a:lnTo>
                  <a:lnTo>
                    <a:pt x="33023" y="65934"/>
                  </a:lnTo>
                  <a:lnTo>
                    <a:pt x="33023" y="0"/>
                  </a:lnTo>
                  <a:lnTo>
                    <a:pt x="0" y="0"/>
                  </a:lnTo>
                  <a:lnTo>
                    <a:pt x="0" y="164778"/>
                  </a:lnTo>
                  <a:lnTo>
                    <a:pt x="33023" y="164778"/>
                  </a:lnTo>
                  <a:lnTo>
                    <a:pt x="33023" y="98770"/>
                  </a:lnTo>
                  <a:close/>
                </a:path>
              </a:pathLst>
            </a:custGeom>
            <a:solidFill>
              <a:srgbClr val="E2E2E3"/>
            </a:solidFill>
            <a:ln w="3718"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4C68DE25-FDEC-4607-950A-0C1B563C978C}"/>
                </a:ext>
              </a:extLst>
            </p:cNvPr>
            <p:cNvSpPr/>
            <p:nvPr/>
          </p:nvSpPr>
          <p:spPr>
            <a:xfrm>
              <a:off x="223838" y="6589593"/>
              <a:ext cx="132463" cy="168580"/>
            </a:xfrm>
            <a:custGeom>
              <a:avLst/>
              <a:gdLst>
                <a:gd name="connsiteX0" fmla="*/ 0 w 132463"/>
                <a:gd name="connsiteY0" fmla="*/ 165412 h 168580"/>
                <a:gd name="connsiteX1" fmla="*/ 33097 w 132463"/>
                <a:gd name="connsiteY1" fmla="*/ 165412 h 168580"/>
                <a:gd name="connsiteX2" fmla="*/ 33097 w 132463"/>
                <a:gd name="connsiteY2" fmla="*/ 73910 h 168580"/>
                <a:gd name="connsiteX3" fmla="*/ 132464 w 132463"/>
                <a:gd name="connsiteY3" fmla="*/ 168580 h 168580"/>
                <a:gd name="connsiteX4" fmla="*/ 132464 w 132463"/>
                <a:gd name="connsiteY4" fmla="*/ 0 h 168580"/>
                <a:gd name="connsiteX5" fmla="*/ 99255 w 132463"/>
                <a:gd name="connsiteY5" fmla="*/ 0 h 168580"/>
                <a:gd name="connsiteX6" fmla="*/ 99255 w 132463"/>
                <a:gd name="connsiteY6" fmla="*/ 91502 h 168580"/>
                <a:gd name="connsiteX7" fmla="*/ 48490 w 132463"/>
                <a:gd name="connsiteY7" fmla="*/ 43161 h 168580"/>
                <a:gd name="connsiteX8" fmla="*/ 0 w 132463"/>
                <a:gd name="connsiteY8" fmla="*/ 91651 h 168580"/>
                <a:gd name="connsiteX9" fmla="*/ 0 w 132463"/>
                <a:gd name="connsiteY9" fmla="*/ 165412 h 16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463" h="168580">
                  <a:moveTo>
                    <a:pt x="0" y="165412"/>
                  </a:moveTo>
                  <a:lnTo>
                    <a:pt x="33097" y="165412"/>
                  </a:lnTo>
                  <a:lnTo>
                    <a:pt x="33097" y="73910"/>
                  </a:lnTo>
                  <a:lnTo>
                    <a:pt x="132464" y="168580"/>
                  </a:lnTo>
                  <a:lnTo>
                    <a:pt x="132464" y="0"/>
                  </a:lnTo>
                  <a:lnTo>
                    <a:pt x="99255" y="0"/>
                  </a:lnTo>
                  <a:lnTo>
                    <a:pt x="99255" y="91502"/>
                  </a:lnTo>
                  <a:lnTo>
                    <a:pt x="48490" y="43161"/>
                  </a:lnTo>
                  <a:lnTo>
                    <a:pt x="0" y="91651"/>
                  </a:lnTo>
                  <a:lnTo>
                    <a:pt x="0" y="165412"/>
                  </a:lnTo>
                  <a:close/>
                </a:path>
              </a:pathLst>
            </a:custGeom>
            <a:solidFill>
              <a:srgbClr val="E2E2E3"/>
            </a:solidFill>
            <a:ln w="3718" cap="flat">
              <a:no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C394CB6C-AED2-489D-9E6B-5051A8A5A7BB}"/>
                </a:ext>
              </a:extLst>
            </p:cNvPr>
            <p:cNvSpPr/>
            <p:nvPr/>
          </p:nvSpPr>
          <p:spPr>
            <a:xfrm>
              <a:off x="223838" y="6586537"/>
              <a:ext cx="48490" cy="94707"/>
            </a:xfrm>
            <a:custGeom>
              <a:avLst/>
              <a:gdLst>
                <a:gd name="connsiteX0" fmla="*/ 0 w 48490"/>
                <a:gd name="connsiteY0" fmla="*/ 94707 h 94707"/>
                <a:gd name="connsiteX1" fmla="*/ 48490 w 48490"/>
                <a:gd name="connsiteY1" fmla="*/ 46180 h 94707"/>
                <a:gd name="connsiteX2" fmla="*/ 0 w 48490"/>
                <a:gd name="connsiteY2" fmla="*/ 0 h 94707"/>
                <a:gd name="connsiteX3" fmla="*/ 0 w 48490"/>
                <a:gd name="connsiteY3" fmla="*/ 94707 h 94707"/>
              </a:gdLst>
              <a:ahLst/>
              <a:cxnLst>
                <a:cxn ang="0">
                  <a:pos x="connsiteX0" y="connsiteY0"/>
                </a:cxn>
                <a:cxn ang="0">
                  <a:pos x="connsiteX1" y="connsiteY1"/>
                </a:cxn>
                <a:cxn ang="0">
                  <a:pos x="connsiteX2" y="connsiteY2"/>
                </a:cxn>
                <a:cxn ang="0">
                  <a:pos x="connsiteX3" y="connsiteY3"/>
                </a:cxn>
              </a:cxnLst>
              <a:rect l="l" t="t" r="r" b="b"/>
              <a:pathLst>
                <a:path w="48490" h="94707">
                  <a:moveTo>
                    <a:pt x="0" y="94707"/>
                  </a:moveTo>
                  <a:lnTo>
                    <a:pt x="48490" y="46180"/>
                  </a:lnTo>
                  <a:lnTo>
                    <a:pt x="0" y="0"/>
                  </a:lnTo>
                  <a:lnTo>
                    <a:pt x="0" y="94707"/>
                  </a:lnTo>
                  <a:close/>
                </a:path>
              </a:pathLst>
            </a:custGeom>
            <a:solidFill>
              <a:schemeClr val="accent3"/>
            </a:solidFill>
            <a:ln w="3718"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3551727447"/>
      </p:ext>
    </p:extLst>
  </p:cSld>
  <p:clrMapOvr>
    <a:overrideClrMapping bg1="dk1" tx1="lt1" bg2="dk2" tx2="lt2" accent1="accent1" accent2="accent2" accent3="accent3" accent4="accent4" accent5="accent5" accent6="accent6" hlink="hlink" folHlink="folHlink"/>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ubsection Divider Teal">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5023233-F6FC-4927-94AC-4F8681FC8475}"/>
              </a:ext>
            </a:extLst>
          </p:cNvPr>
          <p:cNvSpPr>
            <a:spLocks noGrp="1"/>
          </p:cNvSpPr>
          <p:nvPr>
            <p:ph type="body" sz="quarter" idx="21" hasCustomPrompt="1"/>
          </p:nvPr>
        </p:nvSpPr>
        <p:spPr>
          <a:xfrm>
            <a:off x="2714625" y="1828800"/>
            <a:ext cx="6762750" cy="3200400"/>
          </a:xfrm>
          <a:ln>
            <a:solidFill>
              <a:schemeClr val="tx1"/>
            </a:solidFill>
          </a:ln>
        </p:spPr>
        <p:txBody>
          <a:bodyPr/>
          <a:lstStyle>
            <a:lvl1pPr>
              <a:defRPr/>
            </a:lvl1pPr>
          </a:lstStyle>
          <a:p>
            <a:pPr lvl="0"/>
            <a:r>
              <a:rPr lang="en-US"/>
              <a:t> </a:t>
            </a:r>
          </a:p>
        </p:txBody>
      </p:sp>
      <p:sp>
        <p:nvSpPr>
          <p:cNvPr id="66" name="Text Placeholder 43">
            <a:extLst>
              <a:ext uri="{FF2B5EF4-FFF2-40B4-BE49-F238E27FC236}">
                <a16:creationId xmlns:a16="http://schemas.microsoft.com/office/drawing/2014/main" id="{B71C1A23-9EDF-4C92-98F1-0130A7178B36}"/>
              </a:ext>
            </a:extLst>
          </p:cNvPr>
          <p:cNvSpPr>
            <a:spLocks noGrp="1"/>
          </p:cNvSpPr>
          <p:nvPr>
            <p:ph type="body" sz="quarter" idx="27" hasCustomPrompt="1"/>
          </p:nvPr>
        </p:nvSpPr>
        <p:spPr>
          <a:xfrm>
            <a:off x="2714625" y="1828800"/>
            <a:ext cx="272115" cy="272115"/>
          </a:xfrm>
          <a:custGeom>
            <a:avLst/>
            <a:gdLst>
              <a:gd name="connsiteX0" fmla="*/ 0 w 272115"/>
              <a:gd name="connsiteY0" fmla="*/ 0 h 272115"/>
              <a:gd name="connsiteX1" fmla="*/ 272115 w 272115"/>
              <a:gd name="connsiteY1" fmla="*/ 0 h 272115"/>
              <a:gd name="connsiteX2" fmla="*/ 0 w 272115"/>
              <a:gd name="connsiteY2" fmla="*/ 272115 h 272115"/>
            </a:gdLst>
            <a:ahLst/>
            <a:cxnLst>
              <a:cxn ang="0">
                <a:pos x="connsiteX0" y="connsiteY0"/>
              </a:cxn>
              <a:cxn ang="0">
                <a:pos x="connsiteX1" y="connsiteY1"/>
              </a:cxn>
              <a:cxn ang="0">
                <a:pos x="connsiteX2" y="connsiteY2"/>
              </a:cxn>
            </a:cxnLst>
            <a:rect l="l" t="t" r="r" b="b"/>
            <a:pathLst>
              <a:path w="272115" h="272115">
                <a:moveTo>
                  <a:pt x="0" y="0"/>
                </a:moveTo>
                <a:lnTo>
                  <a:pt x="272115" y="0"/>
                </a:lnTo>
                <a:lnTo>
                  <a:pt x="0" y="272115"/>
                </a:lnTo>
                <a:close/>
              </a:path>
            </a:pathLst>
          </a:custGeom>
          <a:solidFill>
            <a:schemeClr val="tx1"/>
          </a:solidFill>
        </p:spPr>
        <p:txBody>
          <a:bodyPr wrap="square">
            <a:noAutofit/>
          </a:bodyPr>
          <a:lstStyle/>
          <a:p>
            <a:pPr lvl="0"/>
            <a:r>
              <a:rPr lang="en-US"/>
              <a:t> </a:t>
            </a:r>
          </a:p>
        </p:txBody>
      </p:sp>
      <p:sp>
        <p:nvSpPr>
          <p:cNvPr id="2" name="Title 1">
            <a:extLst>
              <a:ext uri="{FF2B5EF4-FFF2-40B4-BE49-F238E27FC236}">
                <a16:creationId xmlns:a16="http://schemas.microsoft.com/office/drawing/2014/main" id="{844F0621-2390-4957-AD47-60FDBAA34491}"/>
              </a:ext>
            </a:extLst>
          </p:cNvPr>
          <p:cNvSpPr>
            <a:spLocks noGrp="1"/>
          </p:cNvSpPr>
          <p:nvPr>
            <p:ph type="title" hasCustomPrompt="1"/>
          </p:nvPr>
        </p:nvSpPr>
        <p:spPr>
          <a:xfrm>
            <a:off x="3028950" y="2232661"/>
            <a:ext cx="6134100" cy="2392678"/>
          </a:xfrm>
        </p:spPr>
        <p:txBody>
          <a:bodyPr anchor="ctr"/>
          <a:lstStyle>
            <a:lvl1pPr algn="ctr">
              <a:defRPr sz="2800" b="1">
                <a:solidFill>
                  <a:schemeClr val="tx1"/>
                </a:solidFill>
              </a:defRPr>
            </a:lvl1pPr>
          </a:lstStyle>
          <a:p>
            <a:r>
              <a:rPr lang="en-US"/>
              <a:t>Click to insert section divider name</a:t>
            </a:r>
          </a:p>
        </p:txBody>
      </p:sp>
      <p:sp>
        <p:nvSpPr>
          <p:cNvPr id="36" name="Slide Number Placeholder 4">
            <a:extLst>
              <a:ext uri="{FF2B5EF4-FFF2-40B4-BE49-F238E27FC236}">
                <a16:creationId xmlns:a16="http://schemas.microsoft.com/office/drawing/2014/main" id="{6A3B74FE-6C78-45C8-B9FA-8391A6052964}"/>
              </a:ext>
            </a:extLst>
          </p:cNvPr>
          <p:cNvSpPr>
            <a:spLocks noGrp="1"/>
          </p:cNvSpPr>
          <p:nvPr>
            <p:ph type="sldNum" sz="quarter" idx="12"/>
          </p:nvPr>
        </p:nvSpPr>
        <p:spPr>
          <a:xfrm>
            <a:off x="11610974" y="6538912"/>
            <a:ext cx="445293" cy="263525"/>
          </a:xfrm>
        </p:spPr>
        <p:txBody>
          <a:bodyPr/>
          <a:lstStyle/>
          <a:p>
            <a:fld id="{5034EE70-12A8-400F-8E3D-398CDD8B315D}" type="slidenum">
              <a:rPr lang="en-US" smtClean="0"/>
              <a:pPr/>
              <a:t>‹#›</a:t>
            </a:fld>
            <a:endParaRPr lang="en-US" dirty="0"/>
          </a:p>
        </p:txBody>
      </p:sp>
      <p:sp>
        <p:nvSpPr>
          <p:cNvPr id="49" name="TextBox 48">
            <a:extLst>
              <a:ext uri="{FF2B5EF4-FFF2-40B4-BE49-F238E27FC236}">
                <a16:creationId xmlns:a16="http://schemas.microsoft.com/office/drawing/2014/main" id="{71315377-B799-4E9E-99F8-42F78BAA7BD3}"/>
              </a:ext>
            </a:extLst>
          </p:cNvPr>
          <p:cNvSpPr txBox="1"/>
          <p:nvPr userDrawn="1"/>
        </p:nvSpPr>
        <p:spPr>
          <a:xfrm>
            <a:off x="9817769" y="6576218"/>
            <a:ext cx="1771776" cy="171450"/>
          </a:xfrm>
          <a:prstGeom prst="rect">
            <a:avLst/>
          </a:prstGeom>
          <a:noFill/>
        </p:spPr>
        <p:txBody>
          <a:bodyPr wrap="square" rtlCol="0">
            <a:noAutofit/>
          </a:bodyPr>
          <a:lstStyle/>
          <a:p>
            <a:pPr algn="ctr">
              <a:lnSpc>
                <a:spcPct val="90000"/>
              </a:lnSpc>
              <a:spcAft>
                <a:spcPts val="600"/>
              </a:spcAft>
            </a:pPr>
            <a:r>
              <a:rPr lang="en-US" sz="700" cap="all" spc="10" baseline="0" dirty="0"/>
              <a:t>Proprietary and Confidential</a:t>
            </a:r>
          </a:p>
        </p:txBody>
      </p:sp>
      <p:sp>
        <p:nvSpPr>
          <p:cNvPr id="35" name="Freeform: Shape 34">
            <a:extLst>
              <a:ext uri="{FF2B5EF4-FFF2-40B4-BE49-F238E27FC236}">
                <a16:creationId xmlns:a16="http://schemas.microsoft.com/office/drawing/2014/main" id="{F25C5F94-5CB8-4D8F-9531-B808017F917B}"/>
              </a:ext>
            </a:extLst>
          </p:cNvPr>
          <p:cNvSpPr/>
          <p:nvPr userDrawn="1"/>
        </p:nvSpPr>
        <p:spPr>
          <a:xfrm>
            <a:off x="223837" y="223838"/>
            <a:ext cx="11744326" cy="6262686"/>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dirty="0">
              <a:solidFill>
                <a:schemeClr val="tx1"/>
              </a:solidFill>
            </a:endParaRPr>
          </a:p>
        </p:txBody>
      </p:sp>
      <p:sp>
        <p:nvSpPr>
          <p:cNvPr id="24" name="Footer Placeholder 4">
            <a:extLst>
              <a:ext uri="{FF2B5EF4-FFF2-40B4-BE49-F238E27FC236}">
                <a16:creationId xmlns:a16="http://schemas.microsoft.com/office/drawing/2014/main" id="{8AA76261-3AFF-452D-8EC9-F16F7C0637D3}"/>
              </a:ext>
            </a:extLst>
          </p:cNvPr>
          <p:cNvSpPr>
            <a:spLocks noGrp="1"/>
          </p:cNvSpPr>
          <p:nvPr>
            <p:ph type="ftr" sz="quarter" idx="3"/>
          </p:nvPr>
        </p:nvSpPr>
        <p:spPr>
          <a:xfrm>
            <a:off x="4648200" y="6534150"/>
            <a:ext cx="5169569" cy="263525"/>
          </a:xfrm>
          <a:prstGeom prst="rect">
            <a:avLst/>
          </a:prstGeom>
        </p:spPr>
        <p:txBody>
          <a:bodyPr vert="horz" wrap="square" lIns="91440" tIns="45720" rIns="91440" bIns="45720" rtlCol="0" anchor="ctr">
            <a:noAutofit/>
          </a:bodyPr>
          <a:lstStyle>
            <a:lvl1pPr algn="r">
              <a:lnSpc>
                <a:spcPct val="90000"/>
              </a:lnSpc>
              <a:spcAft>
                <a:spcPts val="600"/>
              </a:spcAft>
              <a:defRPr sz="600">
                <a:solidFill>
                  <a:schemeClr val="tx1"/>
                </a:solidFill>
              </a:defRPr>
            </a:lvl1pPr>
          </a:lstStyle>
          <a:p>
            <a:endParaRPr lang="en-US" sz="600" noProof="0" dirty="0"/>
          </a:p>
        </p:txBody>
      </p:sp>
      <p:grpSp>
        <p:nvGrpSpPr>
          <p:cNvPr id="9" name="Graphic 46">
            <a:extLst>
              <a:ext uri="{FF2B5EF4-FFF2-40B4-BE49-F238E27FC236}">
                <a16:creationId xmlns:a16="http://schemas.microsoft.com/office/drawing/2014/main" id="{08946ACE-AD7B-468F-AA88-A368A0ADDAE5}"/>
              </a:ext>
            </a:extLst>
          </p:cNvPr>
          <p:cNvGrpSpPr/>
          <p:nvPr userDrawn="1"/>
        </p:nvGrpSpPr>
        <p:grpSpPr>
          <a:xfrm>
            <a:off x="223838" y="6586537"/>
            <a:ext cx="1852878" cy="171636"/>
            <a:chOff x="223838" y="6586537"/>
            <a:chExt cx="1852878" cy="171636"/>
          </a:xfrm>
          <a:solidFill>
            <a:srgbClr val="E2E2E3"/>
          </a:solidFill>
        </p:grpSpPr>
        <p:sp>
          <p:nvSpPr>
            <p:cNvPr id="10" name="Freeform: Shape 9">
              <a:extLst>
                <a:ext uri="{FF2B5EF4-FFF2-40B4-BE49-F238E27FC236}">
                  <a16:creationId xmlns:a16="http://schemas.microsoft.com/office/drawing/2014/main" id="{DD7E4484-7F85-4E27-B07A-1083CF441D53}"/>
                </a:ext>
              </a:extLst>
            </p:cNvPr>
            <p:cNvSpPr/>
            <p:nvPr/>
          </p:nvSpPr>
          <p:spPr>
            <a:xfrm>
              <a:off x="1015600" y="6590823"/>
              <a:ext cx="114610" cy="163250"/>
            </a:xfrm>
            <a:custGeom>
              <a:avLst/>
              <a:gdLst>
                <a:gd name="connsiteX0" fmla="*/ 97913 w 114610"/>
                <a:gd name="connsiteY0" fmla="*/ 163250 h 163250"/>
                <a:gd name="connsiteX1" fmla="*/ 114611 w 114610"/>
                <a:gd name="connsiteY1" fmla="*/ 163250 h 163250"/>
                <a:gd name="connsiteX2" fmla="*/ 114611 w 114610"/>
                <a:gd name="connsiteY2" fmla="*/ 0 h 163250"/>
                <a:gd name="connsiteX3" fmla="*/ 97913 w 114610"/>
                <a:gd name="connsiteY3" fmla="*/ 0 h 163250"/>
                <a:gd name="connsiteX4" fmla="*/ 97913 w 114610"/>
                <a:gd name="connsiteY4" fmla="*/ 73351 h 163250"/>
                <a:gd name="connsiteX5" fmla="*/ 16698 w 114610"/>
                <a:gd name="connsiteY5" fmla="*/ 73351 h 163250"/>
                <a:gd name="connsiteX6" fmla="*/ 16698 w 114610"/>
                <a:gd name="connsiteY6" fmla="*/ 0 h 163250"/>
                <a:gd name="connsiteX7" fmla="*/ 0 w 114610"/>
                <a:gd name="connsiteY7" fmla="*/ 0 h 163250"/>
                <a:gd name="connsiteX8" fmla="*/ 0 w 114610"/>
                <a:gd name="connsiteY8" fmla="*/ 163250 h 163250"/>
                <a:gd name="connsiteX9" fmla="*/ 16698 w 114610"/>
                <a:gd name="connsiteY9" fmla="*/ 163250 h 163250"/>
                <a:gd name="connsiteX10" fmla="*/ 16698 w 114610"/>
                <a:gd name="connsiteY10" fmla="*/ 89937 h 163250"/>
                <a:gd name="connsiteX11" fmla="*/ 97913 w 114610"/>
                <a:gd name="connsiteY11" fmla="*/ 89937 h 163250"/>
                <a:gd name="connsiteX12" fmla="*/ 97913 w 114610"/>
                <a:gd name="connsiteY12" fmla="*/ 16325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610" h="163250">
                  <a:moveTo>
                    <a:pt x="97913" y="163250"/>
                  </a:moveTo>
                  <a:lnTo>
                    <a:pt x="114611" y="163250"/>
                  </a:lnTo>
                  <a:lnTo>
                    <a:pt x="114611" y="0"/>
                  </a:lnTo>
                  <a:lnTo>
                    <a:pt x="97913" y="0"/>
                  </a:lnTo>
                  <a:lnTo>
                    <a:pt x="97913" y="73351"/>
                  </a:lnTo>
                  <a:lnTo>
                    <a:pt x="16698" y="73351"/>
                  </a:lnTo>
                  <a:lnTo>
                    <a:pt x="16698" y="0"/>
                  </a:lnTo>
                  <a:lnTo>
                    <a:pt x="0" y="0"/>
                  </a:lnTo>
                  <a:lnTo>
                    <a:pt x="0" y="163250"/>
                  </a:lnTo>
                  <a:lnTo>
                    <a:pt x="16698" y="163250"/>
                  </a:lnTo>
                  <a:lnTo>
                    <a:pt x="16698" y="89937"/>
                  </a:lnTo>
                  <a:lnTo>
                    <a:pt x="97913" y="89937"/>
                  </a:lnTo>
                  <a:lnTo>
                    <a:pt x="97913" y="163250"/>
                  </a:lnTo>
                  <a:close/>
                </a:path>
              </a:pathLst>
            </a:custGeom>
            <a:solidFill>
              <a:srgbClr val="E2E2E3"/>
            </a:solidFill>
            <a:ln w="3718" cap="flat">
              <a:noFill/>
              <a:prstDash val="solid"/>
              <a:miter/>
            </a:ln>
          </p:spPr>
          <p:txBody>
            <a:bodyPr rtlCol="0" anchor="ctr"/>
            <a:lstStyle/>
            <a:p>
              <a:endParaRPr lang="en-US" dirty="0"/>
            </a:p>
          </p:txBody>
        </p:sp>
        <p:sp>
          <p:nvSpPr>
            <p:cNvPr id="11" name="Freeform: Shape 10">
              <a:extLst>
                <a:ext uri="{FF2B5EF4-FFF2-40B4-BE49-F238E27FC236}">
                  <a16:creationId xmlns:a16="http://schemas.microsoft.com/office/drawing/2014/main" id="{4828C33B-A0B4-4E8E-A204-BC2798A15F1A}"/>
                </a:ext>
              </a:extLst>
            </p:cNvPr>
            <p:cNvSpPr/>
            <p:nvPr/>
          </p:nvSpPr>
          <p:spPr>
            <a:xfrm>
              <a:off x="1158761" y="6590823"/>
              <a:ext cx="16809" cy="163250"/>
            </a:xfrm>
            <a:custGeom>
              <a:avLst/>
              <a:gdLst>
                <a:gd name="connsiteX0" fmla="*/ 0 w 16809"/>
                <a:gd name="connsiteY0" fmla="*/ 0 h 163250"/>
                <a:gd name="connsiteX1" fmla="*/ 16810 w 16809"/>
                <a:gd name="connsiteY1" fmla="*/ 0 h 163250"/>
                <a:gd name="connsiteX2" fmla="*/ 16810 w 16809"/>
                <a:gd name="connsiteY2" fmla="*/ 163250 h 163250"/>
                <a:gd name="connsiteX3" fmla="*/ 0 w 16809"/>
                <a:gd name="connsiteY3" fmla="*/ 163250 h 163250"/>
              </a:gdLst>
              <a:ahLst/>
              <a:cxnLst>
                <a:cxn ang="0">
                  <a:pos x="connsiteX0" y="connsiteY0"/>
                </a:cxn>
                <a:cxn ang="0">
                  <a:pos x="connsiteX1" y="connsiteY1"/>
                </a:cxn>
                <a:cxn ang="0">
                  <a:pos x="connsiteX2" y="connsiteY2"/>
                </a:cxn>
                <a:cxn ang="0">
                  <a:pos x="connsiteX3" y="connsiteY3"/>
                </a:cxn>
              </a:cxnLst>
              <a:rect l="l" t="t" r="r" b="b"/>
              <a:pathLst>
                <a:path w="16809" h="163250">
                  <a:moveTo>
                    <a:pt x="0" y="0"/>
                  </a:moveTo>
                  <a:lnTo>
                    <a:pt x="16810" y="0"/>
                  </a:lnTo>
                  <a:lnTo>
                    <a:pt x="16810" y="163250"/>
                  </a:lnTo>
                  <a:lnTo>
                    <a:pt x="0" y="163250"/>
                  </a:lnTo>
                  <a:close/>
                </a:path>
              </a:pathLst>
            </a:custGeom>
            <a:solidFill>
              <a:srgbClr val="E2E2E3"/>
            </a:solidFill>
            <a:ln w="3718" cap="flat">
              <a:noFill/>
              <a:prstDash val="solid"/>
              <a:miter/>
            </a:ln>
          </p:spPr>
          <p:txBody>
            <a:bodyPr rtlCol="0" anchor="ctr"/>
            <a:lstStyle/>
            <a:p>
              <a:endParaRPr lang="en-US" dirty="0"/>
            </a:p>
          </p:txBody>
        </p:sp>
        <p:sp>
          <p:nvSpPr>
            <p:cNvPr id="12" name="Freeform: Shape 11">
              <a:extLst>
                <a:ext uri="{FF2B5EF4-FFF2-40B4-BE49-F238E27FC236}">
                  <a16:creationId xmlns:a16="http://schemas.microsoft.com/office/drawing/2014/main" id="{539209B0-6DAF-41BA-97CA-0FA9C31B649E}"/>
                </a:ext>
              </a:extLst>
            </p:cNvPr>
            <p:cNvSpPr/>
            <p:nvPr/>
          </p:nvSpPr>
          <p:spPr>
            <a:xfrm>
              <a:off x="1197184" y="6589704"/>
              <a:ext cx="165642" cy="165862"/>
            </a:xfrm>
            <a:custGeom>
              <a:avLst/>
              <a:gdLst>
                <a:gd name="connsiteX0" fmla="*/ 24343 w 165642"/>
                <a:gd name="connsiteY0" fmla="*/ 141596 h 165862"/>
                <a:gd name="connsiteX1" fmla="*/ 114652 w 165642"/>
                <a:gd name="connsiteY1" fmla="*/ 159859 h 165862"/>
                <a:gd name="connsiteX2" fmla="*/ 141600 w 165642"/>
                <a:gd name="connsiteY2" fmla="*/ 141558 h 165862"/>
                <a:gd name="connsiteX3" fmla="*/ 160869 w 165642"/>
                <a:gd name="connsiteY3" fmla="*/ 110996 h 165862"/>
                <a:gd name="connsiteX4" fmla="*/ 165640 w 165642"/>
                <a:gd name="connsiteY4" fmla="*/ 81514 h 165862"/>
                <a:gd name="connsiteX5" fmla="*/ 91283 w 165642"/>
                <a:gd name="connsiteY5" fmla="*/ 81514 h 165862"/>
                <a:gd name="connsiteX6" fmla="*/ 91283 w 165642"/>
                <a:gd name="connsiteY6" fmla="*/ 96720 h 165862"/>
                <a:gd name="connsiteX7" fmla="*/ 149352 w 165642"/>
                <a:gd name="connsiteY7" fmla="*/ 96720 h 165862"/>
                <a:gd name="connsiteX8" fmla="*/ 142606 w 165642"/>
                <a:gd name="connsiteY8" fmla="*/ 110996 h 165862"/>
                <a:gd name="connsiteX9" fmla="*/ 133623 w 165642"/>
                <a:gd name="connsiteY9" fmla="*/ 124935 h 165862"/>
                <a:gd name="connsiteX10" fmla="*/ 121547 w 165642"/>
                <a:gd name="connsiteY10" fmla="*/ 136415 h 165862"/>
                <a:gd name="connsiteX11" fmla="*/ 103471 w 165642"/>
                <a:gd name="connsiteY11" fmla="*/ 145621 h 165862"/>
                <a:gd name="connsiteX12" fmla="*/ 57962 w 165642"/>
                <a:gd name="connsiteY12" fmla="*/ 143944 h 165862"/>
                <a:gd name="connsiteX13" fmla="*/ 36717 w 165642"/>
                <a:gd name="connsiteY13" fmla="*/ 129445 h 165862"/>
                <a:gd name="connsiteX14" fmla="*/ 22330 w 165642"/>
                <a:gd name="connsiteY14" fmla="*/ 108163 h 165862"/>
                <a:gd name="connsiteX15" fmla="*/ 22330 w 165642"/>
                <a:gd name="connsiteY15" fmla="*/ 57734 h 165862"/>
                <a:gd name="connsiteX16" fmla="*/ 36717 w 165642"/>
                <a:gd name="connsiteY16" fmla="*/ 36452 h 165862"/>
                <a:gd name="connsiteX17" fmla="*/ 58036 w 165642"/>
                <a:gd name="connsiteY17" fmla="*/ 21916 h 165862"/>
                <a:gd name="connsiteX18" fmla="*/ 83232 w 165642"/>
                <a:gd name="connsiteY18" fmla="*/ 17034 h 165862"/>
                <a:gd name="connsiteX19" fmla="*/ 108391 w 165642"/>
                <a:gd name="connsiteY19" fmla="*/ 21916 h 165862"/>
                <a:gd name="connsiteX20" fmla="*/ 122106 w 165642"/>
                <a:gd name="connsiteY20" fmla="*/ 29818 h 165862"/>
                <a:gd name="connsiteX21" fmla="*/ 134145 w 165642"/>
                <a:gd name="connsiteY21" fmla="*/ 17704 h 165862"/>
                <a:gd name="connsiteX22" fmla="*/ 129374 w 165642"/>
                <a:gd name="connsiteY22" fmla="*/ 14275 h 165862"/>
                <a:gd name="connsiteX23" fmla="*/ 114988 w 165642"/>
                <a:gd name="connsiteY23" fmla="*/ 6448 h 165862"/>
                <a:gd name="connsiteX24" fmla="*/ 99520 w 165642"/>
                <a:gd name="connsiteY24" fmla="*/ 1640 h 165862"/>
                <a:gd name="connsiteX25" fmla="*/ 82934 w 165642"/>
                <a:gd name="connsiteY25" fmla="*/ 0 h 165862"/>
                <a:gd name="connsiteX26" fmla="*/ 76001 w 165642"/>
                <a:gd name="connsiteY26" fmla="*/ 0 h 165862"/>
                <a:gd name="connsiteX27" fmla="*/ 51104 w 165642"/>
                <a:gd name="connsiteY27" fmla="*/ 5889 h 165862"/>
                <a:gd name="connsiteX28" fmla="*/ 24306 w 165642"/>
                <a:gd name="connsiteY28" fmla="*/ 24264 h 165862"/>
                <a:gd name="connsiteX29" fmla="*/ 6042 w 165642"/>
                <a:gd name="connsiteY29" fmla="*/ 51137 h 165862"/>
                <a:gd name="connsiteX30" fmla="*/ 4 w 165642"/>
                <a:gd name="connsiteY30" fmla="*/ 83042 h 165862"/>
                <a:gd name="connsiteX31" fmla="*/ 6042 w 165642"/>
                <a:gd name="connsiteY31" fmla="*/ 114909 h 165862"/>
                <a:gd name="connsiteX32" fmla="*/ 24268 w 165642"/>
                <a:gd name="connsiteY32" fmla="*/ 141707 h 16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65642" h="165862">
                  <a:moveTo>
                    <a:pt x="24343" y="141596"/>
                  </a:moveTo>
                  <a:cubicBezTo>
                    <a:pt x="48141" y="165094"/>
                    <a:pt x="83594" y="172264"/>
                    <a:pt x="114652" y="159859"/>
                  </a:cubicBezTo>
                  <a:cubicBezTo>
                    <a:pt x="124719" y="155530"/>
                    <a:pt x="133866" y="149319"/>
                    <a:pt x="141600" y="141558"/>
                  </a:cubicBezTo>
                  <a:cubicBezTo>
                    <a:pt x="150347" y="133035"/>
                    <a:pt x="156948" y="122562"/>
                    <a:pt x="160869" y="110996"/>
                  </a:cubicBezTo>
                  <a:cubicBezTo>
                    <a:pt x="164108" y="101507"/>
                    <a:pt x="165722" y="91539"/>
                    <a:pt x="165640" y="81514"/>
                  </a:cubicBezTo>
                  <a:lnTo>
                    <a:pt x="91283" y="81514"/>
                  </a:lnTo>
                  <a:lnTo>
                    <a:pt x="91283" y="96720"/>
                  </a:lnTo>
                  <a:lnTo>
                    <a:pt x="149352" y="96720"/>
                  </a:lnTo>
                  <a:lnTo>
                    <a:pt x="142606" y="110996"/>
                  </a:lnTo>
                  <a:cubicBezTo>
                    <a:pt x="140217" y="116006"/>
                    <a:pt x="137198" y="120690"/>
                    <a:pt x="133623" y="124935"/>
                  </a:cubicBezTo>
                  <a:cubicBezTo>
                    <a:pt x="130083" y="129240"/>
                    <a:pt x="126027" y="133095"/>
                    <a:pt x="121547" y="136415"/>
                  </a:cubicBezTo>
                  <a:cubicBezTo>
                    <a:pt x="116076" y="140470"/>
                    <a:pt x="109967" y="143582"/>
                    <a:pt x="103471" y="145621"/>
                  </a:cubicBezTo>
                  <a:cubicBezTo>
                    <a:pt x="88569" y="150385"/>
                    <a:pt x="72472" y="149792"/>
                    <a:pt x="57962" y="143944"/>
                  </a:cubicBezTo>
                  <a:cubicBezTo>
                    <a:pt x="49975" y="140595"/>
                    <a:pt x="42748" y="135663"/>
                    <a:pt x="36717" y="129445"/>
                  </a:cubicBezTo>
                  <a:cubicBezTo>
                    <a:pt x="30597" y="123344"/>
                    <a:pt x="25711" y="116117"/>
                    <a:pt x="22330" y="108163"/>
                  </a:cubicBezTo>
                  <a:cubicBezTo>
                    <a:pt x="15819" y="91984"/>
                    <a:pt x="15819" y="73913"/>
                    <a:pt x="22330" y="57734"/>
                  </a:cubicBezTo>
                  <a:cubicBezTo>
                    <a:pt x="25729" y="49791"/>
                    <a:pt x="30612" y="42568"/>
                    <a:pt x="36717" y="36452"/>
                  </a:cubicBezTo>
                  <a:cubicBezTo>
                    <a:pt x="42792" y="30244"/>
                    <a:pt x="50038" y="25303"/>
                    <a:pt x="58036" y="21916"/>
                  </a:cubicBezTo>
                  <a:cubicBezTo>
                    <a:pt x="66013" y="18581"/>
                    <a:pt x="74589" y="16919"/>
                    <a:pt x="83232" y="17034"/>
                  </a:cubicBezTo>
                  <a:cubicBezTo>
                    <a:pt x="91861" y="16956"/>
                    <a:pt x="100418" y="18617"/>
                    <a:pt x="108391" y="21916"/>
                  </a:cubicBezTo>
                  <a:cubicBezTo>
                    <a:pt x="113251" y="24012"/>
                    <a:pt x="117854" y="26664"/>
                    <a:pt x="122106" y="29818"/>
                  </a:cubicBezTo>
                  <a:lnTo>
                    <a:pt x="134145" y="17704"/>
                  </a:lnTo>
                  <a:cubicBezTo>
                    <a:pt x="132356" y="16363"/>
                    <a:pt x="130791" y="15244"/>
                    <a:pt x="129374" y="14275"/>
                  </a:cubicBezTo>
                  <a:cubicBezTo>
                    <a:pt x="124820" y="11246"/>
                    <a:pt x="120004" y="8627"/>
                    <a:pt x="114988" y="6448"/>
                  </a:cubicBezTo>
                  <a:cubicBezTo>
                    <a:pt x="110001" y="4347"/>
                    <a:pt x="104820" y="2737"/>
                    <a:pt x="99520" y="1640"/>
                  </a:cubicBezTo>
                  <a:cubicBezTo>
                    <a:pt x="94060" y="534"/>
                    <a:pt x="88502" y="-15"/>
                    <a:pt x="82934" y="0"/>
                  </a:cubicBezTo>
                  <a:lnTo>
                    <a:pt x="76001" y="0"/>
                  </a:lnTo>
                  <a:cubicBezTo>
                    <a:pt x="67440" y="610"/>
                    <a:pt x="59032" y="2598"/>
                    <a:pt x="51104" y="5889"/>
                  </a:cubicBezTo>
                  <a:cubicBezTo>
                    <a:pt x="41022" y="10138"/>
                    <a:pt x="31902" y="16389"/>
                    <a:pt x="24306" y="24264"/>
                  </a:cubicBezTo>
                  <a:cubicBezTo>
                    <a:pt x="16490" y="31918"/>
                    <a:pt x="10284" y="41054"/>
                    <a:pt x="6042" y="51137"/>
                  </a:cubicBezTo>
                  <a:cubicBezTo>
                    <a:pt x="1965" y="61275"/>
                    <a:pt x="-89" y="72114"/>
                    <a:pt x="4" y="83042"/>
                  </a:cubicBezTo>
                  <a:cubicBezTo>
                    <a:pt x="-107" y="93959"/>
                    <a:pt x="1946" y="104789"/>
                    <a:pt x="6042" y="114909"/>
                  </a:cubicBezTo>
                  <a:cubicBezTo>
                    <a:pt x="10206" y="125003"/>
                    <a:pt x="16411" y="134126"/>
                    <a:pt x="24268" y="141707"/>
                  </a:cubicBezTo>
                </a:path>
              </a:pathLst>
            </a:custGeom>
            <a:solidFill>
              <a:srgbClr val="E2E2E3"/>
            </a:solidFill>
            <a:ln w="3718" cap="flat">
              <a:noFill/>
              <a:prstDash val="solid"/>
              <a:miter/>
            </a:ln>
          </p:spPr>
          <p:txBody>
            <a:bodyPr rtlCol="0" anchor="ctr"/>
            <a:lstStyle/>
            <a:p>
              <a:endParaRPr lang="en-US" dirty="0"/>
            </a:p>
          </p:txBody>
        </p:sp>
        <p:sp>
          <p:nvSpPr>
            <p:cNvPr id="13" name="Freeform: Shape 12">
              <a:extLst>
                <a:ext uri="{FF2B5EF4-FFF2-40B4-BE49-F238E27FC236}">
                  <a16:creationId xmlns:a16="http://schemas.microsoft.com/office/drawing/2014/main" id="{447456FD-DB74-49E7-90A0-6FD6B0EDD296}"/>
                </a:ext>
              </a:extLst>
            </p:cNvPr>
            <p:cNvSpPr/>
            <p:nvPr/>
          </p:nvSpPr>
          <p:spPr>
            <a:xfrm>
              <a:off x="1384590" y="6590823"/>
              <a:ext cx="114573" cy="163250"/>
            </a:xfrm>
            <a:custGeom>
              <a:avLst/>
              <a:gdLst>
                <a:gd name="connsiteX0" fmla="*/ 97876 w 114573"/>
                <a:gd name="connsiteY0" fmla="*/ 163250 h 163250"/>
                <a:gd name="connsiteX1" fmla="*/ 114573 w 114573"/>
                <a:gd name="connsiteY1" fmla="*/ 163250 h 163250"/>
                <a:gd name="connsiteX2" fmla="*/ 114573 w 114573"/>
                <a:gd name="connsiteY2" fmla="*/ 0 h 163250"/>
                <a:gd name="connsiteX3" fmla="*/ 97876 w 114573"/>
                <a:gd name="connsiteY3" fmla="*/ 0 h 163250"/>
                <a:gd name="connsiteX4" fmla="*/ 97876 w 114573"/>
                <a:gd name="connsiteY4" fmla="*/ 73351 h 163250"/>
                <a:gd name="connsiteX5" fmla="*/ 16660 w 114573"/>
                <a:gd name="connsiteY5" fmla="*/ 73351 h 163250"/>
                <a:gd name="connsiteX6" fmla="*/ 16660 w 114573"/>
                <a:gd name="connsiteY6" fmla="*/ 0 h 163250"/>
                <a:gd name="connsiteX7" fmla="*/ 0 w 114573"/>
                <a:gd name="connsiteY7" fmla="*/ 0 h 163250"/>
                <a:gd name="connsiteX8" fmla="*/ 0 w 114573"/>
                <a:gd name="connsiteY8" fmla="*/ 163250 h 163250"/>
                <a:gd name="connsiteX9" fmla="*/ 16660 w 114573"/>
                <a:gd name="connsiteY9" fmla="*/ 163250 h 163250"/>
                <a:gd name="connsiteX10" fmla="*/ 16660 w 114573"/>
                <a:gd name="connsiteY10" fmla="*/ 89937 h 163250"/>
                <a:gd name="connsiteX11" fmla="*/ 97876 w 114573"/>
                <a:gd name="connsiteY11" fmla="*/ 89937 h 163250"/>
                <a:gd name="connsiteX12" fmla="*/ 97876 w 114573"/>
                <a:gd name="connsiteY12" fmla="*/ 16325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573" h="163250">
                  <a:moveTo>
                    <a:pt x="97876" y="163250"/>
                  </a:moveTo>
                  <a:lnTo>
                    <a:pt x="114573" y="163250"/>
                  </a:lnTo>
                  <a:lnTo>
                    <a:pt x="114573" y="0"/>
                  </a:lnTo>
                  <a:lnTo>
                    <a:pt x="97876" y="0"/>
                  </a:lnTo>
                  <a:lnTo>
                    <a:pt x="97876" y="73351"/>
                  </a:lnTo>
                  <a:lnTo>
                    <a:pt x="16660" y="73351"/>
                  </a:lnTo>
                  <a:lnTo>
                    <a:pt x="16660" y="0"/>
                  </a:lnTo>
                  <a:lnTo>
                    <a:pt x="0" y="0"/>
                  </a:lnTo>
                  <a:lnTo>
                    <a:pt x="0" y="163250"/>
                  </a:lnTo>
                  <a:lnTo>
                    <a:pt x="16660" y="163250"/>
                  </a:lnTo>
                  <a:lnTo>
                    <a:pt x="16660" y="89937"/>
                  </a:lnTo>
                  <a:lnTo>
                    <a:pt x="97876" y="89937"/>
                  </a:lnTo>
                  <a:lnTo>
                    <a:pt x="97876" y="163250"/>
                  </a:lnTo>
                  <a:close/>
                </a:path>
              </a:pathLst>
            </a:custGeom>
            <a:solidFill>
              <a:srgbClr val="E2E2E3"/>
            </a:solidFill>
            <a:ln w="3718" cap="flat">
              <a:noFill/>
              <a:prstDash val="solid"/>
              <a:miter/>
            </a:ln>
          </p:spPr>
          <p:txBody>
            <a:bodyPr rtlCol="0" anchor="ctr"/>
            <a:lstStyle/>
            <a:p>
              <a:endParaRPr lang="en-US" dirty="0"/>
            </a:p>
          </p:txBody>
        </p:sp>
        <p:sp>
          <p:nvSpPr>
            <p:cNvPr id="14" name="Freeform: Shape 13">
              <a:extLst>
                <a:ext uri="{FF2B5EF4-FFF2-40B4-BE49-F238E27FC236}">
                  <a16:creationId xmlns:a16="http://schemas.microsoft.com/office/drawing/2014/main" id="{62C6C1C1-3203-4E7D-A0F1-9ACA1B3387B2}"/>
                </a:ext>
              </a:extLst>
            </p:cNvPr>
            <p:cNvSpPr/>
            <p:nvPr/>
          </p:nvSpPr>
          <p:spPr>
            <a:xfrm>
              <a:off x="1527751" y="6590823"/>
              <a:ext cx="90346" cy="163250"/>
            </a:xfrm>
            <a:custGeom>
              <a:avLst/>
              <a:gdLst>
                <a:gd name="connsiteX0" fmla="*/ 16810 w 90346"/>
                <a:gd name="connsiteY0" fmla="*/ 0 h 163250"/>
                <a:gd name="connsiteX1" fmla="*/ 0 w 90346"/>
                <a:gd name="connsiteY1" fmla="*/ 0 h 163250"/>
                <a:gd name="connsiteX2" fmla="*/ 0 w 90346"/>
                <a:gd name="connsiteY2" fmla="*/ 163250 h 163250"/>
                <a:gd name="connsiteX3" fmla="*/ 90347 w 90346"/>
                <a:gd name="connsiteY3" fmla="*/ 163250 h 163250"/>
                <a:gd name="connsiteX4" fmla="*/ 90347 w 90346"/>
                <a:gd name="connsiteY4" fmla="*/ 146813 h 163250"/>
                <a:gd name="connsiteX5" fmla="*/ 16810 w 90346"/>
                <a:gd name="connsiteY5" fmla="*/ 146813 h 163250"/>
                <a:gd name="connsiteX6" fmla="*/ 16810 w 90346"/>
                <a:gd name="connsiteY6" fmla="*/ 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346" h="163250">
                  <a:moveTo>
                    <a:pt x="16810" y="0"/>
                  </a:moveTo>
                  <a:lnTo>
                    <a:pt x="0" y="0"/>
                  </a:lnTo>
                  <a:lnTo>
                    <a:pt x="0" y="163250"/>
                  </a:lnTo>
                  <a:lnTo>
                    <a:pt x="90347" y="163250"/>
                  </a:lnTo>
                  <a:lnTo>
                    <a:pt x="90347" y="146813"/>
                  </a:lnTo>
                  <a:lnTo>
                    <a:pt x="16810" y="146813"/>
                  </a:lnTo>
                  <a:lnTo>
                    <a:pt x="16810" y="0"/>
                  </a:lnTo>
                  <a:close/>
                </a:path>
              </a:pathLst>
            </a:custGeom>
            <a:solidFill>
              <a:srgbClr val="E2E2E3"/>
            </a:solidFill>
            <a:ln w="3718"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5E0AA6A4-4F77-48FF-88D1-910F13080682}"/>
                </a:ext>
              </a:extLst>
            </p:cNvPr>
            <p:cNvSpPr/>
            <p:nvPr/>
          </p:nvSpPr>
          <p:spPr>
            <a:xfrm>
              <a:off x="1640796" y="6593991"/>
              <a:ext cx="136563" cy="160268"/>
            </a:xfrm>
            <a:custGeom>
              <a:avLst/>
              <a:gdLst>
                <a:gd name="connsiteX0" fmla="*/ 36191 w 136563"/>
                <a:gd name="connsiteY0" fmla="*/ 119866 h 160268"/>
                <a:gd name="connsiteX1" fmla="*/ 37943 w 136563"/>
                <a:gd name="connsiteY1" fmla="*/ 115803 h 160268"/>
                <a:gd name="connsiteX2" fmla="*/ 51696 w 136563"/>
                <a:gd name="connsiteY2" fmla="*/ 81700 h 160268"/>
                <a:gd name="connsiteX3" fmla="*/ 65673 w 136563"/>
                <a:gd name="connsiteY3" fmla="*/ 47223 h 160268"/>
                <a:gd name="connsiteX4" fmla="*/ 68356 w 136563"/>
                <a:gd name="connsiteY4" fmla="*/ 41036 h 160268"/>
                <a:gd name="connsiteX5" fmla="*/ 71040 w 136563"/>
                <a:gd name="connsiteY5" fmla="*/ 47261 h 160268"/>
                <a:gd name="connsiteX6" fmla="*/ 84756 w 136563"/>
                <a:gd name="connsiteY6" fmla="*/ 81700 h 160268"/>
                <a:gd name="connsiteX7" fmla="*/ 98546 w 136563"/>
                <a:gd name="connsiteY7" fmla="*/ 115803 h 160268"/>
                <a:gd name="connsiteX8" fmla="*/ 100298 w 136563"/>
                <a:gd name="connsiteY8" fmla="*/ 119866 h 160268"/>
                <a:gd name="connsiteX9" fmla="*/ 118636 w 136563"/>
                <a:gd name="connsiteY9" fmla="*/ 160268 h 160268"/>
                <a:gd name="connsiteX10" fmla="*/ 136563 w 136563"/>
                <a:gd name="connsiteY10" fmla="*/ 160268 h 160268"/>
                <a:gd name="connsiteX11" fmla="*/ 68319 w 136563"/>
                <a:gd name="connsiteY11" fmla="*/ 0 h 160268"/>
                <a:gd name="connsiteX12" fmla="*/ 0 w 136563"/>
                <a:gd name="connsiteY12" fmla="*/ 160268 h 160268"/>
                <a:gd name="connsiteX13" fmla="*/ 18002 w 136563"/>
                <a:gd name="connsiteY13" fmla="*/ 160268 h 160268"/>
                <a:gd name="connsiteX14" fmla="*/ 30488 w 136563"/>
                <a:gd name="connsiteY14" fmla="*/ 132426 h 160268"/>
                <a:gd name="connsiteX15" fmla="*/ 106113 w 136563"/>
                <a:gd name="connsiteY15" fmla="*/ 132426 h 160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6563" h="160268">
                  <a:moveTo>
                    <a:pt x="36191" y="119866"/>
                  </a:moveTo>
                  <a:lnTo>
                    <a:pt x="37943" y="115803"/>
                  </a:lnTo>
                  <a:cubicBezTo>
                    <a:pt x="42452" y="105255"/>
                    <a:pt x="47074" y="93776"/>
                    <a:pt x="51696" y="81700"/>
                  </a:cubicBezTo>
                  <a:cubicBezTo>
                    <a:pt x="56318" y="69624"/>
                    <a:pt x="61088" y="57846"/>
                    <a:pt x="65673" y="47223"/>
                  </a:cubicBezTo>
                  <a:lnTo>
                    <a:pt x="68356" y="41036"/>
                  </a:lnTo>
                  <a:lnTo>
                    <a:pt x="71040" y="47261"/>
                  </a:lnTo>
                  <a:cubicBezTo>
                    <a:pt x="75550" y="57883"/>
                    <a:pt x="80171" y="69624"/>
                    <a:pt x="84756" y="81700"/>
                  </a:cubicBezTo>
                  <a:cubicBezTo>
                    <a:pt x="89340" y="93776"/>
                    <a:pt x="93925" y="105255"/>
                    <a:pt x="98546" y="115803"/>
                  </a:cubicBezTo>
                  <a:lnTo>
                    <a:pt x="100298" y="119866"/>
                  </a:lnTo>
                  <a:close/>
                  <a:moveTo>
                    <a:pt x="118636" y="160268"/>
                  </a:moveTo>
                  <a:lnTo>
                    <a:pt x="136563" y="160268"/>
                  </a:lnTo>
                  <a:lnTo>
                    <a:pt x="68319" y="0"/>
                  </a:lnTo>
                  <a:lnTo>
                    <a:pt x="0" y="160268"/>
                  </a:lnTo>
                  <a:lnTo>
                    <a:pt x="18002" y="160268"/>
                  </a:lnTo>
                  <a:lnTo>
                    <a:pt x="30488" y="132426"/>
                  </a:lnTo>
                  <a:lnTo>
                    <a:pt x="106113" y="132426"/>
                  </a:lnTo>
                  <a:close/>
                </a:path>
              </a:pathLst>
            </a:custGeom>
            <a:solidFill>
              <a:srgbClr val="E2E2E3"/>
            </a:solidFill>
            <a:ln w="3718"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CC770D02-AA55-4F44-B1EE-A7519DCB3915}"/>
                </a:ext>
              </a:extLst>
            </p:cNvPr>
            <p:cNvSpPr/>
            <p:nvPr/>
          </p:nvSpPr>
          <p:spPr>
            <a:xfrm>
              <a:off x="1800505" y="6590487"/>
              <a:ext cx="127208" cy="164070"/>
            </a:xfrm>
            <a:custGeom>
              <a:avLst/>
              <a:gdLst>
                <a:gd name="connsiteX0" fmla="*/ 110436 w 127208"/>
                <a:gd name="connsiteY0" fmla="*/ 119120 h 164070"/>
                <a:gd name="connsiteX1" fmla="*/ 0 w 127208"/>
                <a:gd name="connsiteY1" fmla="*/ 3019 h 164070"/>
                <a:gd name="connsiteX2" fmla="*/ 0 w 127208"/>
                <a:gd name="connsiteY2" fmla="*/ 164070 h 164070"/>
                <a:gd name="connsiteX3" fmla="*/ 16810 w 127208"/>
                <a:gd name="connsiteY3" fmla="*/ 164070 h 164070"/>
                <a:gd name="connsiteX4" fmla="*/ 16810 w 127208"/>
                <a:gd name="connsiteY4" fmla="*/ 44540 h 164070"/>
                <a:gd name="connsiteX5" fmla="*/ 127208 w 127208"/>
                <a:gd name="connsiteY5" fmla="*/ 162244 h 164070"/>
                <a:gd name="connsiteX6" fmla="*/ 127208 w 127208"/>
                <a:gd name="connsiteY6" fmla="*/ 0 h 164070"/>
                <a:gd name="connsiteX7" fmla="*/ 110436 w 127208"/>
                <a:gd name="connsiteY7" fmla="*/ 0 h 164070"/>
                <a:gd name="connsiteX8" fmla="*/ 110436 w 127208"/>
                <a:gd name="connsiteY8" fmla="*/ 119120 h 16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208" h="164070">
                  <a:moveTo>
                    <a:pt x="110436" y="119120"/>
                  </a:moveTo>
                  <a:lnTo>
                    <a:pt x="0" y="3019"/>
                  </a:lnTo>
                  <a:lnTo>
                    <a:pt x="0" y="164070"/>
                  </a:lnTo>
                  <a:lnTo>
                    <a:pt x="16810" y="164070"/>
                  </a:lnTo>
                  <a:lnTo>
                    <a:pt x="16810" y="44540"/>
                  </a:lnTo>
                  <a:lnTo>
                    <a:pt x="127208" y="162244"/>
                  </a:lnTo>
                  <a:lnTo>
                    <a:pt x="127208" y="0"/>
                  </a:lnTo>
                  <a:lnTo>
                    <a:pt x="110436" y="0"/>
                  </a:lnTo>
                  <a:lnTo>
                    <a:pt x="110436" y="119120"/>
                  </a:lnTo>
                  <a:close/>
                </a:path>
              </a:pathLst>
            </a:custGeom>
            <a:solidFill>
              <a:srgbClr val="E2E2E3"/>
            </a:solidFill>
            <a:ln w="3718" cap="flat">
              <a:no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BA3B1237-5055-49A4-8D0D-1CD1A470E21F}"/>
                </a:ext>
              </a:extLst>
            </p:cNvPr>
            <p:cNvSpPr/>
            <p:nvPr/>
          </p:nvSpPr>
          <p:spPr>
            <a:xfrm>
              <a:off x="1956301" y="6590935"/>
              <a:ext cx="120414" cy="163325"/>
            </a:xfrm>
            <a:custGeom>
              <a:avLst/>
              <a:gdLst>
                <a:gd name="connsiteX0" fmla="*/ 64704 w 120414"/>
                <a:gd name="connsiteY0" fmla="*/ 142080 h 163325"/>
                <a:gd name="connsiteX1" fmla="*/ 38912 w 120414"/>
                <a:gd name="connsiteY1" fmla="*/ 146478 h 163325"/>
                <a:gd name="connsiteX2" fmla="*/ 16549 w 120414"/>
                <a:gd name="connsiteY2" fmla="*/ 146478 h 163325"/>
                <a:gd name="connsiteX3" fmla="*/ 16549 w 120414"/>
                <a:gd name="connsiteY3" fmla="*/ 16474 h 163325"/>
                <a:gd name="connsiteX4" fmla="*/ 38539 w 120414"/>
                <a:gd name="connsiteY4" fmla="*/ 16474 h 163325"/>
                <a:gd name="connsiteX5" fmla="*/ 64629 w 120414"/>
                <a:gd name="connsiteY5" fmla="*/ 20872 h 163325"/>
                <a:gd name="connsiteX6" fmla="*/ 85650 w 120414"/>
                <a:gd name="connsiteY6" fmla="*/ 34476 h 163325"/>
                <a:gd name="connsiteX7" fmla="*/ 99180 w 120414"/>
                <a:gd name="connsiteY7" fmla="*/ 55535 h 163325"/>
                <a:gd name="connsiteX8" fmla="*/ 103578 w 120414"/>
                <a:gd name="connsiteY8" fmla="*/ 81625 h 163325"/>
                <a:gd name="connsiteX9" fmla="*/ 99180 w 120414"/>
                <a:gd name="connsiteY9" fmla="*/ 107715 h 163325"/>
                <a:gd name="connsiteX10" fmla="*/ 85799 w 120414"/>
                <a:gd name="connsiteY10" fmla="*/ 128811 h 163325"/>
                <a:gd name="connsiteX11" fmla="*/ 64815 w 120414"/>
                <a:gd name="connsiteY11" fmla="*/ 142266 h 163325"/>
                <a:gd name="connsiteX12" fmla="*/ 114983 w 120414"/>
                <a:gd name="connsiteY12" fmla="*/ 113492 h 163325"/>
                <a:gd name="connsiteX13" fmla="*/ 114983 w 120414"/>
                <a:gd name="connsiteY13" fmla="*/ 50130 h 163325"/>
                <a:gd name="connsiteX14" fmla="*/ 98845 w 120414"/>
                <a:gd name="connsiteY14" fmla="*/ 24040 h 163325"/>
                <a:gd name="connsiteX15" fmla="*/ 71487 w 120414"/>
                <a:gd name="connsiteY15" fmla="*/ 6187 h 163325"/>
                <a:gd name="connsiteX16" fmla="*/ 43161 w 120414"/>
                <a:gd name="connsiteY16" fmla="*/ 0 h 163325"/>
                <a:gd name="connsiteX17" fmla="*/ 0 w 120414"/>
                <a:gd name="connsiteY17" fmla="*/ 0 h 163325"/>
                <a:gd name="connsiteX18" fmla="*/ 0 w 120414"/>
                <a:gd name="connsiteY18" fmla="*/ 163325 h 163325"/>
                <a:gd name="connsiteX19" fmla="*/ 38688 w 120414"/>
                <a:gd name="connsiteY19" fmla="*/ 163325 h 163325"/>
                <a:gd name="connsiteX20" fmla="*/ 71487 w 120414"/>
                <a:gd name="connsiteY20" fmla="*/ 156989 h 163325"/>
                <a:gd name="connsiteX21" fmla="*/ 98509 w 120414"/>
                <a:gd name="connsiteY21" fmla="*/ 139322 h 163325"/>
                <a:gd name="connsiteX22" fmla="*/ 114760 w 120414"/>
                <a:gd name="connsiteY22" fmla="*/ 113232 h 16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0414" h="163325">
                  <a:moveTo>
                    <a:pt x="64704" y="142080"/>
                  </a:moveTo>
                  <a:cubicBezTo>
                    <a:pt x="56437" y="145074"/>
                    <a:pt x="47704" y="146564"/>
                    <a:pt x="38912" y="146478"/>
                  </a:cubicBezTo>
                  <a:lnTo>
                    <a:pt x="16549" y="146478"/>
                  </a:lnTo>
                  <a:lnTo>
                    <a:pt x="16549" y="16474"/>
                  </a:lnTo>
                  <a:lnTo>
                    <a:pt x="38539" y="16474"/>
                  </a:lnTo>
                  <a:cubicBezTo>
                    <a:pt x="47428" y="16361"/>
                    <a:pt x="56269" y="17850"/>
                    <a:pt x="64629" y="20872"/>
                  </a:cubicBezTo>
                  <a:cubicBezTo>
                    <a:pt x="72486" y="23938"/>
                    <a:pt x="79635" y="28566"/>
                    <a:pt x="85650" y="34476"/>
                  </a:cubicBezTo>
                  <a:cubicBezTo>
                    <a:pt x="91610" y="40450"/>
                    <a:pt x="96224" y="47630"/>
                    <a:pt x="99180" y="55535"/>
                  </a:cubicBezTo>
                  <a:cubicBezTo>
                    <a:pt x="102195" y="63898"/>
                    <a:pt x="103686" y="72735"/>
                    <a:pt x="103578" y="81625"/>
                  </a:cubicBezTo>
                  <a:cubicBezTo>
                    <a:pt x="103690" y="90516"/>
                    <a:pt x="102203" y="99353"/>
                    <a:pt x="99180" y="107715"/>
                  </a:cubicBezTo>
                  <a:cubicBezTo>
                    <a:pt x="96258" y="115613"/>
                    <a:pt x="91700" y="122803"/>
                    <a:pt x="85799" y="128811"/>
                  </a:cubicBezTo>
                  <a:cubicBezTo>
                    <a:pt x="79855" y="134752"/>
                    <a:pt x="72695" y="139342"/>
                    <a:pt x="64815" y="142266"/>
                  </a:cubicBezTo>
                  <a:moveTo>
                    <a:pt x="114983" y="113492"/>
                  </a:moveTo>
                  <a:cubicBezTo>
                    <a:pt x="122225" y="92993"/>
                    <a:pt x="122225" y="70630"/>
                    <a:pt x="114983" y="50130"/>
                  </a:cubicBezTo>
                  <a:cubicBezTo>
                    <a:pt x="111647" y="40324"/>
                    <a:pt x="106131" y="31404"/>
                    <a:pt x="98845" y="24040"/>
                  </a:cubicBezTo>
                  <a:cubicBezTo>
                    <a:pt x="91036" y="16288"/>
                    <a:pt x="81726" y="10213"/>
                    <a:pt x="71487" y="6187"/>
                  </a:cubicBezTo>
                  <a:cubicBezTo>
                    <a:pt x="62456" y="2562"/>
                    <a:pt x="52881" y="471"/>
                    <a:pt x="43161" y="0"/>
                  </a:cubicBezTo>
                  <a:lnTo>
                    <a:pt x="0" y="0"/>
                  </a:lnTo>
                  <a:lnTo>
                    <a:pt x="0" y="163325"/>
                  </a:lnTo>
                  <a:lnTo>
                    <a:pt x="38688" y="163325"/>
                  </a:lnTo>
                  <a:cubicBezTo>
                    <a:pt x="49929" y="163357"/>
                    <a:pt x="61066" y="161205"/>
                    <a:pt x="71487" y="156989"/>
                  </a:cubicBezTo>
                  <a:cubicBezTo>
                    <a:pt x="81618" y="153032"/>
                    <a:pt x="90820" y="147016"/>
                    <a:pt x="98509" y="139322"/>
                  </a:cubicBezTo>
                  <a:cubicBezTo>
                    <a:pt x="105826" y="131963"/>
                    <a:pt x="111383" y="123044"/>
                    <a:pt x="114760" y="113232"/>
                  </a:cubicBezTo>
                </a:path>
              </a:pathLst>
            </a:custGeom>
            <a:solidFill>
              <a:srgbClr val="E2E2E3"/>
            </a:solidFill>
            <a:ln w="3718" cap="flat">
              <a:noFill/>
              <a:prstDash val="solid"/>
              <a:miter/>
            </a:ln>
          </p:spPr>
          <p:txBody>
            <a:bodyPr rtlCol="0" anchor="ctr"/>
            <a:lstStyle/>
            <a:p>
              <a:endParaRPr lang="en-US" dirty="0"/>
            </a:p>
          </p:txBody>
        </p:sp>
        <p:sp>
          <p:nvSpPr>
            <p:cNvPr id="18" name="Freeform: Shape 17">
              <a:extLst>
                <a:ext uri="{FF2B5EF4-FFF2-40B4-BE49-F238E27FC236}">
                  <a16:creationId xmlns:a16="http://schemas.microsoft.com/office/drawing/2014/main" id="{A7A48502-14EA-4EEF-88AE-8D0F8AA7DDD5}"/>
                </a:ext>
              </a:extLst>
            </p:cNvPr>
            <p:cNvSpPr/>
            <p:nvPr/>
          </p:nvSpPr>
          <p:spPr>
            <a:xfrm>
              <a:off x="370754" y="6588754"/>
              <a:ext cx="167181" cy="167152"/>
            </a:xfrm>
            <a:custGeom>
              <a:avLst/>
              <a:gdLst>
                <a:gd name="connsiteX0" fmla="*/ 48014 w 167181"/>
                <a:gd name="connsiteY0" fmla="*/ 48062 h 167152"/>
                <a:gd name="connsiteX1" fmla="*/ 118646 w 167181"/>
                <a:gd name="connsiteY1" fmla="*/ 47877 h 167152"/>
                <a:gd name="connsiteX2" fmla="*/ 118830 w 167181"/>
                <a:gd name="connsiteY2" fmla="*/ 48062 h 167152"/>
                <a:gd name="connsiteX3" fmla="*/ 133739 w 167181"/>
                <a:gd name="connsiteY3" fmla="*/ 83544 h 167152"/>
                <a:gd name="connsiteX4" fmla="*/ 118830 w 167181"/>
                <a:gd name="connsiteY4" fmla="*/ 119027 h 167152"/>
                <a:gd name="connsiteX5" fmla="*/ 48014 w 167181"/>
                <a:gd name="connsiteY5" fmla="*/ 119027 h 167152"/>
                <a:gd name="connsiteX6" fmla="*/ 33292 w 167181"/>
                <a:gd name="connsiteY6" fmla="*/ 83507 h 167152"/>
                <a:gd name="connsiteX7" fmla="*/ 48014 w 167181"/>
                <a:gd name="connsiteY7" fmla="*/ 48024 h 167152"/>
                <a:gd name="connsiteX8" fmla="*/ 83460 w 167181"/>
                <a:gd name="connsiteY8" fmla="*/ 167108 h 167152"/>
                <a:gd name="connsiteX9" fmla="*/ 142573 w 167181"/>
                <a:gd name="connsiteY9" fmla="*/ 142806 h 167152"/>
                <a:gd name="connsiteX10" fmla="*/ 167172 w 167181"/>
                <a:gd name="connsiteY10" fmla="*/ 83693 h 167152"/>
                <a:gd name="connsiteX11" fmla="*/ 142573 w 167181"/>
                <a:gd name="connsiteY11" fmla="*/ 24543 h 167152"/>
                <a:gd name="connsiteX12" fmla="*/ 24924 w 167181"/>
                <a:gd name="connsiteY12" fmla="*/ 24189 h 167152"/>
                <a:gd name="connsiteX13" fmla="*/ 24533 w 167181"/>
                <a:gd name="connsiteY13" fmla="*/ 24580 h 167152"/>
                <a:gd name="connsiteX14" fmla="*/ 8 w 167181"/>
                <a:gd name="connsiteY14" fmla="*/ 83731 h 167152"/>
                <a:gd name="connsiteX15" fmla="*/ 24533 w 167181"/>
                <a:gd name="connsiteY15" fmla="*/ 142844 h 167152"/>
                <a:gd name="connsiteX16" fmla="*/ 83609 w 167181"/>
                <a:gd name="connsiteY16" fmla="*/ 167145 h 16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7181" h="167152">
                  <a:moveTo>
                    <a:pt x="48014" y="48062"/>
                  </a:moveTo>
                  <a:cubicBezTo>
                    <a:pt x="67467" y="28506"/>
                    <a:pt x="99090" y="28424"/>
                    <a:pt x="118646" y="47877"/>
                  </a:cubicBezTo>
                  <a:cubicBezTo>
                    <a:pt x="118707" y="47938"/>
                    <a:pt x="118769" y="48000"/>
                    <a:pt x="118830" y="48062"/>
                  </a:cubicBezTo>
                  <a:cubicBezTo>
                    <a:pt x="128486" y="57324"/>
                    <a:pt x="133882" y="70166"/>
                    <a:pt x="133739" y="83544"/>
                  </a:cubicBezTo>
                  <a:cubicBezTo>
                    <a:pt x="133931" y="96933"/>
                    <a:pt x="128527" y="109794"/>
                    <a:pt x="118830" y="119027"/>
                  </a:cubicBezTo>
                  <a:cubicBezTo>
                    <a:pt x="99245" y="138511"/>
                    <a:pt x="67599" y="138511"/>
                    <a:pt x="48014" y="119027"/>
                  </a:cubicBezTo>
                  <a:cubicBezTo>
                    <a:pt x="38418" y="109724"/>
                    <a:pt x="33090" y="96871"/>
                    <a:pt x="33292" y="83507"/>
                  </a:cubicBezTo>
                  <a:cubicBezTo>
                    <a:pt x="33145" y="70165"/>
                    <a:pt x="38464" y="57343"/>
                    <a:pt x="48014" y="48024"/>
                  </a:cubicBezTo>
                  <a:moveTo>
                    <a:pt x="83460" y="167108"/>
                  </a:moveTo>
                  <a:cubicBezTo>
                    <a:pt x="105663" y="167458"/>
                    <a:pt x="127035" y="158672"/>
                    <a:pt x="142573" y="142806"/>
                  </a:cubicBezTo>
                  <a:cubicBezTo>
                    <a:pt x="158615" y="127366"/>
                    <a:pt x="167524" y="105957"/>
                    <a:pt x="167172" y="83693"/>
                  </a:cubicBezTo>
                  <a:cubicBezTo>
                    <a:pt x="167485" y="61427"/>
                    <a:pt x="158583" y="40021"/>
                    <a:pt x="142573" y="24543"/>
                  </a:cubicBezTo>
                  <a:cubicBezTo>
                    <a:pt x="110183" y="-8042"/>
                    <a:pt x="57510" y="-8201"/>
                    <a:pt x="24924" y="24189"/>
                  </a:cubicBezTo>
                  <a:cubicBezTo>
                    <a:pt x="24793" y="24319"/>
                    <a:pt x="24663" y="24450"/>
                    <a:pt x="24533" y="24580"/>
                  </a:cubicBezTo>
                  <a:cubicBezTo>
                    <a:pt x="8591" y="40099"/>
                    <a:pt x="-276" y="61485"/>
                    <a:pt x="8" y="83731"/>
                  </a:cubicBezTo>
                  <a:cubicBezTo>
                    <a:pt x="-310" y="105972"/>
                    <a:pt x="8564" y="127360"/>
                    <a:pt x="24533" y="142844"/>
                  </a:cubicBezTo>
                  <a:cubicBezTo>
                    <a:pt x="40084" y="158666"/>
                    <a:pt x="61426" y="167445"/>
                    <a:pt x="83609" y="167145"/>
                  </a:cubicBezTo>
                </a:path>
              </a:pathLst>
            </a:custGeom>
            <a:solidFill>
              <a:srgbClr val="E2E2E3"/>
            </a:solidFill>
            <a:ln w="3718"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CB2758F6-0BE4-4B75-8978-69932601AA40}"/>
                </a:ext>
              </a:extLst>
            </p:cNvPr>
            <p:cNvSpPr/>
            <p:nvPr/>
          </p:nvSpPr>
          <p:spPr>
            <a:xfrm>
              <a:off x="552052" y="6589991"/>
              <a:ext cx="121133" cy="164789"/>
            </a:xfrm>
            <a:custGeom>
              <a:avLst/>
              <a:gdLst>
                <a:gd name="connsiteX0" fmla="*/ 33321 w 121133"/>
                <a:gd name="connsiteY0" fmla="*/ 32848 h 164789"/>
                <a:gd name="connsiteX1" fmla="*/ 51957 w 121133"/>
                <a:gd name="connsiteY1" fmla="*/ 32848 h 164789"/>
                <a:gd name="connsiteX2" fmla="*/ 72382 w 121133"/>
                <a:gd name="connsiteY2" fmla="*/ 39371 h 164789"/>
                <a:gd name="connsiteX3" fmla="*/ 78941 w 121133"/>
                <a:gd name="connsiteY3" fmla="*/ 55211 h 164789"/>
                <a:gd name="connsiteX4" fmla="*/ 56914 w 121133"/>
                <a:gd name="connsiteY4" fmla="*/ 78543 h 164789"/>
                <a:gd name="connsiteX5" fmla="*/ 45732 w 121133"/>
                <a:gd name="connsiteY5" fmla="*/ 78543 h 164789"/>
                <a:gd name="connsiteX6" fmla="*/ 45732 w 121133"/>
                <a:gd name="connsiteY6" fmla="*/ 78543 h 164789"/>
                <a:gd name="connsiteX7" fmla="*/ 33321 w 121133"/>
                <a:gd name="connsiteY7" fmla="*/ 78543 h 164789"/>
                <a:gd name="connsiteX8" fmla="*/ 33321 w 121133"/>
                <a:gd name="connsiteY8" fmla="*/ 164790 h 164789"/>
                <a:gd name="connsiteX9" fmla="*/ 33321 w 121133"/>
                <a:gd name="connsiteY9" fmla="*/ 91924 h 164789"/>
                <a:gd name="connsiteX10" fmla="*/ 80656 w 121133"/>
                <a:gd name="connsiteY10" fmla="*/ 164790 h 164789"/>
                <a:gd name="connsiteX11" fmla="*/ 121133 w 121133"/>
                <a:gd name="connsiteY11" fmla="*/ 164790 h 164789"/>
                <a:gd name="connsiteX12" fmla="*/ 82818 w 121133"/>
                <a:gd name="connsiteY12" fmla="*/ 105155 h 164789"/>
                <a:gd name="connsiteX13" fmla="*/ 102423 w 121133"/>
                <a:gd name="connsiteY13" fmla="*/ 89725 h 164789"/>
                <a:gd name="connsiteX14" fmla="*/ 112859 w 121133"/>
                <a:gd name="connsiteY14" fmla="*/ 58342 h 164789"/>
                <a:gd name="connsiteX15" fmla="*/ 112859 w 121133"/>
                <a:gd name="connsiteY15" fmla="*/ 54205 h 164789"/>
                <a:gd name="connsiteX16" fmla="*/ 96906 w 121133"/>
                <a:gd name="connsiteY16" fmla="*/ 16933 h 164789"/>
                <a:gd name="connsiteX17" fmla="*/ 53746 w 121133"/>
                <a:gd name="connsiteY17" fmla="*/ 12 h 164789"/>
                <a:gd name="connsiteX18" fmla="*/ 0 w 121133"/>
                <a:gd name="connsiteY18" fmla="*/ 12 h 164789"/>
                <a:gd name="connsiteX19" fmla="*/ 0 w 121133"/>
                <a:gd name="connsiteY19" fmla="*/ 164790 h 16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133" h="164789">
                  <a:moveTo>
                    <a:pt x="33321" y="32848"/>
                  </a:moveTo>
                  <a:lnTo>
                    <a:pt x="51957" y="32848"/>
                  </a:lnTo>
                  <a:cubicBezTo>
                    <a:pt x="59325" y="32508"/>
                    <a:pt x="66575" y="34822"/>
                    <a:pt x="72382" y="39371"/>
                  </a:cubicBezTo>
                  <a:cubicBezTo>
                    <a:pt x="76586" y="43570"/>
                    <a:pt x="78945" y="49269"/>
                    <a:pt x="78941" y="55211"/>
                  </a:cubicBezTo>
                  <a:cubicBezTo>
                    <a:pt x="79296" y="67735"/>
                    <a:pt x="69437" y="78178"/>
                    <a:pt x="56914" y="78543"/>
                  </a:cubicBezTo>
                  <a:lnTo>
                    <a:pt x="45732" y="78543"/>
                  </a:lnTo>
                  <a:lnTo>
                    <a:pt x="45732" y="78543"/>
                  </a:lnTo>
                  <a:lnTo>
                    <a:pt x="33321" y="78543"/>
                  </a:lnTo>
                  <a:close/>
                  <a:moveTo>
                    <a:pt x="33321" y="164790"/>
                  </a:moveTo>
                  <a:lnTo>
                    <a:pt x="33321" y="91924"/>
                  </a:lnTo>
                  <a:lnTo>
                    <a:pt x="80656" y="164790"/>
                  </a:lnTo>
                  <a:lnTo>
                    <a:pt x="121133" y="164790"/>
                  </a:lnTo>
                  <a:lnTo>
                    <a:pt x="82818" y="105155"/>
                  </a:lnTo>
                  <a:cubicBezTo>
                    <a:pt x="90932" y="102416"/>
                    <a:pt x="97853" y="96968"/>
                    <a:pt x="102423" y="89725"/>
                  </a:cubicBezTo>
                  <a:cubicBezTo>
                    <a:pt x="109132" y="80630"/>
                    <a:pt x="112784" y="69643"/>
                    <a:pt x="112859" y="58342"/>
                  </a:cubicBezTo>
                  <a:lnTo>
                    <a:pt x="112859" y="54205"/>
                  </a:lnTo>
                  <a:cubicBezTo>
                    <a:pt x="112859" y="35979"/>
                    <a:pt x="106933" y="26810"/>
                    <a:pt x="96906" y="16933"/>
                  </a:cubicBezTo>
                  <a:cubicBezTo>
                    <a:pt x="85337" y="5785"/>
                    <a:pt x="69810" y="-303"/>
                    <a:pt x="53746" y="12"/>
                  </a:cubicBezTo>
                  <a:lnTo>
                    <a:pt x="0" y="12"/>
                  </a:lnTo>
                  <a:lnTo>
                    <a:pt x="0" y="164790"/>
                  </a:lnTo>
                  <a:close/>
                </a:path>
              </a:pathLst>
            </a:custGeom>
            <a:solidFill>
              <a:srgbClr val="E2E2E3"/>
            </a:solidFill>
            <a:ln w="3718" cap="flat">
              <a:noFill/>
              <a:prstDash val="solid"/>
              <a:miter/>
            </a:ln>
          </p:spPr>
          <p:txBody>
            <a:bodyPr rtlCol="0" anchor="ctr"/>
            <a:lstStyle/>
            <a:p>
              <a:endParaRPr lang="en-US" dirty="0"/>
            </a:p>
          </p:txBody>
        </p:sp>
        <p:sp>
          <p:nvSpPr>
            <p:cNvPr id="20" name="Freeform: Shape 19">
              <a:extLst>
                <a:ext uri="{FF2B5EF4-FFF2-40B4-BE49-F238E27FC236}">
                  <a16:creationId xmlns:a16="http://schemas.microsoft.com/office/drawing/2014/main" id="{2376D27C-1D4B-48D2-9AB4-F69793234F08}"/>
                </a:ext>
              </a:extLst>
            </p:cNvPr>
            <p:cNvSpPr/>
            <p:nvPr/>
          </p:nvSpPr>
          <p:spPr>
            <a:xfrm>
              <a:off x="681161" y="6590003"/>
              <a:ext cx="114275" cy="164778"/>
            </a:xfrm>
            <a:custGeom>
              <a:avLst/>
              <a:gdLst>
                <a:gd name="connsiteX0" fmla="*/ 40552 w 114275"/>
                <a:gd name="connsiteY0" fmla="*/ 164778 h 164778"/>
                <a:gd name="connsiteX1" fmla="*/ 73798 w 114275"/>
                <a:gd name="connsiteY1" fmla="*/ 164778 h 164778"/>
                <a:gd name="connsiteX2" fmla="*/ 73798 w 114275"/>
                <a:gd name="connsiteY2" fmla="*/ 32836 h 164778"/>
                <a:gd name="connsiteX3" fmla="*/ 114275 w 114275"/>
                <a:gd name="connsiteY3" fmla="*/ 32836 h 164778"/>
                <a:gd name="connsiteX4" fmla="*/ 114275 w 114275"/>
                <a:gd name="connsiteY4" fmla="*/ 0 h 164778"/>
                <a:gd name="connsiteX5" fmla="*/ 0 w 114275"/>
                <a:gd name="connsiteY5" fmla="*/ 0 h 164778"/>
                <a:gd name="connsiteX6" fmla="*/ 0 w 114275"/>
                <a:gd name="connsiteY6" fmla="*/ 32836 h 164778"/>
                <a:gd name="connsiteX7" fmla="*/ 40552 w 114275"/>
                <a:gd name="connsiteY7" fmla="*/ 32836 h 164778"/>
                <a:gd name="connsiteX8" fmla="*/ 40552 w 114275"/>
                <a:gd name="connsiteY8" fmla="*/ 164778 h 16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275" h="164778">
                  <a:moveTo>
                    <a:pt x="40552" y="164778"/>
                  </a:moveTo>
                  <a:lnTo>
                    <a:pt x="73798" y="164778"/>
                  </a:lnTo>
                  <a:lnTo>
                    <a:pt x="73798" y="32836"/>
                  </a:lnTo>
                  <a:lnTo>
                    <a:pt x="114275" y="32836"/>
                  </a:lnTo>
                  <a:lnTo>
                    <a:pt x="114275" y="0"/>
                  </a:lnTo>
                  <a:lnTo>
                    <a:pt x="0" y="0"/>
                  </a:lnTo>
                  <a:lnTo>
                    <a:pt x="0" y="32836"/>
                  </a:lnTo>
                  <a:lnTo>
                    <a:pt x="40552" y="32836"/>
                  </a:lnTo>
                  <a:lnTo>
                    <a:pt x="40552" y="164778"/>
                  </a:lnTo>
                  <a:close/>
                </a:path>
              </a:pathLst>
            </a:custGeom>
            <a:solidFill>
              <a:srgbClr val="E2E2E3"/>
            </a:solidFill>
            <a:ln w="3718"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91D3FCED-D301-4A0A-AFBA-168D495661C0}"/>
                </a:ext>
              </a:extLst>
            </p:cNvPr>
            <p:cNvSpPr/>
            <p:nvPr/>
          </p:nvSpPr>
          <p:spPr>
            <a:xfrm>
              <a:off x="809749" y="6590003"/>
              <a:ext cx="121095" cy="164778"/>
            </a:xfrm>
            <a:custGeom>
              <a:avLst/>
              <a:gdLst>
                <a:gd name="connsiteX0" fmla="*/ 33023 w 121095"/>
                <a:gd name="connsiteY0" fmla="*/ 98770 h 164778"/>
                <a:gd name="connsiteX1" fmla="*/ 88110 w 121095"/>
                <a:gd name="connsiteY1" fmla="*/ 98770 h 164778"/>
                <a:gd name="connsiteX2" fmla="*/ 88110 w 121095"/>
                <a:gd name="connsiteY2" fmla="*/ 164778 h 164778"/>
                <a:gd name="connsiteX3" fmla="*/ 121096 w 121095"/>
                <a:gd name="connsiteY3" fmla="*/ 164778 h 164778"/>
                <a:gd name="connsiteX4" fmla="*/ 121096 w 121095"/>
                <a:gd name="connsiteY4" fmla="*/ 0 h 164778"/>
                <a:gd name="connsiteX5" fmla="*/ 88110 w 121095"/>
                <a:gd name="connsiteY5" fmla="*/ 0 h 164778"/>
                <a:gd name="connsiteX6" fmla="*/ 88110 w 121095"/>
                <a:gd name="connsiteY6" fmla="*/ 65934 h 164778"/>
                <a:gd name="connsiteX7" fmla="*/ 33023 w 121095"/>
                <a:gd name="connsiteY7" fmla="*/ 65934 h 164778"/>
                <a:gd name="connsiteX8" fmla="*/ 33023 w 121095"/>
                <a:gd name="connsiteY8" fmla="*/ 0 h 164778"/>
                <a:gd name="connsiteX9" fmla="*/ 0 w 121095"/>
                <a:gd name="connsiteY9" fmla="*/ 0 h 164778"/>
                <a:gd name="connsiteX10" fmla="*/ 0 w 121095"/>
                <a:gd name="connsiteY10" fmla="*/ 164778 h 164778"/>
                <a:gd name="connsiteX11" fmla="*/ 33023 w 121095"/>
                <a:gd name="connsiteY11" fmla="*/ 164778 h 164778"/>
                <a:gd name="connsiteX12" fmla="*/ 33023 w 121095"/>
                <a:gd name="connsiteY12" fmla="*/ 98770 h 16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095" h="164778">
                  <a:moveTo>
                    <a:pt x="33023" y="98770"/>
                  </a:moveTo>
                  <a:lnTo>
                    <a:pt x="88110" y="98770"/>
                  </a:lnTo>
                  <a:lnTo>
                    <a:pt x="88110" y="164778"/>
                  </a:lnTo>
                  <a:lnTo>
                    <a:pt x="121096" y="164778"/>
                  </a:lnTo>
                  <a:lnTo>
                    <a:pt x="121096" y="0"/>
                  </a:lnTo>
                  <a:lnTo>
                    <a:pt x="88110" y="0"/>
                  </a:lnTo>
                  <a:lnTo>
                    <a:pt x="88110" y="65934"/>
                  </a:lnTo>
                  <a:lnTo>
                    <a:pt x="33023" y="65934"/>
                  </a:lnTo>
                  <a:lnTo>
                    <a:pt x="33023" y="0"/>
                  </a:lnTo>
                  <a:lnTo>
                    <a:pt x="0" y="0"/>
                  </a:lnTo>
                  <a:lnTo>
                    <a:pt x="0" y="164778"/>
                  </a:lnTo>
                  <a:lnTo>
                    <a:pt x="33023" y="164778"/>
                  </a:lnTo>
                  <a:lnTo>
                    <a:pt x="33023" y="98770"/>
                  </a:lnTo>
                  <a:close/>
                </a:path>
              </a:pathLst>
            </a:custGeom>
            <a:solidFill>
              <a:srgbClr val="E2E2E3"/>
            </a:solidFill>
            <a:ln w="3718"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DFC272E1-3680-4AD3-9F53-18B0E12A9C38}"/>
                </a:ext>
              </a:extLst>
            </p:cNvPr>
            <p:cNvSpPr/>
            <p:nvPr/>
          </p:nvSpPr>
          <p:spPr>
            <a:xfrm>
              <a:off x="223838" y="6589593"/>
              <a:ext cx="132463" cy="168580"/>
            </a:xfrm>
            <a:custGeom>
              <a:avLst/>
              <a:gdLst>
                <a:gd name="connsiteX0" fmla="*/ 0 w 132463"/>
                <a:gd name="connsiteY0" fmla="*/ 165412 h 168580"/>
                <a:gd name="connsiteX1" fmla="*/ 33097 w 132463"/>
                <a:gd name="connsiteY1" fmla="*/ 165412 h 168580"/>
                <a:gd name="connsiteX2" fmla="*/ 33097 w 132463"/>
                <a:gd name="connsiteY2" fmla="*/ 73910 h 168580"/>
                <a:gd name="connsiteX3" fmla="*/ 132464 w 132463"/>
                <a:gd name="connsiteY3" fmla="*/ 168580 h 168580"/>
                <a:gd name="connsiteX4" fmla="*/ 132464 w 132463"/>
                <a:gd name="connsiteY4" fmla="*/ 0 h 168580"/>
                <a:gd name="connsiteX5" fmla="*/ 99255 w 132463"/>
                <a:gd name="connsiteY5" fmla="*/ 0 h 168580"/>
                <a:gd name="connsiteX6" fmla="*/ 99255 w 132463"/>
                <a:gd name="connsiteY6" fmla="*/ 91502 h 168580"/>
                <a:gd name="connsiteX7" fmla="*/ 48490 w 132463"/>
                <a:gd name="connsiteY7" fmla="*/ 43161 h 168580"/>
                <a:gd name="connsiteX8" fmla="*/ 0 w 132463"/>
                <a:gd name="connsiteY8" fmla="*/ 91651 h 168580"/>
                <a:gd name="connsiteX9" fmla="*/ 0 w 132463"/>
                <a:gd name="connsiteY9" fmla="*/ 165412 h 16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463" h="168580">
                  <a:moveTo>
                    <a:pt x="0" y="165412"/>
                  </a:moveTo>
                  <a:lnTo>
                    <a:pt x="33097" y="165412"/>
                  </a:lnTo>
                  <a:lnTo>
                    <a:pt x="33097" y="73910"/>
                  </a:lnTo>
                  <a:lnTo>
                    <a:pt x="132464" y="168580"/>
                  </a:lnTo>
                  <a:lnTo>
                    <a:pt x="132464" y="0"/>
                  </a:lnTo>
                  <a:lnTo>
                    <a:pt x="99255" y="0"/>
                  </a:lnTo>
                  <a:lnTo>
                    <a:pt x="99255" y="91502"/>
                  </a:lnTo>
                  <a:lnTo>
                    <a:pt x="48490" y="43161"/>
                  </a:lnTo>
                  <a:lnTo>
                    <a:pt x="0" y="91651"/>
                  </a:lnTo>
                  <a:lnTo>
                    <a:pt x="0" y="165412"/>
                  </a:lnTo>
                  <a:close/>
                </a:path>
              </a:pathLst>
            </a:custGeom>
            <a:solidFill>
              <a:srgbClr val="E2E2E3"/>
            </a:solidFill>
            <a:ln w="3718" cap="flat">
              <a:no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38DE54ED-250F-4D85-9846-B532C0AA0789}"/>
                </a:ext>
              </a:extLst>
            </p:cNvPr>
            <p:cNvSpPr/>
            <p:nvPr/>
          </p:nvSpPr>
          <p:spPr>
            <a:xfrm>
              <a:off x="223838" y="6586537"/>
              <a:ext cx="48490" cy="94707"/>
            </a:xfrm>
            <a:custGeom>
              <a:avLst/>
              <a:gdLst>
                <a:gd name="connsiteX0" fmla="*/ 0 w 48490"/>
                <a:gd name="connsiteY0" fmla="*/ 94707 h 94707"/>
                <a:gd name="connsiteX1" fmla="*/ 48490 w 48490"/>
                <a:gd name="connsiteY1" fmla="*/ 46180 h 94707"/>
                <a:gd name="connsiteX2" fmla="*/ 0 w 48490"/>
                <a:gd name="connsiteY2" fmla="*/ 0 h 94707"/>
                <a:gd name="connsiteX3" fmla="*/ 0 w 48490"/>
                <a:gd name="connsiteY3" fmla="*/ 94707 h 94707"/>
              </a:gdLst>
              <a:ahLst/>
              <a:cxnLst>
                <a:cxn ang="0">
                  <a:pos x="connsiteX0" y="connsiteY0"/>
                </a:cxn>
                <a:cxn ang="0">
                  <a:pos x="connsiteX1" y="connsiteY1"/>
                </a:cxn>
                <a:cxn ang="0">
                  <a:pos x="connsiteX2" y="connsiteY2"/>
                </a:cxn>
                <a:cxn ang="0">
                  <a:pos x="connsiteX3" y="connsiteY3"/>
                </a:cxn>
              </a:cxnLst>
              <a:rect l="l" t="t" r="r" b="b"/>
              <a:pathLst>
                <a:path w="48490" h="94707">
                  <a:moveTo>
                    <a:pt x="0" y="94707"/>
                  </a:moveTo>
                  <a:lnTo>
                    <a:pt x="48490" y="46180"/>
                  </a:lnTo>
                  <a:lnTo>
                    <a:pt x="0" y="0"/>
                  </a:lnTo>
                  <a:lnTo>
                    <a:pt x="0" y="94707"/>
                  </a:lnTo>
                  <a:close/>
                </a:path>
              </a:pathLst>
            </a:custGeom>
            <a:solidFill>
              <a:srgbClr val="E2E2E3"/>
            </a:solidFill>
            <a:ln w="3718"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28451949"/>
      </p:ext>
    </p:extLst>
  </p:cSld>
  <p:clrMapOvr>
    <a:overrideClrMapping bg1="dk1" tx1="lt1" bg2="dk2" tx2="lt2" accent1="accent1" accent2="accent2" accent3="accent3" accent4="accent4" accent5="accent5" accent6="accent6" hlink="hlink" folHlink="folHlink"/>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ubsection Divider Grey">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5023233-F6FC-4927-94AC-4F8681FC8475}"/>
              </a:ext>
            </a:extLst>
          </p:cNvPr>
          <p:cNvSpPr>
            <a:spLocks noGrp="1"/>
          </p:cNvSpPr>
          <p:nvPr>
            <p:ph type="body" sz="quarter" idx="21" hasCustomPrompt="1"/>
          </p:nvPr>
        </p:nvSpPr>
        <p:spPr>
          <a:xfrm>
            <a:off x="2714625" y="1828800"/>
            <a:ext cx="6762750" cy="3200400"/>
          </a:xfrm>
          <a:ln>
            <a:solidFill>
              <a:schemeClr val="tx1"/>
            </a:solidFill>
          </a:ln>
        </p:spPr>
        <p:txBody>
          <a:bodyPr/>
          <a:lstStyle>
            <a:lvl1pPr>
              <a:defRPr/>
            </a:lvl1pPr>
          </a:lstStyle>
          <a:p>
            <a:pPr lvl="0"/>
            <a:r>
              <a:rPr lang="en-US"/>
              <a:t> </a:t>
            </a:r>
          </a:p>
        </p:txBody>
      </p:sp>
      <p:sp>
        <p:nvSpPr>
          <p:cNvPr id="66" name="Text Placeholder 43">
            <a:extLst>
              <a:ext uri="{FF2B5EF4-FFF2-40B4-BE49-F238E27FC236}">
                <a16:creationId xmlns:a16="http://schemas.microsoft.com/office/drawing/2014/main" id="{B71C1A23-9EDF-4C92-98F1-0130A7178B36}"/>
              </a:ext>
            </a:extLst>
          </p:cNvPr>
          <p:cNvSpPr>
            <a:spLocks noGrp="1"/>
          </p:cNvSpPr>
          <p:nvPr>
            <p:ph type="body" sz="quarter" idx="27" hasCustomPrompt="1"/>
          </p:nvPr>
        </p:nvSpPr>
        <p:spPr>
          <a:xfrm>
            <a:off x="2714625" y="1828800"/>
            <a:ext cx="272115" cy="272115"/>
          </a:xfrm>
          <a:custGeom>
            <a:avLst/>
            <a:gdLst>
              <a:gd name="connsiteX0" fmla="*/ 0 w 272115"/>
              <a:gd name="connsiteY0" fmla="*/ 0 h 272115"/>
              <a:gd name="connsiteX1" fmla="*/ 272115 w 272115"/>
              <a:gd name="connsiteY1" fmla="*/ 0 h 272115"/>
              <a:gd name="connsiteX2" fmla="*/ 0 w 272115"/>
              <a:gd name="connsiteY2" fmla="*/ 272115 h 272115"/>
            </a:gdLst>
            <a:ahLst/>
            <a:cxnLst>
              <a:cxn ang="0">
                <a:pos x="connsiteX0" y="connsiteY0"/>
              </a:cxn>
              <a:cxn ang="0">
                <a:pos x="connsiteX1" y="connsiteY1"/>
              </a:cxn>
              <a:cxn ang="0">
                <a:pos x="connsiteX2" y="connsiteY2"/>
              </a:cxn>
            </a:cxnLst>
            <a:rect l="l" t="t" r="r" b="b"/>
            <a:pathLst>
              <a:path w="272115" h="272115">
                <a:moveTo>
                  <a:pt x="0" y="0"/>
                </a:moveTo>
                <a:lnTo>
                  <a:pt x="272115" y="0"/>
                </a:lnTo>
                <a:lnTo>
                  <a:pt x="0" y="272115"/>
                </a:lnTo>
                <a:close/>
              </a:path>
            </a:pathLst>
          </a:custGeom>
          <a:solidFill>
            <a:schemeClr val="tx1"/>
          </a:solidFill>
        </p:spPr>
        <p:txBody>
          <a:bodyPr wrap="square">
            <a:noAutofit/>
          </a:bodyPr>
          <a:lstStyle/>
          <a:p>
            <a:pPr lvl="0"/>
            <a:r>
              <a:rPr lang="en-US"/>
              <a:t> </a:t>
            </a:r>
          </a:p>
        </p:txBody>
      </p:sp>
      <p:sp>
        <p:nvSpPr>
          <p:cNvPr id="2" name="Title 1">
            <a:extLst>
              <a:ext uri="{FF2B5EF4-FFF2-40B4-BE49-F238E27FC236}">
                <a16:creationId xmlns:a16="http://schemas.microsoft.com/office/drawing/2014/main" id="{844F0621-2390-4957-AD47-60FDBAA34491}"/>
              </a:ext>
            </a:extLst>
          </p:cNvPr>
          <p:cNvSpPr>
            <a:spLocks noGrp="1"/>
          </p:cNvSpPr>
          <p:nvPr>
            <p:ph type="title" hasCustomPrompt="1"/>
          </p:nvPr>
        </p:nvSpPr>
        <p:spPr>
          <a:xfrm>
            <a:off x="3028950" y="2232661"/>
            <a:ext cx="6134100" cy="2392678"/>
          </a:xfrm>
        </p:spPr>
        <p:txBody>
          <a:bodyPr anchor="ctr"/>
          <a:lstStyle>
            <a:lvl1pPr algn="ctr">
              <a:defRPr sz="2800" b="1">
                <a:solidFill>
                  <a:schemeClr val="tx1"/>
                </a:solidFill>
              </a:defRPr>
            </a:lvl1pPr>
          </a:lstStyle>
          <a:p>
            <a:r>
              <a:rPr lang="en-US"/>
              <a:t>Click to insert section divider name</a:t>
            </a:r>
          </a:p>
        </p:txBody>
      </p:sp>
      <p:sp>
        <p:nvSpPr>
          <p:cNvPr id="36" name="Slide Number Placeholder 4">
            <a:extLst>
              <a:ext uri="{FF2B5EF4-FFF2-40B4-BE49-F238E27FC236}">
                <a16:creationId xmlns:a16="http://schemas.microsoft.com/office/drawing/2014/main" id="{6A3B74FE-6C78-45C8-B9FA-8391A6052964}"/>
              </a:ext>
            </a:extLst>
          </p:cNvPr>
          <p:cNvSpPr>
            <a:spLocks noGrp="1"/>
          </p:cNvSpPr>
          <p:nvPr>
            <p:ph type="sldNum" sz="quarter" idx="12"/>
          </p:nvPr>
        </p:nvSpPr>
        <p:spPr>
          <a:xfrm>
            <a:off x="11610974" y="6538912"/>
            <a:ext cx="445293" cy="263525"/>
          </a:xfrm>
        </p:spPr>
        <p:txBody>
          <a:bodyPr/>
          <a:lstStyle/>
          <a:p>
            <a:fld id="{5034EE70-12A8-400F-8E3D-398CDD8B315D}" type="slidenum">
              <a:rPr lang="en-US" smtClean="0"/>
              <a:pPr/>
              <a:t>‹#›</a:t>
            </a:fld>
            <a:endParaRPr lang="en-US" dirty="0"/>
          </a:p>
        </p:txBody>
      </p:sp>
      <p:sp>
        <p:nvSpPr>
          <p:cNvPr id="49" name="TextBox 48">
            <a:extLst>
              <a:ext uri="{FF2B5EF4-FFF2-40B4-BE49-F238E27FC236}">
                <a16:creationId xmlns:a16="http://schemas.microsoft.com/office/drawing/2014/main" id="{71315377-B799-4E9E-99F8-42F78BAA7BD3}"/>
              </a:ext>
            </a:extLst>
          </p:cNvPr>
          <p:cNvSpPr txBox="1"/>
          <p:nvPr userDrawn="1"/>
        </p:nvSpPr>
        <p:spPr>
          <a:xfrm>
            <a:off x="9817769" y="6576218"/>
            <a:ext cx="1771776" cy="171450"/>
          </a:xfrm>
          <a:prstGeom prst="rect">
            <a:avLst/>
          </a:prstGeom>
          <a:noFill/>
        </p:spPr>
        <p:txBody>
          <a:bodyPr wrap="square" rtlCol="0">
            <a:noAutofit/>
          </a:bodyPr>
          <a:lstStyle/>
          <a:p>
            <a:pPr algn="ctr">
              <a:lnSpc>
                <a:spcPct val="90000"/>
              </a:lnSpc>
              <a:spcAft>
                <a:spcPts val="600"/>
              </a:spcAft>
            </a:pPr>
            <a:r>
              <a:rPr lang="en-US" sz="700" cap="all" spc="10" baseline="0" dirty="0"/>
              <a:t>Proprietary and Confidential</a:t>
            </a:r>
          </a:p>
        </p:txBody>
      </p:sp>
      <p:sp>
        <p:nvSpPr>
          <p:cNvPr id="35" name="Freeform: Shape 34">
            <a:extLst>
              <a:ext uri="{FF2B5EF4-FFF2-40B4-BE49-F238E27FC236}">
                <a16:creationId xmlns:a16="http://schemas.microsoft.com/office/drawing/2014/main" id="{F25C5F94-5CB8-4D8F-9531-B808017F917B}"/>
              </a:ext>
            </a:extLst>
          </p:cNvPr>
          <p:cNvSpPr/>
          <p:nvPr userDrawn="1"/>
        </p:nvSpPr>
        <p:spPr>
          <a:xfrm>
            <a:off x="223837" y="223838"/>
            <a:ext cx="11744326" cy="6262686"/>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dirty="0">
              <a:solidFill>
                <a:schemeClr val="tx1"/>
              </a:solidFill>
            </a:endParaRPr>
          </a:p>
        </p:txBody>
      </p:sp>
      <p:sp>
        <p:nvSpPr>
          <p:cNvPr id="24" name="Footer Placeholder 4">
            <a:extLst>
              <a:ext uri="{FF2B5EF4-FFF2-40B4-BE49-F238E27FC236}">
                <a16:creationId xmlns:a16="http://schemas.microsoft.com/office/drawing/2014/main" id="{8AA76261-3AFF-452D-8EC9-F16F7C0637D3}"/>
              </a:ext>
            </a:extLst>
          </p:cNvPr>
          <p:cNvSpPr>
            <a:spLocks noGrp="1"/>
          </p:cNvSpPr>
          <p:nvPr>
            <p:ph type="ftr" sz="quarter" idx="3"/>
          </p:nvPr>
        </p:nvSpPr>
        <p:spPr>
          <a:xfrm>
            <a:off x="4648200" y="6534150"/>
            <a:ext cx="5169569" cy="263525"/>
          </a:xfrm>
          <a:prstGeom prst="rect">
            <a:avLst/>
          </a:prstGeom>
        </p:spPr>
        <p:txBody>
          <a:bodyPr vert="horz" wrap="square" lIns="91440" tIns="45720" rIns="91440" bIns="45720" rtlCol="0" anchor="ctr">
            <a:noAutofit/>
          </a:bodyPr>
          <a:lstStyle>
            <a:lvl1pPr algn="r">
              <a:lnSpc>
                <a:spcPct val="90000"/>
              </a:lnSpc>
              <a:spcAft>
                <a:spcPts val="600"/>
              </a:spcAft>
              <a:defRPr sz="600">
                <a:solidFill>
                  <a:schemeClr val="tx1"/>
                </a:solidFill>
              </a:defRPr>
            </a:lvl1pPr>
          </a:lstStyle>
          <a:p>
            <a:endParaRPr lang="en-US" sz="600" noProof="0" dirty="0"/>
          </a:p>
        </p:txBody>
      </p:sp>
      <p:grpSp>
        <p:nvGrpSpPr>
          <p:cNvPr id="9" name="Graphic 46">
            <a:extLst>
              <a:ext uri="{FF2B5EF4-FFF2-40B4-BE49-F238E27FC236}">
                <a16:creationId xmlns:a16="http://schemas.microsoft.com/office/drawing/2014/main" id="{D7A7D96B-6D59-44FE-94EE-1DD8258F8272}"/>
              </a:ext>
            </a:extLst>
          </p:cNvPr>
          <p:cNvGrpSpPr/>
          <p:nvPr userDrawn="1"/>
        </p:nvGrpSpPr>
        <p:grpSpPr>
          <a:xfrm>
            <a:off x="223838" y="6586537"/>
            <a:ext cx="1852878" cy="171636"/>
            <a:chOff x="223838" y="6586537"/>
            <a:chExt cx="1852878" cy="171636"/>
          </a:xfrm>
          <a:solidFill>
            <a:srgbClr val="E2E2E3"/>
          </a:solidFill>
        </p:grpSpPr>
        <p:sp>
          <p:nvSpPr>
            <p:cNvPr id="10" name="Freeform: Shape 9">
              <a:extLst>
                <a:ext uri="{FF2B5EF4-FFF2-40B4-BE49-F238E27FC236}">
                  <a16:creationId xmlns:a16="http://schemas.microsoft.com/office/drawing/2014/main" id="{B9DE7E6D-C3BA-43FF-9C7C-A396EA19791A}"/>
                </a:ext>
              </a:extLst>
            </p:cNvPr>
            <p:cNvSpPr/>
            <p:nvPr/>
          </p:nvSpPr>
          <p:spPr>
            <a:xfrm>
              <a:off x="1015600" y="6590823"/>
              <a:ext cx="114610" cy="163250"/>
            </a:xfrm>
            <a:custGeom>
              <a:avLst/>
              <a:gdLst>
                <a:gd name="connsiteX0" fmla="*/ 97913 w 114610"/>
                <a:gd name="connsiteY0" fmla="*/ 163250 h 163250"/>
                <a:gd name="connsiteX1" fmla="*/ 114611 w 114610"/>
                <a:gd name="connsiteY1" fmla="*/ 163250 h 163250"/>
                <a:gd name="connsiteX2" fmla="*/ 114611 w 114610"/>
                <a:gd name="connsiteY2" fmla="*/ 0 h 163250"/>
                <a:gd name="connsiteX3" fmla="*/ 97913 w 114610"/>
                <a:gd name="connsiteY3" fmla="*/ 0 h 163250"/>
                <a:gd name="connsiteX4" fmla="*/ 97913 w 114610"/>
                <a:gd name="connsiteY4" fmla="*/ 73351 h 163250"/>
                <a:gd name="connsiteX5" fmla="*/ 16698 w 114610"/>
                <a:gd name="connsiteY5" fmla="*/ 73351 h 163250"/>
                <a:gd name="connsiteX6" fmla="*/ 16698 w 114610"/>
                <a:gd name="connsiteY6" fmla="*/ 0 h 163250"/>
                <a:gd name="connsiteX7" fmla="*/ 0 w 114610"/>
                <a:gd name="connsiteY7" fmla="*/ 0 h 163250"/>
                <a:gd name="connsiteX8" fmla="*/ 0 w 114610"/>
                <a:gd name="connsiteY8" fmla="*/ 163250 h 163250"/>
                <a:gd name="connsiteX9" fmla="*/ 16698 w 114610"/>
                <a:gd name="connsiteY9" fmla="*/ 163250 h 163250"/>
                <a:gd name="connsiteX10" fmla="*/ 16698 w 114610"/>
                <a:gd name="connsiteY10" fmla="*/ 89937 h 163250"/>
                <a:gd name="connsiteX11" fmla="*/ 97913 w 114610"/>
                <a:gd name="connsiteY11" fmla="*/ 89937 h 163250"/>
                <a:gd name="connsiteX12" fmla="*/ 97913 w 114610"/>
                <a:gd name="connsiteY12" fmla="*/ 16325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610" h="163250">
                  <a:moveTo>
                    <a:pt x="97913" y="163250"/>
                  </a:moveTo>
                  <a:lnTo>
                    <a:pt x="114611" y="163250"/>
                  </a:lnTo>
                  <a:lnTo>
                    <a:pt x="114611" y="0"/>
                  </a:lnTo>
                  <a:lnTo>
                    <a:pt x="97913" y="0"/>
                  </a:lnTo>
                  <a:lnTo>
                    <a:pt x="97913" y="73351"/>
                  </a:lnTo>
                  <a:lnTo>
                    <a:pt x="16698" y="73351"/>
                  </a:lnTo>
                  <a:lnTo>
                    <a:pt x="16698" y="0"/>
                  </a:lnTo>
                  <a:lnTo>
                    <a:pt x="0" y="0"/>
                  </a:lnTo>
                  <a:lnTo>
                    <a:pt x="0" y="163250"/>
                  </a:lnTo>
                  <a:lnTo>
                    <a:pt x="16698" y="163250"/>
                  </a:lnTo>
                  <a:lnTo>
                    <a:pt x="16698" y="89937"/>
                  </a:lnTo>
                  <a:lnTo>
                    <a:pt x="97913" y="89937"/>
                  </a:lnTo>
                  <a:lnTo>
                    <a:pt x="97913" y="163250"/>
                  </a:lnTo>
                  <a:close/>
                </a:path>
              </a:pathLst>
            </a:custGeom>
            <a:solidFill>
              <a:srgbClr val="E2E2E3"/>
            </a:solidFill>
            <a:ln w="3718" cap="flat">
              <a:noFill/>
              <a:prstDash val="solid"/>
              <a:miter/>
            </a:ln>
          </p:spPr>
          <p:txBody>
            <a:bodyPr rtlCol="0" anchor="ctr"/>
            <a:lstStyle/>
            <a:p>
              <a:endParaRPr lang="en-US" dirty="0"/>
            </a:p>
          </p:txBody>
        </p:sp>
        <p:sp>
          <p:nvSpPr>
            <p:cNvPr id="11" name="Freeform: Shape 10">
              <a:extLst>
                <a:ext uri="{FF2B5EF4-FFF2-40B4-BE49-F238E27FC236}">
                  <a16:creationId xmlns:a16="http://schemas.microsoft.com/office/drawing/2014/main" id="{9724B243-6AAD-4DF1-8991-D1421D62827E}"/>
                </a:ext>
              </a:extLst>
            </p:cNvPr>
            <p:cNvSpPr/>
            <p:nvPr/>
          </p:nvSpPr>
          <p:spPr>
            <a:xfrm>
              <a:off x="1158761" y="6590823"/>
              <a:ext cx="16809" cy="163250"/>
            </a:xfrm>
            <a:custGeom>
              <a:avLst/>
              <a:gdLst>
                <a:gd name="connsiteX0" fmla="*/ 0 w 16809"/>
                <a:gd name="connsiteY0" fmla="*/ 0 h 163250"/>
                <a:gd name="connsiteX1" fmla="*/ 16810 w 16809"/>
                <a:gd name="connsiteY1" fmla="*/ 0 h 163250"/>
                <a:gd name="connsiteX2" fmla="*/ 16810 w 16809"/>
                <a:gd name="connsiteY2" fmla="*/ 163250 h 163250"/>
                <a:gd name="connsiteX3" fmla="*/ 0 w 16809"/>
                <a:gd name="connsiteY3" fmla="*/ 163250 h 163250"/>
              </a:gdLst>
              <a:ahLst/>
              <a:cxnLst>
                <a:cxn ang="0">
                  <a:pos x="connsiteX0" y="connsiteY0"/>
                </a:cxn>
                <a:cxn ang="0">
                  <a:pos x="connsiteX1" y="connsiteY1"/>
                </a:cxn>
                <a:cxn ang="0">
                  <a:pos x="connsiteX2" y="connsiteY2"/>
                </a:cxn>
                <a:cxn ang="0">
                  <a:pos x="connsiteX3" y="connsiteY3"/>
                </a:cxn>
              </a:cxnLst>
              <a:rect l="l" t="t" r="r" b="b"/>
              <a:pathLst>
                <a:path w="16809" h="163250">
                  <a:moveTo>
                    <a:pt x="0" y="0"/>
                  </a:moveTo>
                  <a:lnTo>
                    <a:pt x="16810" y="0"/>
                  </a:lnTo>
                  <a:lnTo>
                    <a:pt x="16810" y="163250"/>
                  </a:lnTo>
                  <a:lnTo>
                    <a:pt x="0" y="163250"/>
                  </a:lnTo>
                  <a:close/>
                </a:path>
              </a:pathLst>
            </a:custGeom>
            <a:solidFill>
              <a:srgbClr val="E2E2E3"/>
            </a:solidFill>
            <a:ln w="3718" cap="flat">
              <a:noFill/>
              <a:prstDash val="solid"/>
              <a:miter/>
            </a:ln>
          </p:spPr>
          <p:txBody>
            <a:bodyPr rtlCol="0" anchor="ctr"/>
            <a:lstStyle/>
            <a:p>
              <a:endParaRPr lang="en-US" dirty="0"/>
            </a:p>
          </p:txBody>
        </p:sp>
        <p:sp>
          <p:nvSpPr>
            <p:cNvPr id="12" name="Freeform: Shape 11">
              <a:extLst>
                <a:ext uri="{FF2B5EF4-FFF2-40B4-BE49-F238E27FC236}">
                  <a16:creationId xmlns:a16="http://schemas.microsoft.com/office/drawing/2014/main" id="{8F377E03-6478-4175-91A2-778A1D0450E9}"/>
                </a:ext>
              </a:extLst>
            </p:cNvPr>
            <p:cNvSpPr/>
            <p:nvPr/>
          </p:nvSpPr>
          <p:spPr>
            <a:xfrm>
              <a:off x="1197184" y="6589704"/>
              <a:ext cx="165642" cy="165862"/>
            </a:xfrm>
            <a:custGeom>
              <a:avLst/>
              <a:gdLst>
                <a:gd name="connsiteX0" fmla="*/ 24343 w 165642"/>
                <a:gd name="connsiteY0" fmla="*/ 141596 h 165862"/>
                <a:gd name="connsiteX1" fmla="*/ 114652 w 165642"/>
                <a:gd name="connsiteY1" fmla="*/ 159859 h 165862"/>
                <a:gd name="connsiteX2" fmla="*/ 141600 w 165642"/>
                <a:gd name="connsiteY2" fmla="*/ 141558 h 165862"/>
                <a:gd name="connsiteX3" fmla="*/ 160869 w 165642"/>
                <a:gd name="connsiteY3" fmla="*/ 110996 h 165862"/>
                <a:gd name="connsiteX4" fmla="*/ 165640 w 165642"/>
                <a:gd name="connsiteY4" fmla="*/ 81514 h 165862"/>
                <a:gd name="connsiteX5" fmla="*/ 91283 w 165642"/>
                <a:gd name="connsiteY5" fmla="*/ 81514 h 165862"/>
                <a:gd name="connsiteX6" fmla="*/ 91283 w 165642"/>
                <a:gd name="connsiteY6" fmla="*/ 96720 h 165862"/>
                <a:gd name="connsiteX7" fmla="*/ 149352 w 165642"/>
                <a:gd name="connsiteY7" fmla="*/ 96720 h 165862"/>
                <a:gd name="connsiteX8" fmla="*/ 142606 w 165642"/>
                <a:gd name="connsiteY8" fmla="*/ 110996 h 165862"/>
                <a:gd name="connsiteX9" fmla="*/ 133623 w 165642"/>
                <a:gd name="connsiteY9" fmla="*/ 124935 h 165862"/>
                <a:gd name="connsiteX10" fmla="*/ 121547 w 165642"/>
                <a:gd name="connsiteY10" fmla="*/ 136415 h 165862"/>
                <a:gd name="connsiteX11" fmla="*/ 103471 w 165642"/>
                <a:gd name="connsiteY11" fmla="*/ 145621 h 165862"/>
                <a:gd name="connsiteX12" fmla="*/ 57962 w 165642"/>
                <a:gd name="connsiteY12" fmla="*/ 143944 h 165862"/>
                <a:gd name="connsiteX13" fmla="*/ 36717 w 165642"/>
                <a:gd name="connsiteY13" fmla="*/ 129445 h 165862"/>
                <a:gd name="connsiteX14" fmla="*/ 22330 w 165642"/>
                <a:gd name="connsiteY14" fmla="*/ 108163 h 165862"/>
                <a:gd name="connsiteX15" fmla="*/ 22330 w 165642"/>
                <a:gd name="connsiteY15" fmla="*/ 57734 h 165862"/>
                <a:gd name="connsiteX16" fmla="*/ 36717 w 165642"/>
                <a:gd name="connsiteY16" fmla="*/ 36452 h 165862"/>
                <a:gd name="connsiteX17" fmla="*/ 58036 w 165642"/>
                <a:gd name="connsiteY17" fmla="*/ 21916 h 165862"/>
                <a:gd name="connsiteX18" fmla="*/ 83232 w 165642"/>
                <a:gd name="connsiteY18" fmla="*/ 17034 h 165862"/>
                <a:gd name="connsiteX19" fmla="*/ 108391 w 165642"/>
                <a:gd name="connsiteY19" fmla="*/ 21916 h 165862"/>
                <a:gd name="connsiteX20" fmla="*/ 122106 w 165642"/>
                <a:gd name="connsiteY20" fmla="*/ 29818 h 165862"/>
                <a:gd name="connsiteX21" fmla="*/ 134145 w 165642"/>
                <a:gd name="connsiteY21" fmla="*/ 17704 h 165862"/>
                <a:gd name="connsiteX22" fmla="*/ 129374 w 165642"/>
                <a:gd name="connsiteY22" fmla="*/ 14275 h 165862"/>
                <a:gd name="connsiteX23" fmla="*/ 114988 w 165642"/>
                <a:gd name="connsiteY23" fmla="*/ 6448 h 165862"/>
                <a:gd name="connsiteX24" fmla="*/ 99520 w 165642"/>
                <a:gd name="connsiteY24" fmla="*/ 1640 h 165862"/>
                <a:gd name="connsiteX25" fmla="*/ 82934 w 165642"/>
                <a:gd name="connsiteY25" fmla="*/ 0 h 165862"/>
                <a:gd name="connsiteX26" fmla="*/ 76001 w 165642"/>
                <a:gd name="connsiteY26" fmla="*/ 0 h 165862"/>
                <a:gd name="connsiteX27" fmla="*/ 51104 w 165642"/>
                <a:gd name="connsiteY27" fmla="*/ 5889 h 165862"/>
                <a:gd name="connsiteX28" fmla="*/ 24306 w 165642"/>
                <a:gd name="connsiteY28" fmla="*/ 24264 h 165862"/>
                <a:gd name="connsiteX29" fmla="*/ 6042 w 165642"/>
                <a:gd name="connsiteY29" fmla="*/ 51137 h 165862"/>
                <a:gd name="connsiteX30" fmla="*/ 4 w 165642"/>
                <a:gd name="connsiteY30" fmla="*/ 83042 h 165862"/>
                <a:gd name="connsiteX31" fmla="*/ 6042 w 165642"/>
                <a:gd name="connsiteY31" fmla="*/ 114909 h 165862"/>
                <a:gd name="connsiteX32" fmla="*/ 24268 w 165642"/>
                <a:gd name="connsiteY32" fmla="*/ 141707 h 16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65642" h="165862">
                  <a:moveTo>
                    <a:pt x="24343" y="141596"/>
                  </a:moveTo>
                  <a:cubicBezTo>
                    <a:pt x="48141" y="165094"/>
                    <a:pt x="83594" y="172264"/>
                    <a:pt x="114652" y="159859"/>
                  </a:cubicBezTo>
                  <a:cubicBezTo>
                    <a:pt x="124719" y="155530"/>
                    <a:pt x="133866" y="149319"/>
                    <a:pt x="141600" y="141558"/>
                  </a:cubicBezTo>
                  <a:cubicBezTo>
                    <a:pt x="150347" y="133035"/>
                    <a:pt x="156948" y="122562"/>
                    <a:pt x="160869" y="110996"/>
                  </a:cubicBezTo>
                  <a:cubicBezTo>
                    <a:pt x="164108" y="101507"/>
                    <a:pt x="165722" y="91539"/>
                    <a:pt x="165640" y="81514"/>
                  </a:cubicBezTo>
                  <a:lnTo>
                    <a:pt x="91283" y="81514"/>
                  </a:lnTo>
                  <a:lnTo>
                    <a:pt x="91283" y="96720"/>
                  </a:lnTo>
                  <a:lnTo>
                    <a:pt x="149352" y="96720"/>
                  </a:lnTo>
                  <a:lnTo>
                    <a:pt x="142606" y="110996"/>
                  </a:lnTo>
                  <a:cubicBezTo>
                    <a:pt x="140217" y="116006"/>
                    <a:pt x="137198" y="120690"/>
                    <a:pt x="133623" y="124935"/>
                  </a:cubicBezTo>
                  <a:cubicBezTo>
                    <a:pt x="130083" y="129240"/>
                    <a:pt x="126027" y="133095"/>
                    <a:pt x="121547" y="136415"/>
                  </a:cubicBezTo>
                  <a:cubicBezTo>
                    <a:pt x="116076" y="140470"/>
                    <a:pt x="109967" y="143582"/>
                    <a:pt x="103471" y="145621"/>
                  </a:cubicBezTo>
                  <a:cubicBezTo>
                    <a:pt x="88569" y="150385"/>
                    <a:pt x="72472" y="149792"/>
                    <a:pt x="57962" y="143944"/>
                  </a:cubicBezTo>
                  <a:cubicBezTo>
                    <a:pt x="49975" y="140595"/>
                    <a:pt x="42748" y="135663"/>
                    <a:pt x="36717" y="129445"/>
                  </a:cubicBezTo>
                  <a:cubicBezTo>
                    <a:pt x="30597" y="123344"/>
                    <a:pt x="25711" y="116117"/>
                    <a:pt x="22330" y="108163"/>
                  </a:cubicBezTo>
                  <a:cubicBezTo>
                    <a:pt x="15819" y="91984"/>
                    <a:pt x="15819" y="73913"/>
                    <a:pt x="22330" y="57734"/>
                  </a:cubicBezTo>
                  <a:cubicBezTo>
                    <a:pt x="25729" y="49791"/>
                    <a:pt x="30612" y="42568"/>
                    <a:pt x="36717" y="36452"/>
                  </a:cubicBezTo>
                  <a:cubicBezTo>
                    <a:pt x="42792" y="30244"/>
                    <a:pt x="50038" y="25303"/>
                    <a:pt x="58036" y="21916"/>
                  </a:cubicBezTo>
                  <a:cubicBezTo>
                    <a:pt x="66013" y="18581"/>
                    <a:pt x="74589" y="16919"/>
                    <a:pt x="83232" y="17034"/>
                  </a:cubicBezTo>
                  <a:cubicBezTo>
                    <a:pt x="91861" y="16956"/>
                    <a:pt x="100418" y="18617"/>
                    <a:pt x="108391" y="21916"/>
                  </a:cubicBezTo>
                  <a:cubicBezTo>
                    <a:pt x="113251" y="24012"/>
                    <a:pt x="117854" y="26664"/>
                    <a:pt x="122106" y="29818"/>
                  </a:cubicBezTo>
                  <a:lnTo>
                    <a:pt x="134145" y="17704"/>
                  </a:lnTo>
                  <a:cubicBezTo>
                    <a:pt x="132356" y="16363"/>
                    <a:pt x="130791" y="15244"/>
                    <a:pt x="129374" y="14275"/>
                  </a:cubicBezTo>
                  <a:cubicBezTo>
                    <a:pt x="124820" y="11246"/>
                    <a:pt x="120004" y="8627"/>
                    <a:pt x="114988" y="6448"/>
                  </a:cubicBezTo>
                  <a:cubicBezTo>
                    <a:pt x="110001" y="4347"/>
                    <a:pt x="104820" y="2737"/>
                    <a:pt x="99520" y="1640"/>
                  </a:cubicBezTo>
                  <a:cubicBezTo>
                    <a:pt x="94060" y="534"/>
                    <a:pt x="88502" y="-15"/>
                    <a:pt x="82934" y="0"/>
                  </a:cubicBezTo>
                  <a:lnTo>
                    <a:pt x="76001" y="0"/>
                  </a:lnTo>
                  <a:cubicBezTo>
                    <a:pt x="67440" y="610"/>
                    <a:pt x="59032" y="2598"/>
                    <a:pt x="51104" y="5889"/>
                  </a:cubicBezTo>
                  <a:cubicBezTo>
                    <a:pt x="41022" y="10138"/>
                    <a:pt x="31902" y="16389"/>
                    <a:pt x="24306" y="24264"/>
                  </a:cubicBezTo>
                  <a:cubicBezTo>
                    <a:pt x="16490" y="31918"/>
                    <a:pt x="10284" y="41054"/>
                    <a:pt x="6042" y="51137"/>
                  </a:cubicBezTo>
                  <a:cubicBezTo>
                    <a:pt x="1965" y="61275"/>
                    <a:pt x="-89" y="72114"/>
                    <a:pt x="4" y="83042"/>
                  </a:cubicBezTo>
                  <a:cubicBezTo>
                    <a:pt x="-107" y="93959"/>
                    <a:pt x="1946" y="104789"/>
                    <a:pt x="6042" y="114909"/>
                  </a:cubicBezTo>
                  <a:cubicBezTo>
                    <a:pt x="10206" y="125003"/>
                    <a:pt x="16411" y="134126"/>
                    <a:pt x="24268" y="141707"/>
                  </a:cubicBezTo>
                </a:path>
              </a:pathLst>
            </a:custGeom>
            <a:solidFill>
              <a:srgbClr val="E2E2E3"/>
            </a:solidFill>
            <a:ln w="3718" cap="flat">
              <a:noFill/>
              <a:prstDash val="solid"/>
              <a:miter/>
            </a:ln>
          </p:spPr>
          <p:txBody>
            <a:bodyPr rtlCol="0" anchor="ctr"/>
            <a:lstStyle/>
            <a:p>
              <a:endParaRPr lang="en-US" dirty="0"/>
            </a:p>
          </p:txBody>
        </p:sp>
        <p:sp>
          <p:nvSpPr>
            <p:cNvPr id="13" name="Freeform: Shape 12">
              <a:extLst>
                <a:ext uri="{FF2B5EF4-FFF2-40B4-BE49-F238E27FC236}">
                  <a16:creationId xmlns:a16="http://schemas.microsoft.com/office/drawing/2014/main" id="{C15AD14C-1A0B-48A0-A5CA-2255A5F4BE37}"/>
                </a:ext>
              </a:extLst>
            </p:cNvPr>
            <p:cNvSpPr/>
            <p:nvPr/>
          </p:nvSpPr>
          <p:spPr>
            <a:xfrm>
              <a:off x="1384590" y="6590823"/>
              <a:ext cx="114573" cy="163250"/>
            </a:xfrm>
            <a:custGeom>
              <a:avLst/>
              <a:gdLst>
                <a:gd name="connsiteX0" fmla="*/ 97876 w 114573"/>
                <a:gd name="connsiteY0" fmla="*/ 163250 h 163250"/>
                <a:gd name="connsiteX1" fmla="*/ 114573 w 114573"/>
                <a:gd name="connsiteY1" fmla="*/ 163250 h 163250"/>
                <a:gd name="connsiteX2" fmla="*/ 114573 w 114573"/>
                <a:gd name="connsiteY2" fmla="*/ 0 h 163250"/>
                <a:gd name="connsiteX3" fmla="*/ 97876 w 114573"/>
                <a:gd name="connsiteY3" fmla="*/ 0 h 163250"/>
                <a:gd name="connsiteX4" fmla="*/ 97876 w 114573"/>
                <a:gd name="connsiteY4" fmla="*/ 73351 h 163250"/>
                <a:gd name="connsiteX5" fmla="*/ 16660 w 114573"/>
                <a:gd name="connsiteY5" fmla="*/ 73351 h 163250"/>
                <a:gd name="connsiteX6" fmla="*/ 16660 w 114573"/>
                <a:gd name="connsiteY6" fmla="*/ 0 h 163250"/>
                <a:gd name="connsiteX7" fmla="*/ 0 w 114573"/>
                <a:gd name="connsiteY7" fmla="*/ 0 h 163250"/>
                <a:gd name="connsiteX8" fmla="*/ 0 w 114573"/>
                <a:gd name="connsiteY8" fmla="*/ 163250 h 163250"/>
                <a:gd name="connsiteX9" fmla="*/ 16660 w 114573"/>
                <a:gd name="connsiteY9" fmla="*/ 163250 h 163250"/>
                <a:gd name="connsiteX10" fmla="*/ 16660 w 114573"/>
                <a:gd name="connsiteY10" fmla="*/ 89937 h 163250"/>
                <a:gd name="connsiteX11" fmla="*/ 97876 w 114573"/>
                <a:gd name="connsiteY11" fmla="*/ 89937 h 163250"/>
                <a:gd name="connsiteX12" fmla="*/ 97876 w 114573"/>
                <a:gd name="connsiteY12" fmla="*/ 16325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573" h="163250">
                  <a:moveTo>
                    <a:pt x="97876" y="163250"/>
                  </a:moveTo>
                  <a:lnTo>
                    <a:pt x="114573" y="163250"/>
                  </a:lnTo>
                  <a:lnTo>
                    <a:pt x="114573" y="0"/>
                  </a:lnTo>
                  <a:lnTo>
                    <a:pt x="97876" y="0"/>
                  </a:lnTo>
                  <a:lnTo>
                    <a:pt x="97876" y="73351"/>
                  </a:lnTo>
                  <a:lnTo>
                    <a:pt x="16660" y="73351"/>
                  </a:lnTo>
                  <a:lnTo>
                    <a:pt x="16660" y="0"/>
                  </a:lnTo>
                  <a:lnTo>
                    <a:pt x="0" y="0"/>
                  </a:lnTo>
                  <a:lnTo>
                    <a:pt x="0" y="163250"/>
                  </a:lnTo>
                  <a:lnTo>
                    <a:pt x="16660" y="163250"/>
                  </a:lnTo>
                  <a:lnTo>
                    <a:pt x="16660" y="89937"/>
                  </a:lnTo>
                  <a:lnTo>
                    <a:pt x="97876" y="89937"/>
                  </a:lnTo>
                  <a:lnTo>
                    <a:pt x="97876" y="163250"/>
                  </a:lnTo>
                  <a:close/>
                </a:path>
              </a:pathLst>
            </a:custGeom>
            <a:solidFill>
              <a:srgbClr val="E2E2E3"/>
            </a:solidFill>
            <a:ln w="3718" cap="flat">
              <a:noFill/>
              <a:prstDash val="solid"/>
              <a:miter/>
            </a:ln>
          </p:spPr>
          <p:txBody>
            <a:bodyPr rtlCol="0" anchor="ctr"/>
            <a:lstStyle/>
            <a:p>
              <a:endParaRPr lang="en-US" dirty="0"/>
            </a:p>
          </p:txBody>
        </p:sp>
        <p:sp>
          <p:nvSpPr>
            <p:cNvPr id="14" name="Freeform: Shape 13">
              <a:extLst>
                <a:ext uri="{FF2B5EF4-FFF2-40B4-BE49-F238E27FC236}">
                  <a16:creationId xmlns:a16="http://schemas.microsoft.com/office/drawing/2014/main" id="{653062E4-E07D-449C-86C2-C93E8590DCEE}"/>
                </a:ext>
              </a:extLst>
            </p:cNvPr>
            <p:cNvSpPr/>
            <p:nvPr/>
          </p:nvSpPr>
          <p:spPr>
            <a:xfrm>
              <a:off x="1527751" y="6590823"/>
              <a:ext cx="90346" cy="163250"/>
            </a:xfrm>
            <a:custGeom>
              <a:avLst/>
              <a:gdLst>
                <a:gd name="connsiteX0" fmla="*/ 16810 w 90346"/>
                <a:gd name="connsiteY0" fmla="*/ 0 h 163250"/>
                <a:gd name="connsiteX1" fmla="*/ 0 w 90346"/>
                <a:gd name="connsiteY1" fmla="*/ 0 h 163250"/>
                <a:gd name="connsiteX2" fmla="*/ 0 w 90346"/>
                <a:gd name="connsiteY2" fmla="*/ 163250 h 163250"/>
                <a:gd name="connsiteX3" fmla="*/ 90347 w 90346"/>
                <a:gd name="connsiteY3" fmla="*/ 163250 h 163250"/>
                <a:gd name="connsiteX4" fmla="*/ 90347 w 90346"/>
                <a:gd name="connsiteY4" fmla="*/ 146813 h 163250"/>
                <a:gd name="connsiteX5" fmla="*/ 16810 w 90346"/>
                <a:gd name="connsiteY5" fmla="*/ 146813 h 163250"/>
                <a:gd name="connsiteX6" fmla="*/ 16810 w 90346"/>
                <a:gd name="connsiteY6" fmla="*/ 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346" h="163250">
                  <a:moveTo>
                    <a:pt x="16810" y="0"/>
                  </a:moveTo>
                  <a:lnTo>
                    <a:pt x="0" y="0"/>
                  </a:lnTo>
                  <a:lnTo>
                    <a:pt x="0" y="163250"/>
                  </a:lnTo>
                  <a:lnTo>
                    <a:pt x="90347" y="163250"/>
                  </a:lnTo>
                  <a:lnTo>
                    <a:pt x="90347" y="146813"/>
                  </a:lnTo>
                  <a:lnTo>
                    <a:pt x="16810" y="146813"/>
                  </a:lnTo>
                  <a:lnTo>
                    <a:pt x="16810" y="0"/>
                  </a:lnTo>
                  <a:close/>
                </a:path>
              </a:pathLst>
            </a:custGeom>
            <a:solidFill>
              <a:srgbClr val="E2E2E3"/>
            </a:solidFill>
            <a:ln w="3718"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D17CBDBB-F3DA-4F2B-9559-6B8D3195C973}"/>
                </a:ext>
              </a:extLst>
            </p:cNvPr>
            <p:cNvSpPr/>
            <p:nvPr/>
          </p:nvSpPr>
          <p:spPr>
            <a:xfrm>
              <a:off x="1640796" y="6593991"/>
              <a:ext cx="136563" cy="160268"/>
            </a:xfrm>
            <a:custGeom>
              <a:avLst/>
              <a:gdLst>
                <a:gd name="connsiteX0" fmla="*/ 36191 w 136563"/>
                <a:gd name="connsiteY0" fmla="*/ 119866 h 160268"/>
                <a:gd name="connsiteX1" fmla="*/ 37943 w 136563"/>
                <a:gd name="connsiteY1" fmla="*/ 115803 h 160268"/>
                <a:gd name="connsiteX2" fmla="*/ 51696 w 136563"/>
                <a:gd name="connsiteY2" fmla="*/ 81700 h 160268"/>
                <a:gd name="connsiteX3" fmla="*/ 65673 w 136563"/>
                <a:gd name="connsiteY3" fmla="*/ 47223 h 160268"/>
                <a:gd name="connsiteX4" fmla="*/ 68356 w 136563"/>
                <a:gd name="connsiteY4" fmla="*/ 41036 h 160268"/>
                <a:gd name="connsiteX5" fmla="*/ 71040 w 136563"/>
                <a:gd name="connsiteY5" fmla="*/ 47261 h 160268"/>
                <a:gd name="connsiteX6" fmla="*/ 84756 w 136563"/>
                <a:gd name="connsiteY6" fmla="*/ 81700 h 160268"/>
                <a:gd name="connsiteX7" fmla="*/ 98546 w 136563"/>
                <a:gd name="connsiteY7" fmla="*/ 115803 h 160268"/>
                <a:gd name="connsiteX8" fmla="*/ 100298 w 136563"/>
                <a:gd name="connsiteY8" fmla="*/ 119866 h 160268"/>
                <a:gd name="connsiteX9" fmla="*/ 118636 w 136563"/>
                <a:gd name="connsiteY9" fmla="*/ 160268 h 160268"/>
                <a:gd name="connsiteX10" fmla="*/ 136563 w 136563"/>
                <a:gd name="connsiteY10" fmla="*/ 160268 h 160268"/>
                <a:gd name="connsiteX11" fmla="*/ 68319 w 136563"/>
                <a:gd name="connsiteY11" fmla="*/ 0 h 160268"/>
                <a:gd name="connsiteX12" fmla="*/ 0 w 136563"/>
                <a:gd name="connsiteY12" fmla="*/ 160268 h 160268"/>
                <a:gd name="connsiteX13" fmla="*/ 18002 w 136563"/>
                <a:gd name="connsiteY13" fmla="*/ 160268 h 160268"/>
                <a:gd name="connsiteX14" fmla="*/ 30488 w 136563"/>
                <a:gd name="connsiteY14" fmla="*/ 132426 h 160268"/>
                <a:gd name="connsiteX15" fmla="*/ 106113 w 136563"/>
                <a:gd name="connsiteY15" fmla="*/ 132426 h 160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6563" h="160268">
                  <a:moveTo>
                    <a:pt x="36191" y="119866"/>
                  </a:moveTo>
                  <a:lnTo>
                    <a:pt x="37943" y="115803"/>
                  </a:lnTo>
                  <a:cubicBezTo>
                    <a:pt x="42452" y="105255"/>
                    <a:pt x="47074" y="93776"/>
                    <a:pt x="51696" y="81700"/>
                  </a:cubicBezTo>
                  <a:cubicBezTo>
                    <a:pt x="56318" y="69624"/>
                    <a:pt x="61088" y="57846"/>
                    <a:pt x="65673" y="47223"/>
                  </a:cubicBezTo>
                  <a:lnTo>
                    <a:pt x="68356" y="41036"/>
                  </a:lnTo>
                  <a:lnTo>
                    <a:pt x="71040" y="47261"/>
                  </a:lnTo>
                  <a:cubicBezTo>
                    <a:pt x="75550" y="57883"/>
                    <a:pt x="80171" y="69624"/>
                    <a:pt x="84756" y="81700"/>
                  </a:cubicBezTo>
                  <a:cubicBezTo>
                    <a:pt x="89340" y="93776"/>
                    <a:pt x="93925" y="105255"/>
                    <a:pt x="98546" y="115803"/>
                  </a:cubicBezTo>
                  <a:lnTo>
                    <a:pt x="100298" y="119866"/>
                  </a:lnTo>
                  <a:close/>
                  <a:moveTo>
                    <a:pt x="118636" y="160268"/>
                  </a:moveTo>
                  <a:lnTo>
                    <a:pt x="136563" y="160268"/>
                  </a:lnTo>
                  <a:lnTo>
                    <a:pt x="68319" y="0"/>
                  </a:lnTo>
                  <a:lnTo>
                    <a:pt x="0" y="160268"/>
                  </a:lnTo>
                  <a:lnTo>
                    <a:pt x="18002" y="160268"/>
                  </a:lnTo>
                  <a:lnTo>
                    <a:pt x="30488" y="132426"/>
                  </a:lnTo>
                  <a:lnTo>
                    <a:pt x="106113" y="132426"/>
                  </a:lnTo>
                  <a:close/>
                </a:path>
              </a:pathLst>
            </a:custGeom>
            <a:solidFill>
              <a:srgbClr val="E2E2E3"/>
            </a:solidFill>
            <a:ln w="3718"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F9FC29D7-53E2-4020-958C-2E3B537914EB}"/>
                </a:ext>
              </a:extLst>
            </p:cNvPr>
            <p:cNvSpPr/>
            <p:nvPr/>
          </p:nvSpPr>
          <p:spPr>
            <a:xfrm>
              <a:off x="1800505" y="6590487"/>
              <a:ext cx="127208" cy="164070"/>
            </a:xfrm>
            <a:custGeom>
              <a:avLst/>
              <a:gdLst>
                <a:gd name="connsiteX0" fmla="*/ 110436 w 127208"/>
                <a:gd name="connsiteY0" fmla="*/ 119120 h 164070"/>
                <a:gd name="connsiteX1" fmla="*/ 0 w 127208"/>
                <a:gd name="connsiteY1" fmla="*/ 3019 h 164070"/>
                <a:gd name="connsiteX2" fmla="*/ 0 w 127208"/>
                <a:gd name="connsiteY2" fmla="*/ 164070 h 164070"/>
                <a:gd name="connsiteX3" fmla="*/ 16810 w 127208"/>
                <a:gd name="connsiteY3" fmla="*/ 164070 h 164070"/>
                <a:gd name="connsiteX4" fmla="*/ 16810 w 127208"/>
                <a:gd name="connsiteY4" fmla="*/ 44540 h 164070"/>
                <a:gd name="connsiteX5" fmla="*/ 127208 w 127208"/>
                <a:gd name="connsiteY5" fmla="*/ 162244 h 164070"/>
                <a:gd name="connsiteX6" fmla="*/ 127208 w 127208"/>
                <a:gd name="connsiteY6" fmla="*/ 0 h 164070"/>
                <a:gd name="connsiteX7" fmla="*/ 110436 w 127208"/>
                <a:gd name="connsiteY7" fmla="*/ 0 h 164070"/>
                <a:gd name="connsiteX8" fmla="*/ 110436 w 127208"/>
                <a:gd name="connsiteY8" fmla="*/ 119120 h 16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208" h="164070">
                  <a:moveTo>
                    <a:pt x="110436" y="119120"/>
                  </a:moveTo>
                  <a:lnTo>
                    <a:pt x="0" y="3019"/>
                  </a:lnTo>
                  <a:lnTo>
                    <a:pt x="0" y="164070"/>
                  </a:lnTo>
                  <a:lnTo>
                    <a:pt x="16810" y="164070"/>
                  </a:lnTo>
                  <a:lnTo>
                    <a:pt x="16810" y="44540"/>
                  </a:lnTo>
                  <a:lnTo>
                    <a:pt x="127208" y="162244"/>
                  </a:lnTo>
                  <a:lnTo>
                    <a:pt x="127208" y="0"/>
                  </a:lnTo>
                  <a:lnTo>
                    <a:pt x="110436" y="0"/>
                  </a:lnTo>
                  <a:lnTo>
                    <a:pt x="110436" y="119120"/>
                  </a:lnTo>
                  <a:close/>
                </a:path>
              </a:pathLst>
            </a:custGeom>
            <a:solidFill>
              <a:srgbClr val="E2E2E3"/>
            </a:solidFill>
            <a:ln w="3718" cap="flat">
              <a:no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A1418998-30EC-40FB-9D2E-553D339F35EB}"/>
                </a:ext>
              </a:extLst>
            </p:cNvPr>
            <p:cNvSpPr/>
            <p:nvPr/>
          </p:nvSpPr>
          <p:spPr>
            <a:xfrm>
              <a:off x="1956301" y="6590935"/>
              <a:ext cx="120414" cy="163325"/>
            </a:xfrm>
            <a:custGeom>
              <a:avLst/>
              <a:gdLst>
                <a:gd name="connsiteX0" fmla="*/ 64704 w 120414"/>
                <a:gd name="connsiteY0" fmla="*/ 142080 h 163325"/>
                <a:gd name="connsiteX1" fmla="*/ 38912 w 120414"/>
                <a:gd name="connsiteY1" fmla="*/ 146478 h 163325"/>
                <a:gd name="connsiteX2" fmla="*/ 16549 w 120414"/>
                <a:gd name="connsiteY2" fmla="*/ 146478 h 163325"/>
                <a:gd name="connsiteX3" fmla="*/ 16549 w 120414"/>
                <a:gd name="connsiteY3" fmla="*/ 16474 h 163325"/>
                <a:gd name="connsiteX4" fmla="*/ 38539 w 120414"/>
                <a:gd name="connsiteY4" fmla="*/ 16474 h 163325"/>
                <a:gd name="connsiteX5" fmla="*/ 64629 w 120414"/>
                <a:gd name="connsiteY5" fmla="*/ 20872 h 163325"/>
                <a:gd name="connsiteX6" fmla="*/ 85650 w 120414"/>
                <a:gd name="connsiteY6" fmla="*/ 34476 h 163325"/>
                <a:gd name="connsiteX7" fmla="*/ 99180 w 120414"/>
                <a:gd name="connsiteY7" fmla="*/ 55535 h 163325"/>
                <a:gd name="connsiteX8" fmla="*/ 103578 w 120414"/>
                <a:gd name="connsiteY8" fmla="*/ 81625 h 163325"/>
                <a:gd name="connsiteX9" fmla="*/ 99180 w 120414"/>
                <a:gd name="connsiteY9" fmla="*/ 107715 h 163325"/>
                <a:gd name="connsiteX10" fmla="*/ 85799 w 120414"/>
                <a:gd name="connsiteY10" fmla="*/ 128811 h 163325"/>
                <a:gd name="connsiteX11" fmla="*/ 64815 w 120414"/>
                <a:gd name="connsiteY11" fmla="*/ 142266 h 163325"/>
                <a:gd name="connsiteX12" fmla="*/ 114983 w 120414"/>
                <a:gd name="connsiteY12" fmla="*/ 113492 h 163325"/>
                <a:gd name="connsiteX13" fmla="*/ 114983 w 120414"/>
                <a:gd name="connsiteY13" fmla="*/ 50130 h 163325"/>
                <a:gd name="connsiteX14" fmla="*/ 98845 w 120414"/>
                <a:gd name="connsiteY14" fmla="*/ 24040 h 163325"/>
                <a:gd name="connsiteX15" fmla="*/ 71487 w 120414"/>
                <a:gd name="connsiteY15" fmla="*/ 6187 h 163325"/>
                <a:gd name="connsiteX16" fmla="*/ 43161 w 120414"/>
                <a:gd name="connsiteY16" fmla="*/ 0 h 163325"/>
                <a:gd name="connsiteX17" fmla="*/ 0 w 120414"/>
                <a:gd name="connsiteY17" fmla="*/ 0 h 163325"/>
                <a:gd name="connsiteX18" fmla="*/ 0 w 120414"/>
                <a:gd name="connsiteY18" fmla="*/ 163325 h 163325"/>
                <a:gd name="connsiteX19" fmla="*/ 38688 w 120414"/>
                <a:gd name="connsiteY19" fmla="*/ 163325 h 163325"/>
                <a:gd name="connsiteX20" fmla="*/ 71487 w 120414"/>
                <a:gd name="connsiteY20" fmla="*/ 156989 h 163325"/>
                <a:gd name="connsiteX21" fmla="*/ 98509 w 120414"/>
                <a:gd name="connsiteY21" fmla="*/ 139322 h 163325"/>
                <a:gd name="connsiteX22" fmla="*/ 114760 w 120414"/>
                <a:gd name="connsiteY22" fmla="*/ 113232 h 16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0414" h="163325">
                  <a:moveTo>
                    <a:pt x="64704" y="142080"/>
                  </a:moveTo>
                  <a:cubicBezTo>
                    <a:pt x="56437" y="145074"/>
                    <a:pt x="47704" y="146564"/>
                    <a:pt x="38912" y="146478"/>
                  </a:cubicBezTo>
                  <a:lnTo>
                    <a:pt x="16549" y="146478"/>
                  </a:lnTo>
                  <a:lnTo>
                    <a:pt x="16549" y="16474"/>
                  </a:lnTo>
                  <a:lnTo>
                    <a:pt x="38539" y="16474"/>
                  </a:lnTo>
                  <a:cubicBezTo>
                    <a:pt x="47428" y="16361"/>
                    <a:pt x="56269" y="17850"/>
                    <a:pt x="64629" y="20872"/>
                  </a:cubicBezTo>
                  <a:cubicBezTo>
                    <a:pt x="72486" y="23938"/>
                    <a:pt x="79635" y="28566"/>
                    <a:pt x="85650" y="34476"/>
                  </a:cubicBezTo>
                  <a:cubicBezTo>
                    <a:pt x="91610" y="40450"/>
                    <a:pt x="96224" y="47630"/>
                    <a:pt x="99180" y="55535"/>
                  </a:cubicBezTo>
                  <a:cubicBezTo>
                    <a:pt x="102195" y="63898"/>
                    <a:pt x="103686" y="72735"/>
                    <a:pt x="103578" y="81625"/>
                  </a:cubicBezTo>
                  <a:cubicBezTo>
                    <a:pt x="103690" y="90516"/>
                    <a:pt x="102203" y="99353"/>
                    <a:pt x="99180" y="107715"/>
                  </a:cubicBezTo>
                  <a:cubicBezTo>
                    <a:pt x="96258" y="115613"/>
                    <a:pt x="91700" y="122803"/>
                    <a:pt x="85799" y="128811"/>
                  </a:cubicBezTo>
                  <a:cubicBezTo>
                    <a:pt x="79855" y="134752"/>
                    <a:pt x="72695" y="139342"/>
                    <a:pt x="64815" y="142266"/>
                  </a:cubicBezTo>
                  <a:moveTo>
                    <a:pt x="114983" y="113492"/>
                  </a:moveTo>
                  <a:cubicBezTo>
                    <a:pt x="122225" y="92993"/>
                    <a:pt x="122225" y="70630"/>
                    <a:pt x="114983" y="50130"/>
                  </a:cubicBezTo>
                  <a:cubicBezTo>
                    <a:pt x="111647" y="40324"/>
                    <a:pt x="106131" y="31404"/>
                    <a:pt x="98845" y="24040"/>
                  </a:cubicBezTo>
                  <a:cubicBezTo>
                    <a:pt x="91036" y="16288"/>
                    <a:pt x="81726" y="10213"/>
                    <a:pt x="71487" y="6187"/>
                  </a:cubicBezTo>
                  <a:cubicBezTo>
                    <a:pt x="62456" y="2562"/>
                    <a:pt x="52881" y="471"/>
                    <a:pt x="43161" y="0"/>
                  </a:cubicBezTo>
                  <a:lnTo>
                    <a:pt x="0" y="0"/>
                  </a:lnTo>
                  <a:lnTo>
                    <a:pt x="0" y="163325"/>
                  </a:lnTo>
                  <a:lnTo>
                    <a:pt x="38688" y="163325"/>
                  </a:lnTo>
                  <a:cubicBezTo>
                    <a:pt x="49929" y="163357"/>
                    <a:pt x="61066" y="161205"/>
                    <a:pt x="71487" y="156989"/>
                  </a:cubicBezTo>
                  <a:cubicBezTo>
                    <a:pt x="81618" y="153032"/>
                    <a:pt x="90820" y="147016"/>
                    <a:pt x="98509" y="139322"/>
                  </a:cubicBezTo>
                  <a:cubicBezTo>
                    <a:pt x="105826" y="131963"/>
                    <a:pt x="111383" y="123044"/>
                    <a:pt x="114760" y="113232"/>
                  </a:cubicBezTo>
                </a:path>
              </a:pathLst>
            </a:custGeom>
            <a:solidFill>
              <a:srgbClr val="E2E2E3"/>
            </a:solidFill>
            <a:ln w="3718" cap="flat">
              <a:noFill/>
              <a:prstDash val="solid"/>
              <a:miter/>
            </a:ln>
          </p:spPr>
          <p:txBody>
            <a:bodyPr rtlCol="0" anchor="ctr"/>
            <a:lstStyle/>
            <a:p>
              <a:endParaRPr lang="en-US" dirty="0"/>
            </a:p>
          </p:txBody>
        </p:sp>
        <p:sp>
          <p:nvSpPr>
            <p:cNvPr id="18" name="Freeform: Shape 17">
              <a:extLst>
                <a:ext uri="{FF2B5EF4-FFF2-40B4-BE49-F238E27FC236}">
                  <a16:creationId xmlns:a16="http://schemas.microsoft.com/office/drawing/2014/main" id="{4A12FEA2-BE6B-4716-BA9C-7A186DBABD0C}"/>
                </a:ext>
              </a:extLst>
            </p:cNvPr>
            <p:cNvSpPr/>
            <p:nvPr/>
          </p:nvSpPr>
          <p:spPr>
            <a:xfrm>
              <a:off x="370754" y="6588754"/>
              <a:ext cx="167181" cy="167152"/>
            </a:xfrm>
            <a:custGeom>
              <a:avLst/>
              <a:gdLst>
                <a:gd name="connsiteX0" fmla="*/ 48014 w 167181"/>
                <a:gd name="connsiteY0" fmla="*/ 48062 h 167152"/>
                <a:gd name="connsiteX1" fmla="*/ 118646 w 167181"/>
                <a:gd name="connsiteY1" fmla="*/ 47877 h 167152"/>
                <a:gd name="connsiteX2" fmla="*/ 118830 w 167181"/>
                <a:gd name="connsiteY2" fmla="*/ 48062 h 167152"/>
                <a:gd name="connsiteX3" fmla="*/ 133739 w 167181"/>
                <a:gd name="connsiteY3" fmla="*/ 83544 h 167152"/>
                <a:gd name="connsiteX4" fmla="*/ 118830 w 167181"/>
                <a:gd name="connsiteY4" fmla="*/ 119027 h 167152"/>
                <a:gd name="connsiteX5" fmla="*/ 48014 w 167181"/>
                <a:gd name="connsiteY5" fmla="*/ 119027 h 167152"/>
                <a:gd name="connsiteX6" fmla="*/ 33292 w 167181"/>
                <a:gd name="connsiteY6" fmla="*/ 83507 h 167152"/>
                <a:gd name="connsiteX7" fmla="*/ 48014 w 167181"/>
                <a:gd name="connsiteY7" fmla="*/ 48024 h 167152"/>
                <a:gd name="connsiteX8" fmla="*/ 83460 w 167181"/>
                <a:gd name="connsiteY8" fmla="*/ 167108 h 167152"/>
                <a:gd name="connsiteX9" fmla="*/ 142573 w 167181"/>
                <a:gd name="connsiteY9" fmla="*/ 142806 h 167152"/>
                <a:gd name="connsiteX10" fmla="*/ 167172 w 167181"/>
                <a:gd name="connsiteY10" fmla="*/ 83693 h 167152"/>
                <a:gd name="connsiteX11" fmla="*/ 142573 w 167181"/>
                <a:gd name="connsiteY11" fmla="*/ 24543 h 167152"/>
                <a:gd name="connsiteX12" fmla="*/ 24924 w 167181"/>
                <a:gd name="connsiteY12" fmla="*/ 24189 h 167152"/>
                <a:gd name="connsiteX13" fmla="*/ 24533 w 167181"/>
                <a:gd name="connsiteY13" fmla="*/ 24580 h 167152"/>
                <a:gd name="connsiteX14" fmla="*/ 8 w 167181"/>
                <a:gd name="connsiteY14" fmla="*/ 83731 h 167152"/>
                <a:gd name="connsiteX15" fmla="*/ 24533 w 167181"/>
                <a:gd name="connsiteY15" fmla="*/ 142844 h 167152"/>
                <a:gd name="connsiteX16" fmla="*/ 83609 w 167181"/>
                <a:gd name="connsiteY16" fmla="*/ 167145 h 16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7181" h="167152">
                  <a:moveTo>
                    <a:pt x="48014" y="48062"/>
                  </a:moveTo>
                  <a:cubicBezTo>
                    <a:pt x="67467" y="28506"/>
                    <a:pt x="99090" y="28424"/>
                    <a:pt x="118646" y="47877"/>
                  </a:cubicBezTo>
                  <a:cubicBezTo>
                    <a:pt x="118707" y="47938"/>
                    <a:pt x="118769" y="48000"/>
                    <a:pt x="118830" y="48062"/>
                  </a:cubicBezTo>
                  <a:cubicBezTo>
                    <a:pt x="128486" y="57324"/>
                    <a:pt x="133882" y="70166"/>
                    <a:pt x="133739" y="83544"/>
                  </a:cubicBezTo>
                  <a:cubicBezTo>
                    <a:pt x="133931" y="96933"/>
                    <a:pt x="128527" y="109794"/>
                    <a:pt x="118830" y="119027"/>
                  </a:cubicBezTo>
                  <a:cubicBezTo>
                    <a:pt x="99245" y="138511"/>
                    <a:pt x="67599" y="138511"/>
                    <a:pt x="48014" y="119027"/>
                  </a:cubicBezTo>
                  <a:cubicBezTo>
                    <a:pt x="38418" y="109724"/>
                    <a:pt x="33090" y="96871"/>
                    <a:pt x="33292" y="83507"/>
                  </a:cubicBezTo>
                  <a:cubicBezTo>
                    <a:pt x="33145" y="70165"/>
                    <a:pt x="38464" y="57343"/>
                    <a:pt x="48014" y="48024"/>
                  </a:cubicBezTo>
                  <a:moveTo>
                    <a:pt x="83460" y="167108"/>
                  </a:moveTo>
                  <a:cubicBezTo>
                    <a:pt x="105663" y="167458"/>
                    <a:pt x="127035" y="158672"/>
                    <a:pt x="142573" y="142806"/>
                  </a:cubicBezTo>
                  <a:cubicBezTo>
                    <a:pt x="158615" y="127366"/>
                    <a:pt x="167524" y="105957"/>
                    <a:pt x="167172" y="83693"/>
                  </a:cubicBezTo>
                  <a:cubicBezTo>
                    <a:pt x="167485" y="61427"/>
                    <a:pt x="158583" y="40021"/>
                    <a:pt x="142573" y="24543"/>
                  </a:cubicBezTo>
                  <a:cubicBezTo>
                    <a:pt x="110183" y="-8042"/>
                    <a:pt x="57510" y="-8201"/>
                    <a:pt x="24924" y="24189"/>
                  </a:cubicBezTo>
                  <a:cubicBezTo>
                    <a:pt x="24793" y="24319"/>
                    <a:pt x="24663" y="24450"/>
                    <a:pt x="24533" y="24580"/>
                  </a:cubicBezTo>
                  <a:cubicBezTo>
                    <a:pt x="8591" y="40099"/>
                    <a:pt x="-276" y="61485"/>
                    <a:pt x="8" y="83731"/>
                  </a:cubicBezTo>
                  <a:cubicBezTo>
                    <a:pt x="-310" y="105972"/>
                    <a:pt x="8564" y="127360"/>
                    <a:pt x="24533" y="142844"/>
                  </a:cubicBezTo>
                  <a:cubicBezTo>
                    <a:pt x="40084" y="158666"/>
                    <a:pt x="61426" y="167445"/>
                    <a:pt x="83609" y="167145"/>
                  </a:cubicBezTo>
                </a:path>
              </a:pathLst>
            </a:custGeom>
            <a:solidFill>
              <a:srgbClr val="E2E2E3"/>
            </a:solidFill>
            <a:ln w="3718"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01668489-0C3E-46CD-83F1-654D575A527F}"/>
                </a:ext>
              </a:extLst>
            </p:cNvPr>
            <p:cNvSpPr/>
            <p:nvPr/>
          </p:nvSpPr>
          <p:spPr>
            <a:xfrm>
              <a:off x="552052" y="6589991"/>
              <a:ext cx="121133" cy="164789"/>
            </a:xfrm>
            <a:custGeom>
              <a:avLst/>
              <a:gdLst>
                <a:gd name="connsiteX0" fmla="*/ 33321 w 121133"/>
                <a:gd name="connsiteY0" fmla="*/ 32848 h 164789"/>
                <a:gd name="connsiteX1" fmla="*/ 51957 w 121133"/>
                <a:gd name="connsiteY1" fmla="*/ 32848 h 164789"/>
                <a:gd name="connsiteX2" fmla="*/ 72382 w 121133"/>
                <a:gd name="connsiteY2" fmla="*/ 39371 h 164789"/>
                <a:gd name="connsiteX3" fmla="*/ 78941 w 121133"/>
                <a:gd name="connsiteY3" fmla="*/ 55211 h 164789"/>
                <a:gd name="connsiteX4" fmla="*/ 56914 w 121133"/>
                <a:gd name="connsiteY4" fmla="*/ 78543 h 164789"/>
                <a:gd name="connsiteX5" fmla="*/ 45732 w 121133"/>
                <a:gd name="connsiteY5" fmla="*/ 78543 h 164789"/>
                <a:gd name="connsiteX6" fmla="*/ 45732 w 121133"/>
                <a:gd name="connsiteY6" fmla="*/ 78543 h 164789"/>
                <a:gd name="connsiteX7" fmla="*/ 33321 w 121133"/>
                <a:gd name="connsiteY7" fmla="*/ 78543 h 164789"/>
                <a:gd name="connsiteX8" fmla="*/ 33321 w 121133"/>
                <a:gd name="connsiteY8" fmla="*/ 164790 h 164789"/>
                <a:gd name="connsiteX9" fmla="*/ 33321 w 121133"/>
                <a:gd name="connsiteY9" fmla="*/ 91924 h 164789"/>
                <a:gd name="connsiteX10" fmla="*/ 80656 w 121133"/>
                <a:gd name="connsiteY10" fmla="*/ 164790 h 164789"/>
                <a:gd name="connsiteX11" fmla="*/ 121133 w 121133"/>
                <a:gd name="connsiteY11" fmla="*/ 164790 h 164789"/>
                <a:gd name="connsiteX12" fmla="*/ 82818 w 121133"/>
                <a:gd name="connsiteY12" fmla="*/ 105155 h 164789"/>
                <a:gd name="connsiteX13" fmla="*/ 102423 w 121133"/>
                <a:gd name="connsiteY13" fmla="*/ 89725 h 164789"/>
                <a:gd name="connsiteX14" fmla="*/ 112859 w 121133"/>
                <a:gd name="connsiteY14" fmla="*/ 58342 h 164789"/>
                <a:gd name="connsiteX15" fmla="*/ 112859 w 121133"/>
                <a:gd name="connsiteY15" fmla="*/ 54205 h 164789"/>
                <a:gd name="connsiteX16" fmla="*/ 96906 w 121133"/>
                <a:gd name="connsiteY16" fmla="*/ 16933 h 164789"/>
                <a:gd name="connsiteX17" fmla="*/ 53746 w 121133"/>
                <a:gd name="connsiteY17" fmla="*/ 12 h 164789"/>
                <a:gd name="connsiteX18" fmla="*/ 0 w 121133"/>
                <a:gd name="connsiteY18" fmla="*/ 12 h 164789"/>
                <a:gd name="connsiteX19" fmla="*/ 0 w 121133"/>
                <a:gd name="connsiteY19" fmla="*/ 164790 h 16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133" h="164789">
                  <a:moveTo>
                    <a:pt x="33321" y="32848"/>
                  </a:moveTo>
                  <a:lnTo>
                    <a:pt x="51957" y="32848"/>
                  </a:lnTo>
                  <a:cubicBezTo>
                    <a:pt x="59325" y="32508"/>
                    <a:pt x="66575" y="34822"/>
                    <a:pt x="72382" y="39371"/>
                  </a:cubicBezTo>
                  <a:cubicBezTo>
                    <a:pt x="76586" y="43570"/>
                    <a:pt x="78945" y="49269"/>
                    <a:pt x="78941" y="55211"/>
                  </a:cubicBezTo>
                  <a:cubicBezTo>
                    <a:pt x="79296" y="67735"/>
                    <a:pt x="69437" y="78178"/>
                    <a:pt x="56914" y="78543"/>
                  </a:cubicBezTo>
                  <a:lnTo>
                    <a:pt x="45732" y="78543"/>
                  </a:lnTo>
                  <a:lnTo>
                    <a:pt x="45732" y="78543"/>
                  </a:lnTo>
                  <a:lnTo>
                    <a:pt x="33321" y="78543"/>
                  </a:lnTo>
                  <a:close/>
                  <a:moveTo>
                    <a:pt x="33321" y="164790"/>
                  </a:moveTo>
                  <a:lnTo>
                    <a:pt x="33321" y="91924"/>
                  </a:lnTo>
                  <a:lnTo>
                    <a:pt x="80656" y="164790"/>
                  </a:lnTo>
                  <a:lnTo>
                    <a:pt x="121133" y="164790"/>
                  </a:lnTo>
                  <a:lnTo>
                    <a:pt x="82818" y="105155"/>
                  </a:lnTo>
                  <a:cubicBezTo>
                    <a:pt x="90932" y="102416"/>
                    <a:pt x="97853" y="96968"/>
                    <a:pt x="102423" y="89725"/>
                  </a:cubicBezTo>
                  <a:cubicBezTo>
                    <a:pt x="109132" y="80630"/>
                    <a:pt x="112784" y="69643"/>
                    <a:pt x="112859" y="58342"/>
                  </a:cubicBezTo>
                  <a:lnTo>
                    <a:pt x="112859" y="54205"/>
                  </a:lnTo>
                  <a:cubicBezTo>
                    <a:pt x="112859" y="35979"/>
                    <a:pt x="106933" y="26810"/>
                    <a:pt x="96906" y="16933"/>
                  </a:cubicBezTo>
                  <a:cubicBezTo>
                    <a:pt x="85337" y="5785"/>
                    <a:pt x="69810" y="-303"/>
                    <a:pt x="53746" y="12"/>
                  </a:cubicBezTo>
                  <a:lnTo>
                    <a:pt x="0" y="12"/>
                  </a:lnTo>
                  <a:lnTo>
                    <a:pt x="0" y="164790"/>
                  </a:lnTo>
                  <a:close/>
                </a:path>
              </a:pathLst>
            </a:custGeom>
            <a:solidFill>
              <a:srgbClr val="E2E2E3"/>
            </a:solidFill>
            <a:ln w="3718" cap="flat">
              <a:noFill/>
              <a:prstDash val="solid"/>
              <a:miter/>
            </a:ln>
          </p:spPr>
          <p:txBody>
            <a:bodyPr rtlCol="0" anchor="ctr"/>
            <a:lstStyle/>
            <a:p>
              <a:endParaRPr lang="en-US" dirty="0"/>
            </a:p>
          </p:txBody>
        </p:sp>
        <p:sp>
          <p:nvSpPr>
            <p:cNvPr id="20" name="Freeform: Shape 19">
              <a:extLst>
                <a:ext uri="{FF2B5EF4-FFF2-40B4-BE49-F238E27FC236}">
                  <a16:creationId xmlns:a16="http://schemas.microsoft.com/office/drawing/2014/main" id="{1FDD86A0-39EC-4FC5-B786-78BFC1A07F1D}"/>
                </a:ext>
              </a:extLst>
            </p:cNvPr>
            <p:cNvSpPr/>
            <p:nvPr/>
          </p:nvSpPr>
          <p:spPr>
            <a:xfrm>
              <a:off x="681161" y="6590003"/>
              <a:ext cx="114275" cy="164778"/>
            </a:xfrm>
            <a:custGeom>
              <a:avLst/>
              <a:gdLst>
                <a:gd name="connsiteX0" fmla="*/ 40552 w 114275"/>
                <a:gd name="connsiteY0" fmla="*/ 164778 h 164778"/>
                <a:gd name="connsiteX1" fmla="*/ 73798 w 114275"/>
                <a:gd name="connsiteY1" fmla="*/ 164778 h 164778"/>
                <a:gd name="connsiteX2" fmla="*/ 73798 w 114275"/>
                <a:gd name="connsiteY2" fmla="*/ 32836 h 164778"/>
                <a:gd name="connsiteX3" fmla="*/ 114275 w 114275"/>
                <a:gd name="connsiteY3" fmla="*/ 32836 h 164778"/>
                <a:gd name="connsiteX4" fmla="*/ 114275 w 114275"/>
                <a:gd name="connsiteY4" fmla="*/ 0 h 164778"/>
                <a:gd name="connsiteX5" fmla="*/ 0 w 114275"/>
                <a:gd name="connsiteY5" fmla="*/ 0 h 164778"/>
                <a:gd name="connsiteX6" fmla="*/ 0 w 114275"/>
                <a:gd name="connsiteY6" fmla="*/ 32836 h 164778"/>
                <a:gd name="connsiteX7" fmla="*/ 40552 w 114275"/>
                <a:gd name="connsiteY7" fmla="*/ 32836 h 164778"/>
                <a:gd name="connsiteX8" fmla="*/ 40552 w 114275"/>
                <a:gd name="connsiteY8" fmla="*/ 164778 h 16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275" h="164778">
                  <a:moveTo>
                    <a:pt x="40552" y="164778"/>
                  </a:moveTo>
                  <a:lnTo>
                    <a:pt x="73798" y="164778"/>
                  </a:lnTo>
                  <a:lnTo>
                    <a:pt x="73798" y="32836"/>
                  </a:lnTo>
                  <a:lnTo>
                    <a:pt x="114275" y="32836"/>
                  </a:lnTo>
                  <a:lnTo>
                    <a:pt x="114275" y="0"/>
                  </a:lnTo>
                  <a:lnTo>
                    <a:pt x="0" y="0"/>
                  </a:lnTo>
                  <a:lnTo>
                    <a:pt x="0" y="32836"/>
                  </a:lnTo>
                  <a:lnTo>
                    <a:pt x="40552" y="32836"/>
                  </a:lnTo>
                  <a:lnTo>
                    <a:pt x="40552" y="164778"/>
                  </a:lnTo>
                  <a:close/>
                </a:path>
              </a:pathLst>
            </a:custGeom>
            <a:solidFill>
              <a:srgbClr val="E2E2E3"/>
            </a:solidFill>
            <a:ln w="3718"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3B0AE477-EBD7-44D2-A997-AC6F35009405}"/>
                </a:ext>
              </a:extLst>
            </p:cNvPr>
            <p:cNvSpPr/>
            <p:nvPr/>
          </p:nvSpPr>
          <p:spPr>
            <a:xfrm>
              <a:off x="809749" y="6590003"/>
              <a:ext cx="121095" cy="164778"/>
            </a:xfrm>
            <a:custGeom>
              <a:avLst/>
              <a:gdLst>
                <a:gd name="connsiteX0" fmla="*/ 33023 w 121095"/>
                <a:gd name="connsiteY0" fmla="*/ 98770 h 164778"/>
                <a:gd name="connsiteX1" fmla="*/ 88110 w 121095"/>
                <a:gd name="connsiteY1" fmla="*/ 98770 h 164778"/>
                <a:gd name="connsiteX2" fmla="*/ 88110 w 121095"/>
                <a:gd name="connsiteY2" fmla="*/ 164778 h 164778"/>
                <a:gd name="connsiteX3" fmla="*/ 121096 w 121095"/>
                <a:gd name="connsiteY3" fmla="*/ 164778 h 164778"/>
                <a:gd name="connsiteX4" fmla="*/ 121096 w 121095"/>
                <a:gd name="connsiteY4" fmla="*/ 0 h 164778"/>
                <a:gd name="connsiteX5" fmla="*/ 88110 w 121095"/>
                <a:gd name="connsiteY5" fmla="*/ 0 h 164778"/>
                <a:gd name="connsiteX6" fmla="*/ 88110 w 121095"/>
                <a:gd name="connsiteY6" fmla="*/ 65934 h 164778"/>
                <a:gd name="connsiteX7" fmla="*/ 33023 w 121095"/>
                <a:gd name="connsiteY7" fmla="*/ 65934 h 164778"/>
                <a:gd name="connsiteX8" fmla="*/ 33023 w 121095"/>
                <a:gd name="connsiteY8" fmla="*/ 0 h 164778"/>
                <a:gd name="connsiteX9" fmla="*/ 0 w 121095"/>
                <a:gd name="connsiteY9" fmla="*/ 0 h 164778"/>
                <a:gd name="connsiteX10" fmla="*/ 0 w 121095"/>
                <a:gd name="connsiteY10" fmla="*/ 164778 h 164778"/>
                <a:gd name="connsiteX11" fmla="*/ 33023 w 121095"/>
                <a:gd name="connsiteY11" fmla="*/ 164778 h 164778"/>
                <a:gd name="connsiteX12" fmla="*/ 33023 w 121095"/>
                <a:gd name="connsiteY12" fmla="*/ 98770 h 16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095" h="164778">
                  <a:moveTo>
                    <a:pt x="33023" y="98770"/>
                  </a:moveTo>
                  <a:lnTo>
                    <a:pt x="88110" y="98770"/>
                  </a:lnTo>
                  <a:lnTo>
                    <a:pt x="88110" y="164778"/>
                  </a:lnTo>
                  <a:lnTo>
                    <a:pt x="121096" y="164778"/>
                  </a:lnTo>
                  <a:lnTo>
                    <a:pt x="121096" y="0"/>
                  </a:lnTo>
                  <a:lnTo>
                    <a:pt x="88110" y="0"/>
                  </a:lnTo>
                  <a:lnTo>
                    <a:pt x="88110" y="65934"/>
                  </a:lnTo>
                  <a:lnTo>
                    <a:pt x="33023" y="65934"/>
                  </a:lnTo>
                  <a:lnTo>
                    <a:pt x="33023" y="0"/>
                  </a:lnTo>
                  <a:lnTo>
                    <a:pt x="0" y="0"/>
                  </a:lnTo>
                  <a:lnTo>
                    <a:pt x="0" y="164778"/>
                  </a:lnTo>
                  <a:lnTo>
                    <a:pt x="33023" y="164778"/>
                  </a:lnTo>
                  <a:lnTo>
                    <a:pt x="33023" y="98770"/>
                  </a:lnTo>
                  <a:close/>
                </a:path>
              </a:pathLst>
            </a:custGeom>
            <a:solidFill>
              <a:srgbClr val="E2E2E3"/>
            </a:solidFill>
            <a:ln w="3718"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5C5EBF9D-7D28-47D7-BE38-64D71938260A}"/>
                </a:ext>
              </a:extLst>
            </p:cNvPr>
            <p:cNvSpPr/>
            <p:nvPr/>
          </p:nvSpPr>
          <p:spPr>
            <a:xfrm>
              <a:off x="223838" y="6589593"/>
              <a:ext cx="132463" cy="168580"/>
            </a:xfrm>
            <a:custGeom>
              <a:avLst/>
              <a:gdLst>
                <a:gd name="connsiteX0" fmla="*/ 0 w 132463"/>
                <a:gd name="connsiteY0" fmla="*/ 165412 h 168580"/>
                <a:gd name="connsiteX1" fmla="*/ 33097 w 132463"/>
                <a:gd name="connsiteY1" fmla="*/ 165412 h 168580"/>
                <a:gd name="connsiteX2" fmla="*/ 33097 w 132463"/>
                <a:gd name="connsiteY2" fmla="*/ 73910 h 168580"/>
                <a:gd name="connsiteX3" fmla="*/ 132464 w 132463"/>
                <a:gd name="connsiteY3" fmla="*/ 168580 h 168580"/>
                <a:gd name="connsiteX4" fmla="*/ 132464 w 132463"/>
                <a:gd name="connsiteY4" fmla="*/ 0 h 168580"/>
                <a:gd name="connsiteX5" fmla="*/ 99255 w 132463"/>
                <a:gd name="connsiteY5" fmla="*/ 0 h 168580"/>
                <a:gd name="connsiteX6" fmla="*/ 99255 w 132463"/>
                <a:gd name="connsiteY6" fmla="*/ 91502 h 168580"/>
                <a:gd name="connsiteX7" fmla="*/ 48490 w 132463"/>
                <a:gd name="connsiteY7" fmla="*/ 43161 h 168580"/>
                <a:gd name="connsiteX8" fmla="*/ 0 w 132463"/>
                <a:gd name="connsiteY8" fmla="*/ 91651 h 168580"/>
                <a:gd name="connsiteX9" fmla="*/ 0 w 132463"/>
                <a:gd name="connsiteY9" fmla="*/ 165412 h 16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463" h="168580">
                  <a:moveTo>
                    <a:pt x="0" y="165412"/>
                  </a:moveTo>
                  <a:lnTo>
                    <a:pt x="33097" y="165412"/>
                  </a:lnTo>
                  <a:lnTo>
                    <a:pt x="33097" y="73910"/>
                  </a:lnTo>
                  <a:lnTo>
                    <a:pt x="132464" y="168580"/>
                  </a:lnTo>
                  <a:lnTo>
                    <a:pt x="132464" y="0"/>
                  </a:lnTo>
                  <a:lnTo>
                    <a:pt x="99255" y="0"/>
                  </a:lnTo>
                  <a:lnTo>
                    <a:pt x="99255" y="91502"/>
                  </a:lnTo>
                  <a:lnTo>
                    <a:pt x="48490" y="43161"/>
                  </a:lnTo>
                  <a:lnTo>
                    <a:pt x="0" y="91651"/>
                  </a:lnTo>
                  <a:lnTo>
                    <a:pt x="0" y="165412"/>
                  </a:lnTo>
                  <a:close/>
                </a:path>
              </a:pathLst>
            </a:custGeom>
            <a:solidFill>
              <a:srgbClr val="E2E2E3"/>
            </a:solidFill>
            <a:ln w="3718" cap="flat">
              <a:no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53835161-DB6D-4906-B508-2BCCEFADAEA0}"/>
                </a:ext>
              </a:extLst>
            </p:cNvPr>
            <p:cNvSpPr/>
            <p:nvPr/>
          </p:nvSpPr>
          <p:spPr>
            <a:xfrm>
              <a:off x="223838" y="6586537"/>
              <a:ext cx="48490" cy="94707"/>
            </a:xfrm>
            <a:custGeom>
              <a:avLst/>
              <a:gdLst>
                <a:gd name="connsiteX0" fmla="*/ 0 w 48490"/>
                <a:gd name="connsiteY0" fmla="*/ 94707 h 94707"/>
                <a:gd name="connsiteX1" fmla="*/ 48490 w 48490"/>
                <a:gd name="connsiteY1" fmla="*/ 46180 h 94707"/>
                <a:gd name="connsiteX2" fmla="*/ 0 w 48490"/>
                <a:gd name="connsiteY2" fmla="*/ 0 h 94707"/>
                <a:gd name="connsiteX3" fmla="*/ 0 w 48490"/>
                <a:gd name="connsiteY3" fmla="*/ 94707 h 94707"/>
              </a:gdLst>
              <a:ahLst/>
              <a:cxnLst>
                <a:cxn ang="0">
                  <a:pos x="connsiteX0" y="connsiteY0"/>
                </a:cxn>
                <a:cxn ang="0">
                  <a:pos x="connsiteX1" y="connsiteY1"/>
                </a:cxn>
                <a:cxn ang="0">
                  <a:pos x="connsiteX2" y="connsiteY2"/>
                </a:cxn>
                <a:cxn ang="0">
                  <a:pos x="connsiteX3" y="connsiteY3"/>
                </a:cxn>
              </a:cxnLst>
              <a:rect l="l" t="t" r="r" b="b"/>
              <a:pathLst>
                <a:path w="48490" h="94707">
                  <a:moveTo>
                    <a:pt x="0" y="94707"/>
                  </a:moveTo>
                  <a:lnTo>
                    <a:pt x="48490" y="46180"/>
                  </a:lnTo>
                  <a:lnTo>
                    <a:pt x="0" y="0"/>
                  </a:lnTo>
                  <a:lnTo>
                    <a:pt x="0" y="94707"/>
                  </a:lnTo>
                  <a:close/>
                </a:path>
              </a:pathLst>
            </a:custGeom>
            <a:solidFill>
              <a:schemeClr val="accent3"/>
            </a:solidFill>
            <a:ln w="3718"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1977721972"/>
      </p:ext>
    </p:extLst>
  </p:cSld>
  <p:clrMapOvr>
    <a:overrideClrMapping bg1="dk1" tx1="lt1" bg2="dk2" tx2="lt2" accent1="accent1" accent2="accent2" accent3="accent3" accent4="accent4" accent5="accent5" accent6="accent6" hlink="hlink" folHlink="folHlink"/>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ubsection Divider Whit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5023233-F6FC-4927-94AC-4F8681FC8475}"/>
              </a:ext>
            </a:extLst>
          </p:cNvPr>
          <p:cNvSpPr>
            <a:spLocks noGrp="1"/>
          </p:cNvSpPr>
          <p:nvPr>
            <p:ph type="body" sz="quarter" idx="21" hasCustomPrompt="1"/>
          </p:nvPr>
        </p:nvSpPr>
        <p:spPr>
          <a:xfrm>
            <a:off x="2714625" y="1828800"/>
            <a:ext cx="6762750" cy="3200400"/>
          </a:xfrm>
          <a:ln>
            <a:solidFill>
              <a:schemeClr val="accent1"/>
            </a:solidFill>
          </a:ln>
        </p:spPr>
        <p:txBody>
          <a:bodyPr/>
          <a:lstStyle>
            <a:lvl1pPr>
              <a:defRPr/>
            </a:lvl1pPr>
          </a:lstStyle>
          <a:p>
            <a:pPr lvl="0"/>
            <a:r>
              <a:rPr lang="en-US"/>
              <a:t> </a:t>
            </a:r>
          </a:p>
        </p:txBody>
      </p:sp>
      <p:sp>
        <p:nvSpPr>
          <p:cNvPr id="66" name="Text Placeholder 43">
            <a:extLst>
              <a:ext uri="{FF2B5EF4-FFF2-40B4-BE49-F238E27FC236}">
                <a16:creationId xmlns:a16="http://schemas.microsoft.com/office/drawing/2014/main" id="{B71C1A23-9EDF-4C92-98F1-0130A7178B36}"/>
              </a:ext>
            </a:extLst>
          </p:cNvPr>
          <p:cNvSpPr>
            <a:spLocks noGrp="1"/>
          </p:cNvSpPr>
          <p:nvPr>
            <p:ph type="body" sz="quarter" idx="27" hasCustomPrompt="1"/>
          </p:nvPr>
        </p:nvSpPr>
        <p:spPr>
          <a:xfrm>
            <a:off x="2714625" y="1828800"/>
            <a:ext cx="272115" cy="272115"/>
          </a:xfrm>
          <a:custGeom>
            <a:avLst/>
            <a:gdLst>
              <a:gd name="connsiteX0" fmla="*/ 0 w 272115"/>
              <a:gd name="connsiteY0" fmla="*/ 0 h 272115"/>
              <a:gd name="connsiteX1" fmla="*/ 272115 w 272115"/>
              <a:gd name="connsiteY1" fmla="*/ 0 h 272115"/>
              <a:gd name="connsiteX2" fmla="*/ 0 w 272115"/>
              <a:gd name="connsiteY2" fmla="*/ 272115 h 272115"/>
            </a:gdLst>
            <a:ahLst/>
            <a:cxnLst>
              <a:cxn ang="0">
                <a:pos x="connsiteX0" y="connsiteY0"/>
              </a:cxn>
              <a:cxn ang="0">
                <a:pos x="connsiteX1" y="connsiteY1"/>
              </a:cxn>
              <a:cxn ang="0">
                <a:pos x="connsiteX2" y="connsiteY2"/>
              </a:cxn>
            </a:cxnLst>
            <a:rect l="l" t="t" r="r" b="b"/>
            <a:pathLst>
              <a:path w="272115" h="272115">
                <a:moveTo>
                  <a:pt x="0" y="0"/>
                </a:moveTo>
                <a:lnTo>
                  <a:pt x="272115" y="0"/>
                </a:lnTo>
                <a:lnTo>
                  <a:pt x="0" y="272115"/>
                </a:lnTo>
                <a:close/>
              </a:path>
            </a:pathLst>
          </a:custGeom>
          <a:solidFill>
            <a:schemeClr val="accent1"/>
          </a:solidFill>
        </p:spPr>
        <p:txBody>
          <a:bodyPr wrap="square">
            <a:noAutofit/>
          </a:bodyPr>
          <a:lstStyle/>
          <a:p>
            <a:pPr lvl="0"/>
            <a:r>
              <a:rPr lang="en-US"/>
              <a:t> </a:t>
            </a:r>
          </a:p>
        </p:txBody>
      </p:sp>
      <p:sp>
        <p:nvSpPr>
          <p:cNvPr id="2" name="Title 1">
            <a:extLst>
              <a:ext uri="{FF2B5EF4-FFF2-40B4-BE49-F238E27FC236}">
                <a16:creationId xmlns:a16="http://schemas.microsoft.com/office/drawing/2014/main" id="{844F0621-2390-4957-AD47-60FDBAA34491}"/>
              </a:ext>
            </a:extLst>
          </p:cNvPr>
          <p:cNvSpPr>
            <a:spLocks noGrp="1"/>
          </p:cNvSpPr>
          <p:nvPr>
            <p:ph type="title" hasCustomPrompt="1"/>
          </p:nvPr>
        </p:nvSpPr>
        <p:spPr>
          <a:xfrm>
            <a:off x="3028950" y="2232661"/>
            <a:ext cx="6134100" cy="2392678"/>
          </a:xfrm>
        </p:spPr>
        <p:txBody>
          <a:bodyPr anchor="ctr"/>
          <a:lstStyle>
            <a:lvl1pPr algn="ctr">
              <a:defRPr sz="2800" b="1">
                <a:solidFill>
                  <a:schemeClr val="accent1"/>
                </a:solidFill>
              </a:defRPr>
            </a:lvl1pPr>
          </a:lstStyle>
          <a:p>
            <a:r>
              <a:rPr lang="en-US"/>
              <a:t>Click to insert section divider name</a:t>
            </a:r>
          </a:p>
        </p:txBody>
      </p:sp>
      <p:sp>
        <p:nvSpPr>
          <p:cNvPr id="5" name="Slide Number Placeholder 4">
            <a:extLst>
              <a:ext uri="{FF2B5EF4-FFF2-40B4-BE49-F238E27FC236}">
                <a16:creationId xmlns:a16="http://schemas.microsoft.com/office/drawing/2014/main" id="{0904D09A-4AE1-41F7-8585-54F9D1A47C7F}"/>
              </a:ext>
            </a:extLst>
          </p:cNvPr>
          <p:cNvSpPr>
            <a:spLocks noGrp="1"/>
          </p:cNvSpPr>
          <p:nvPr>
            <p:ph type="sldNum" sz="quarter" idx="12"/>
          </p:nvPr>
        </p:nvSpPr>
        <p:spPr/>
        <p:txBody>
          <a:bodyPr/>
          <a:lstStyle/>
          <a:p>
            <a:fld id="{5034EE70-12A8-400F-8E3D-398CDD8B315D}" type="slidenum">
              <a:rPr lang="en-US" smtClean="0"/>
              <a:pPr/>
              <a:t>‹#›</a:t>
            </a:fld>
            <a:endParaRPr lang="en-US" dirty="0"/>
          </a:p>
        </p:txBody>
      </p:sp>
      <p:sp>
        <p:nvSpPr>
          <p:cNvPr id="3" name="TextBox 2">
            <a:extLst>
              <a:ext uri="{FF2B5EF4-FFF2-40B4-BE49-F238E27FC236}">
                <a16:creationId xmlns:a16="http://schemas.microsoft.com/office/drawing/2014/main" id="{E5B46E8F-DAF2-41D2-BB62-B2927B4E91F8}"/>
              </a:ext>
            </a:extLst>
          </p:cNvPr>
          <p:cNvSpPr txBox="1"/>
          <p:nvPr userDrawn="1"/>
        </p:nvSpPr>
        <p:spPr>
          <a:xfrm>
            <a:off x="9817769" y="6576218"/>
            <a:ext cx="1771776" cy="171450"/>
          </a:xfrm>
          <a:prstGeom prst="rect">
            <a:avLst/>
          </a:prstGeom>
          <a:noFill/>
        </p:spPr>
        <p:txBody>
          <a:bodyPr wrap="square" rtlCol="0">
            <a:noAutofit/>
          </a:bodyPr>
          <a:lstStyle/>
          <a:p>
            <a:pPr algn="ctr">
              <a:lnSpc>
                <a:spcPct val="90000"/>
              </a:lnSpc>
              <a:spcAft>
                <a:spcPts val="600"/>
              </a:spcAft>
            </a:pPr>
            <a:r>
              <a:rPr lang="en-US" sz="700" cap="all" spc="10" baseline="0" dirty="0"/>
              <a:t>Proprietary and Confidential</a:t>
            </a:r>
          </a:p>
        </p:txBody>
      </p:sp>
      <p:sp>
        <p:nvSpPr>
          <p:cNvPr id="35" name="Freeform: Shape 34">
            <a:extLst>
              <a:ext uri="{FF2B5EF4-FFF2-40B4-BE49-F238E27FC236}">
                <a16:creationId xmlns:a16="http://schemas.microsoft.com/office/drawing/2014/main" id="{21F9D246-D694-4658-85C5-0D9D445FB9E7}"/>
              </a:ext>
            </a:extLst>
          </p:cNvPr>
          <p:cNvSpPr/>
          <p:nvPr userDrawn="1"/>
        </p:nvSpPr>
        <p:spPr>
          <a:xfrm>
            <a:off x="223837" y="223838"/>
            <a:ext cx="11744326" cy="6262686"/>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dirty="0">
              <a:solidFill>
                <a:schemeClr val="tx1"/>
              </a:solidFill>
            </a:endParaRPr>
          </a:p>
        </p:txBody>
      </p:sp>
      <p:sp>
        <p:nvSpPr>
          <p:cNvPr id="10" name="Footer Placeholder 4">
            <a:extLst>
              <a:ext uri="{FF2B5EF4-FFF2-40B4-BE49-F238E27FC236}">
                <a16:creationId xmlns:a16="http://schemas.microsoft.com/office/drawing/2014/main" id="{16FBEB46-0185-43B7-BB6B-9E6ED8B3C16F}"/>
              </a:ext>
            </a:extLst>
          </p:cNvPr>
          <p:cNvSpPr>
            <a:spLocks noGrp="1"/>
          </p:cNvSpPr>
          <p:nvPr>
            <p:ph type="ftr" sz="quarter" idx="3"/>
          </p:nvPr>
        </p:nvSpPr>
        <p:spPr>
          <a:xfrm>
            <a:off x="4648200" y="6534150"/>
            <a:ext cx="5169569" cy="263525"/>
          </a:xfrm>
          <a:prstGeom prst="rect">
            <a:avLst/>
          </a:prstGeom>
        </p:spPr>
        <p:txBody>
          <a:bodyPr vert="horz" wrap="square" lIns="91440" tIns="45720" rIns="91440" bIns="45720" rtlCol="0" anchor="ctr">
            <a:noAutofit/>
          </a:bodyPr>
          <a:lstStyle>
            <a:lvl1pPr algn="r">
              <a:lnSpc>
                <a:spcPct val="90000"/>
              </a:lnSpc>
              <a:spcAft>
                <a:spcPts val="600"/>
              </a:spcAft>
              <a:defRPr sz="600">
                <a:solidFill>
                  <a:schemeClr val="tx1"/>
                </a:solidFill>
              </a:defRPr>
            </a:lvl1pPr>
          </a:lstStyle>
          <a:p>
            <a:endParaRPr lang="en-US" sz="600" noProof="0" dirty="0"/>
          </a:p>
        </p:txBody>
      </p:sp>
      <p:pic>
        <p:nvPicPr>
          <p:cNvPr id="9" name="Graphic 8">
            <a:extLst>
              <a:ext uri="{FF2B5EF4-FFF2-40B4-BE49-F238E27FC236}">
                <a16:creationId xmlns:a16="http://schemas.microsoft.com/office/drawing/2014/main" id="{6614D270-E9C9-41F3-9F0D-7FDC5BA1A08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3838" y="6586537"/>
            <a:ext cx="1852404" cy="171450"/>
          </a:xfrm>
          <a:prstGeom prst="rect">
            <a:avLst/>
          </a:prstGeom>
        </p:spPr>
      </p:pic>
    </p:spTree>
    <p:extLst>
      <p:ext uri="{BB962C8B-B14F-4D97-AF65-F5344CB8AC3E}">
        <p14:creationId xmlns:p14="http://schemas.microsoft.com/office/powerpoint/2010/main" val="2859472115"/>
      </p:ext>
    </p:extLst>
  </p:cSld>
  <p:clrMapOvr>
    <a:overrideClrMapping bg1="lt1" tx1="dk1" bg2="lt2" tx2="dk2" accent1="accent1" accent2="accent2" accent3="accent3" accent4="accent4" accent5="accent5" accent6="accent6" hlink="hlink" folHlink="folHlink"/>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25F3498-F81E-497D-9F70-63BF9757D89A}"/>
              </a:ext>
            </a:extLst>
          </p:cNvPr>
          <p:cNvSpPr/>
          <p:nvPr userDrawn="1"/>
        </p:nvSpPr>
        <p:spPr>
          <a:xfrm>
            <a:off x="223838" y="223838"/>
            <a:ext cx="5264150" cy="6410325"/>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600"/>
              </a:spcAft>
            </a:pPr>
            <a:endParaRPr lang="en-US" sz="2000" dirty="0">
              <a:solidFill>
                <a:schemeClr val="tx1"/>
              </a:solidFill>
            </a:endParaRPr>
          </a:p>
        </p:txBody>
      </p:sp>
      <p:sp>
        <p:nvSpPr>
          <p:cNvPr id="16" name="Picture Placeholder 15">
            <a:extLst>
              <a:ext uri="{FF2B5EF4-FFF2-40B4-BE49-F238E27FC236}">
                <a16:creationId xmlns:a16="http://schemas.microsoft.com/office/drawing/2014/main" id="{F8E3D61A-33AF-494A-9398-1495BB046AA3}"/>
              </a:ext>
            </a:extLst>
          </p:cNvPr>
          <p:cNvSpPr>
            <a:spLocks noGrp="1"/>
          </p:cNvSpPr>
          <p:nvPr>
            <p:ph type="pic" sz="quarter" idx="13" hasCustomPrompt="1"/>
          </p:nvPr>
        </p:nvSpPr>
        <p:spPr>
          <a:xfrm>
            <a:off x="5711826" y="223838"/>
            <a:ext cx="6256337" cy="6410326"/>
          </a:xfrm>
        </p:spPr>
        <p:txBody>
          <a:bodyPr anchor="ctr"/>
          <a:lstStyle>
            <a:lvl1pPr algn="ctr">
              <a:defRPr sz="1200"/>
            </a:lvl1pPr>
          </a:lstStyle>
          <a:p>
            <a:r>
              <a:rPr lang="en-US" dirty="0"/>
              <a:t>Click to insert image</a:t>
            </a:r>
          </a:p>
        </p:txBody>
      </p:sp>
      <p:pic>
        <p:nvPicPr>
          <p:cNvPr id="20" name="Graphic 19">
            <a:extLst>
              <a:ext uri="{FF2B5EF4-FFF2-40B4-BE49-F238E27FC236}">
                <a16:creationId xmlns:a16="http://schemas.microsoft.com/office/drawing/2014/main" id="{5C5C9887-6129-4E40-89EC-46893BF4A51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636558" y="1409700"/>
            <a:ext cx="2469562" cy="1103681"/>
          </a:xfrm>
          <a:prstGeom prst="rect">
            <a:avLst/>
          </a:prstGeom>
        </p:spPr>
      </p:pic>
      <p:cxnSp>
        <p:nvCxnSpPr>
          <p:cNvPr id="22" name="Straight Connector 21">
            <a:extLst>
              <a:ext uri="{FF2B5EF4-FFF2-40B4-BE49-F238E27FC236}">
                <a16:creationId xmlns:a16="http://schemas.microsoft.com/office/drawing/2014/main" id="{F9F96C7E-A230-4E41-A33A-464FDE2C3BF4}"/>
              </a:ext>
            </a:extLst>
          </p:cNvPr>
          <p:cNvCxnSpPr>
            <a:cxnSpLocks/>
          </p:cNvCxnSpPr>
          <p:nvPr userDrawn="1"/>
        </p:nvCxnSpPr>
        <p:spPr>
          <a:xfrm>
            <a:off x="1771651" y="3432175"/>
            <a:ext cx="216852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0D1E0C69-18A3-4ECB-9A1C-411D79F7AD07}"/>
              </a:ext>
            </a:extLst>
          </p:cNvPr>
          <p:cNvSpPr txBox="1"/>
          <p:nvPr userDrawn="1"/>
        </p:nvSpPr>
        <p:spPr>
          <a:xfrm>
            <a:off x="1524653" y="4058676"/>
            <a:ext cx="2662521" cy="413424"/>
          </a:xfrm>
          <a:prstGeom prst="rect">
            <a:avLst/>
          </a:prstGeom>
          <a:noFill/>
        </p:spPr>
        <p:txBody>
          <a:bodyPr wrap="square" rtlCol="0">
            <a:noAutofit/>
          </a:bodyPr>
          <a:lstStyle/>
          <a:p>
            <a:pPr algn="ctr">
              <a:lnSpc>
                <a:spcPct val="90000"/>
              </a:lnSpc>
              <a:spcAft>
                <a:spcPts val="600"/>
              </a:spcAft>
            </a:pPr>
            <a:r>
              <a:rPr lang="en-US" sz="2200" b="1" dirty="0">
                <a:solidFill>
                  <a:schemeClr val="accent2"/>
                </a:solidFill>
              </a:rPr>
              <a:t>THANK</a:t>
            </a:r>
            <a:r>
              <a:rPr lang="en-US" sz="2200" b="1" dirty="0">
                <a:solidFill>
                  <a:schemeClr val="bg1"/>
                </a:solidFill>
              </a:rPr>
              <a:t> YOU</a:t>
            </a:r>
          </a:p>
        </p:txBody>
      </p:sp>
      <p:sp>
        <p:nvSpPr>
          <p:cNvPr id="23" name="TextBox 22">
            <a:extLst>
              <a:ext uri="{FF2B5EF4-FFF2-40B4-BE49-F238E27FC236}">
                <a16:creationId xmlns:a16="http://schemas.microsoft.com/office/drawing/2014/main" id="{F79E690B-96B5-4595-B65D-51CA9B296A0A}"/>
              </a:ext>
            </a:extLst>
          </p:cNvPr>
          <p:cNvSpPr txBox="1"/>
          <p:nvPr userDrawn="1"/>
        </p:nvSpPr>
        <p:spPr>
          <a:xfrm>
            <a:off x="1031455" y="4564047"/>
            <a:ext cx="3648918" cy="413424"/>
          </a:xfrm>
          <a:prstGeom prst="rect">
            <a:avLst/>
          </a:prstGeom>
          <a:noFill/>
        </p:spPr>
        <p:txBody>
          <a:bodyPr wrap="square" rtlCol="0">
            <a:noAutofit/>
          </a:bodyPr>
          <a:lstStyle/>
          <a:p>
            <a:pPr algn="ctr">
              <a:lnSpc>
                <a:spcPct val="90000"/>
              </a:lnSpc>
              <a:spcAft>
                <a:spcPts val="600"/>
              </a:spcAft>
            </a:pPr>
            <a:r>
              <a:rPr lang="en-US" sz="2200" dirty="0">
                <a:solidFill>
                  <a:schemeClr val="bg1"/>
                </a:solidFill>
              </a:rPr>
              <a:t>www.northhighland.com</a:t>
            </a:r>
          </a:p>
        </p:txBody>
      </p:sp>
      <p:cxnSp>
        <p:nvCxnSpPr>
          <p:cNvPr id="24" name="Straight Connector 23">
            <a:extLst>
              <a:ext uri="{FF2B5EF4-FFF2-40B4-BE49-F238E27FC236}">
                <a16:creationId xmlns:a16="http://schemas.microsoft.com/office/drawing/2014/main" id="{F47BA06C-5583-4895-88F2-1325F5866E84}"/>
              </a:ext>
            </a:extLst>
          </p:cNvPr>
          <p:cNvCxnSpPr>
            <a:cxnSpLocks/>
          </p:cNvCxnSpPr>
          <p:nvPr userDrawn="1"/>
        </p:nvCxnSpPr>
        <p:spPr>
          <a:xfrm>
            <a:off x="1771651" y="5582709"/>
            <a:ext cx="216852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655857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Text Panel Right">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B7D71990-518F-4E31-95AE-19C6EB25112C}"/>
              </a:ext>
            </a:extLst>
          </p:cNvPr>
          <p:cNvSpPr/>
          <p:nvPr userDrawn="1"/>
        </p:nvSpPr>
        <p:spPr>
          <a:xfrm>
            <a:off x="4629728" y="429299"/>
            <a:ext cx="6757600" cy="14055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600"/>
              </a:spcAft>
            </a:pPr>
            <a:endParaRPr lang="en-GB" sz="2000" dirty="0">
              <a:solidFill>
                <a:schemeClr val="tx1"/>
              </a:solidFill>
            </a:endParaRPr>
          </a:p>
        </p:txBody>
      </p:sp>
      <p:sp>
        <p:nvSpPr>
          <p:cNvPr id="64" name="Text Placeholder 40">
            <a:extLst>
              <a:ext uri="{FF2B5EF4-FFF2-40B4-BE49-F238E27FC236}">
                <a16:creationId xmlns:a16="http://schemas.microsoft.com/office/drawing/2014/main" id="{94A67CDE-CF24-4AFC-BDCC-0495D94CA15E}"/>
              </a:ext>
            </a:extLst>
          </p:cNvPr>
          <p:cNvSpPr>
            <a:spLocks noGrp="1"/>
          </p:cNvSpPr>
          <p:nvPr>
            <p:ph type="body" sz="quarter" idx="19" hasCustomPrompt="1"/>
          </p:nvPr>
        </p:nvSpPr>
        <p:spPr>
          <a:xfrm>
            <a:off x="4690110" y="1053206"/>
            <a:ext cx="6513878" cy="655955"/>
          </a:xfrm>
        </p:spPr>
        <p:txBody>
          <a:bodyPr/>
          <a:lstStyle>
            <a:lvl1pPr>
              <a:defRPr sz="1400">
                <a:solidFill>
                  <a:schemeClr val="bg1"/>
                </a:solidFill>
              </a:defRPr>
            </a:lvl1pPr>
          </a:lstStyle>
          <a:p>
            <a:pPr lvl="0"/>
            <a:r>
              <a:rPr lang="en-US"/>
              <a:t>Click to insert text</a:t>
            </a:r>
            <a:endParaRPr lang="en-GB"/>
          </a:p>
        </p:txBody>
      </p:sp>
      <p:sp>
        <p:nvSpPr>
          <p:cNvPr id="2" name="Title 1">
            <a:extLst>
              <a:ext uri="{FF2B5EF4-FFF2-40B4-BE49-F238E27FC236}">
                <a16:creationId xmlns:a16="http://schemas.microsoft.com/office/drawing/2014/main" id="{BC0E1418-D76B-4E7B-BC2C-A4D67CDE8555}"/>
              </a:ext>
            </a:extLst>
          </p:cNvPr>
          <p:cNvSpPr>
            <a:spLocks noGrp="1"/>
          </p:cNvSpPr>
          <p:nvPr>
            <p:ph type="title" hasCustomPrompt="1"/>
          </p:nvPr>
        </p:nvSpPr>
        <p:spPr>
          <a:xfrm>
            <a:off x="4690110" y="556161"/>
            <a:ext cx="6520787" cy="406241"/>
          </a:xfrm>
        </p:spPr>
        <p:txBody>
          <a:bodyPr anchor="b"/>
          <a:lstStyle>
            <a:lvl1pPr>
              <a:defRPr sz="1800" b="1">
                <a:solidFill>
                  <a:schemeClr val="accent3"/>
                </a:solidFill>
              </a:defRPr>
            </a:lvl1pPr>
          </a:lstStyle>
          <a:p>
            <a:r>
              <a:rPr lang="en-US"/>
              <a:t>CLICK TO INSERT text</a:t>
            </a:r>
            <a:endParaRPr lang="en-GB"/>
          </a:p>
        </p:txBody>
      </p:sp>
      <p:sp>
        <p:nvSpPr>
          <p:cNvPr id="7" name="Footer Placeholder 6">
            <a:extLst>
              <a:ext uri="{FF2B5EF4-FFF2-40B4-BE49-F238E27FC236}">
                <a16:creationId xmlns:a16="http://schemas.microsoft.com/office/drawing/2014/main" id="{B3B3111C-FF40-47BD-AE58-2463B0884F1F}"/>
              </a:ext>
            </a:extLst>
          </p:cNvPr>
          <p:cNvSpPr>
            <a:spLocks noGrp="1"/>
          </p:cNvSpPr>
          <p:nvPr>
            <p:ph type="ftr" sz="quarter" idx="48"/>
          </p:nvPr>
        </p:nvSpPr>
        <p:spPr>
          <a:xfrm>
            <a:off x="4325019" y="6534150"/>
            <a:ext cx="5492750" cy="263525"/>
          </a:xfrm>
          <a:prstGeom prst="rect">
            <a:avLst/>
          </a:prstGeom>
        </p:spPr>
        <p:txBody>
          <a:bodyPr/>
          <a:lstStyle/>
          <a:p>
            <a:endParaRPr lang="en-GB" sz="600" dirty="0"/>
          </a:p>
        </p:txBody>
      </p:sp>
      <p:sp>
        <p:nvSpPr>
          <p:cNvPr id="8" name="Slide Number Placeholder 7">
            <a:extLst>
              <a:ext uri="{FF2B5EF4-FFF2-40B4-BE49-F238E27FC236}">
                <a16:creationId xmlns:a16="http://schemas.microsoft.com/office/drawing/2014/main" id="{B1422CE6-2389-4258-A4E4-7F284F9CAB9D}"/>
              </a:ext>
            </a:extLst>
          </p:cNvPr>
          <p:cNvSpPr>
            <a:spLocks noGrp="1"/>
          </p:cNvSpPr>
          <p:nvPr>
            <p:ph type="sldNum" sz="quarter" idx="49"/>
          </p:nvPr>
        </p:nvSpPr>
        <p:spPr/>
        <p:txBody>
          <a:bodyPr/>
          <a:lstStyle/>
          <a:p>
            <a:fld id="{5034EE70-12A8-400F-8E3D-398CDD8B315D}" type="slidenum">
              <a:rPr lang="en-GB" smtClean="0"/>
              <a:pPr/>
              <a:t>‹#›</a:t>
            </a:fld>
            <a:endParaRPr lang="en-GB" dirty="0"/>
          </a:p>
        </p:txBody>
      </p:sp>
      <p:sp>
        <p:nvSpPr>
          <p:cNvPr id="4" name="Freeform: Shape 3">
            <a:extLst>
              <a:ext uri="{FF2B5EF4-FFF2-40B4-BE49-F238E27FC236}">
                <a16:creationId xmlns:a16="http://schemas.microsoft.com/office/drawing/2014/main" id="{0C5BCA3A-1BEB-4EC1-97EB-F64668356503}"/>
              </a:ext>
            </a:extLst>
          </p:cNvPr>
          <p:cNvSpPr/>
          <p:nvPr userDrawn="1"/>
        </p:nvSpPr>
        <p:spPr>
          <a:xfrm>
            <a:off x="223837" y="223838"/>
            <a:ext cx="11744326" cy="6262686"/>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GB" sz="2000" dirty="0">
              <a:solidFill>
                <a:schemeClr val="tx1"/>
              </a:solidFill>
            </a:endParaRPr>
          </a:p>
        </p:txBody>
      </p:sp>
      <p:sp>
        <p:nvSpPr>
          <p:cNvPr id="32" name="Rectangle 31">
            <a:extLst>
              <a:ext uri="{FF2B5EF4-FFF2-40B4-BE49-F238E27FC236}">
                <a16:creationId xmlns:a16="http://schemas.microsoft.com/office/drawing/2014/main" id="{72213F14-54B4-41F4-847B-B3188A22A585}"/>
              </a:ext>
            </a:extLst>
          </p:cNvPr>
          <p:cNvSpPr/>
          <p:nvPr userDrawn="1"/>
        </p:nvSpPr>
        <p:spPr>
          <a:xfrm>
            <a:off x="4629728" y="1961758"/>
            <a:ext cx="6757600" cy="4340081"/>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600"/>
              </a:spcAft>
            </a:pPr>
            <a:endParaRPr lang="en-GB" sz="2000" dirty="0">
              <a:solidFill>
                <a:schemeClr val="tx1"/>
              </a:solidFill>
            </a:endParaRPr>
          </a:p>
        </p:txBody>
      </p:sp>
      <p:sp>
        <p:nvSpPr>
          <p:cNvPr id="9" name="Text Placeholder 8">
            <a:extLst>
              <a:ext uri="{FF2B5EF4-FFF2-40B4-BE49-F238E27FC236}">
                <a16:creationId xmlns:a16="http://schemas.microsoft.com/office/drawing/2014/main" id="{5D6DD727-551E-4A43-87D1-B785164624BF}"/>
              </a:ext>
            </a:extLst>
          </p:cNvPr>
          <p:cNvSpPr>
            <a:spLocks noGrp="1"/>
          </p:cNvSpPr>
          <p:nvPr>
            <p:ph type="body" sz="quarter" idx="53" hasCustomPrompt="1"/>
          </p:nvPr>
        </p:nvSpPr>
        <p:spPr>
          <a:xfrm>
            <a:off x="4689476" y="2086930"/>
            <a:ext cx="6520787" cy="406241"/>
          </a:xfrm>
        </p:spPr>
        <p:txBody>
          <a:bodyPr vert="horz" wrap="square" lIns="91440" tIns="45720" rIns="91440" bIns="45720" rtlCol="0" anchor="b">
            <a:noAutofit/>
          </a:bodyPr>
          <a:lstStyle>
            <a:lvl1pPr>
              <a:defRPr lang="en-US" sz="1800" b="1" cap="all" baseline="0" dirty="0" smtClean="0">
                <a:solidFill>
                  <a:schemeClr val="accent1"/>
                </a:solidFill>
                <a:latin typeface="+mj-lt"/>
                <a:ea typeface="+mj-ea"/>
                <a:cs typeface="+mj-cs"/>
              </a:defRPr>
            </a:lvl1pPr>
            <a:lvl2pPr>
              <a:defRPr lang="en-US" dirty="0" smtClean="0"/>
            </a:lvl2pPr>
            <a:lvl3pPr>
              <a:defRPr lang="en-US" dirty="0" smtClean="0"/>
            </a:lvl3pPr>
            <a:lvl4pPr>
              <a:defRPr lang="en-US" dirty="0" smtClean="0"/>
            </a:lvl4pPr>
            <a:lvl5pPr>
              <a:defRPr lang="en-GB" dirty="0"/>
            </a:lvl5pPr>
          </a:lstStyle>
          <a:p>
            <a:pPr lvl="0">
              <a:spcBef>
                <a:spcPct val="0"/>
              </a:spcBef>
              <a:spcAft>
                <a:spcPts val="600"/>
              </a:spcAft>
            </a:pPr>
            <a:r>
              <a:rPr lang="en-US"/>
              <a:t>Click to insert text</a:t>
            </a:r>
            <a:endParaRPr lang="en-GB"/>
          </a:p>
        </p:txBody>
      </p:sp>
      <p:sp>
        <p:nvSpPr>
          <p:cNvPr id="44" name="Text Placeholder 10">
            <a:extLst>
              <a:ext uri="{FF2B5EF4-FFF2-40B4-BE49-F238E27FC236}">
                <a16:creationId xmlns:a16="http://schemas.microsoft.com/office/drawing/2014/main" id="{FEAFAFBE-DB47-479C-9C66-5E4A428B2C9C}"/>
              </a:ext>
            </a:extLst>
          </p:cNvPr>
          <p:cNvSpPr>
            <a:spLocks noGrp="1"/>
          </p:cNvSpPr>
          <p:nvPr>
            <p:ph type="body" sz="quarter" idx="54" hasCustomPrompt="1"/>
          </p:nvPr>
        </p:nvSpPr>
        <p:spPr>
          <a:xfrm>
            <a:off x="4690110" y="2585665"/>
            <a:ext cx="6513878" cy="1235486"/>
          </a:xfrm>
        </p:spPr>
        <p:txBody>
          <a:bodyPr/>
          <a:lstStyle>
            <a:lvl1pPr>
              <a:defRPr sz="1400">
                <a:solidFill>
                  <a:schemeClr val="tx2"/>
                </a:solidFill>
              </a:defRPr>
            </a:lvl1pPr>
            <a:lvl2pPr>
              <a:defRPr sz="1400">
                <a:solidFill>
                  <a:schemeClr val="tx2"/>
                </a:solidFill>
              </a:defRPr>
            </a:lvl2pPr>
            <a:lvl3pPr>
              <a:defRPr sz="1200">
                <a:solidFill>
                  <a:schemeClr val="tx2"/>
                </a:solidFill>
              </a:defRPr>
            </a:lvl3pPr>
            <a:lvl4pPr>
              <a:defRPr sz="1100">
                <a:solidFill>
                  <a:schemeClr val="tx2"/>
                </a:solidFill>
              </a:defRPr>
            </a:lvl4pPr>
            <a:lvl5pPr>
              <a:defRPr sz="105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endParaRPr lang="en-GB"/>
          </a:p>
        </p:txBody>
      </p:sp>
      <p:sp>
        <p:nvSpPr>
          <p:cNvPr id="45" name="Text Placeholder 8">
            <a:extLst>
              <a:ext uri="{FF2B5EF4-FFF2-40B4-BE49-F238E27FC236}">
                <a16:creationId xmlns:a16="http://schemas.microsoft.com/office/drawing/2014/main" id="{EA917DE9-F840-4BB8-9371-79611F5009E7}"/>
              </a:ext>
            </a:extLst>
          </p:cNvPr>
          <p:cNvSpPr>
            <a:spLocks noGrp="1"/>
          </p:cNvSpPr>
          <p:nvPr>
            <p:ph type="body" sz="quarter" idx="55" hasCustomPrompt="1"/>
          </p:nvPr>
        </p:nvSpPr>
        <p:spPr>
          <a:xfrm>
            <a:off x="4689476" y="4130746"/>
            <a:ext cx="6520787" cy="406241"/>
          </a:xfrm>
        </p:spPr>
        <p:txBody>
          <a:bodyPr vert="horz" wrap="square" lIns="91440" tIns="45720" rIns="91440" bIns="45720" rtlCol="0" anchor="b">
            <a:noAutofit/>
          </a:bodyPr>
          <a:lstStyle>
            <a:lvl1pPr>
              <a:defRPr lang="en-US" sz="1800" b="1" cap="all" baseline="0" dirty="0" smtClean="0">
                <a:solidFill>
                  <a:schemeClr val="accent1"/>
                </a:solidFill>
                <a:latin typeface="+mj-lt"/>
                <a:ea typeface="+mj-ea"/>
                <a:cs typeface="+mj-cs"/>
              </a:defRPr>
            </a:lvl1pPr>
            <a:lvl2pPr>
              <a:defRPr lang="en-US" dirty="0" smtClean="0"/>
            </a:lvl2pPr>
            <a:lvl3pPr>
              <a:defRPr lang="en-US" dirty="0" smtClean="0"/>
            </a:lvl3pPr>
            <a:lvl4pPr>
              <a:defRPr lang="en-US" dirty="0" smtClean="0"/>
            </a:lvl4pPr>
            <a:lvl5pPr>
              <a:defRPr lang="en-GB" dirty="0"/>
            </a:lvl5pPr>
          </a:lstStyle>
          <a:p>
            <a:pPr lvl="0">
              <a:spcBef>
                <a:spcPct val="0"/>
              </a:spcBef>
              <a:spcAft>
                <a:spcPts val="600"/>
              </a:spcAft>
            </a:pPr>
            <a:r>
              <a:rPr lang="en-US"/>
              <a:t>Click to insert text</a:t>
            </a:r>
            <a:endParaRPr lang="en-GB"/>
          </a:p>
        </p:txBody>
      </p:sp>
      <p:sp>
        <p:nvSpPr>
          <p:cNvPr id="46" name="Text Placeholder 10">
            <a:extLst>
              <a:ext uri="{FF2B5EF4-FFF2-40B4-BE49-F238E27FC236}">
                <a16:creationId xmlns:a16="http://schemas.microsoft.com/office/drawing/2014/main" id="{DF7290C2-E457-42A3-85EB-CE4426355474}"/>
              </a:ext>
            </a:extLst>
          </p:cNvPr>
          <p:cNvSpPr>
            <a:spLocks noGrp="1"/>
          </p:cNvSpPr>
          <p:nvPr>
            <p:ph type="body" sz="quarter" idx="56" hasCustomPrompt="1"/>
          </p:nvPr>
        </p:nvSpPr>
        <p:spPr>
          <a:xfrm>
            <a:off x="4690110" y="4629481"/>
            <a:ext cx="6513878" cy="1235486"/>
          </a:xfrm>
        </p:spPr>
        <p:txBody>
          <a:bodyPr/>
          <a:lstStyle>
            <a:lvl1pPr>
              <a:defRPr sz="1400">
                <a:solidFill>
                  <a:schemeClr val="tx2"/>
                </a:solidFill>
              </a:defRPr>
            </a:lvl1pPr>
            <a:lvl2pPr>
              <a:defRPr sz="1400">
                <a:solidFill>
                  <a:schemeClr val="tx2"/>
                </a:solidFill>
              </a:defRPr>
            </a:lvl2pPr>
            <a:lvl3pPr>
              <a:defRPr sz="1200">
                <a:solidFill>
                  <a:schemeClr val="tx2"/>
                </a:solidFill>
              </a:defRPr>
            </a:lvl3pPr>
            <a:lvl4pPr>
              <a:defRPr sz="1100">
                <a:solidFill>
                  <a:schemeClr val="tx2"/>
                </a:solidFill>
              </a:defRPr>
            </a:lvl4pPr>
            <a:lvl5pPr>
              <a:defRPr sz="105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endParaRPr lang="en-GB"/>
          </a:p>
        </p:txBody>
      </p:sp>
      <p:sp>
        <p:nvSpPr>
          <p:cNvPr id="6" name="Picture Placeholder 5">
            <a:extLst>
              <a:ext uri="{FF2B5EF4-FFF2-40B4-BE49-F238E27FC236}">
                <a16:creationId xmlns:a16="http://schemas.microsoft.com/office/drawing/2014/main" id="{76B23411-6A85-4DAE-AD1E-32FBB8B806AE}"/>
              </a:ext>
            </a:extLst>
          </p:cNvPr>
          <p:cNvSpPr>
            <a:spLocks noGrp="1"/>
          </p:cNvSpPr>
          <p:nvPr>
            <p:ph type="pic" sz="quarter" idx="57" hasCustomPrompt="1"/>
          </p:nvPr>
        </p:nvSpPr>
        <p:spPr>
          <a:xfrm>
            <a:off x="223837" y="223838"/>
            <a:ext cx="4210051" cy="6264000"/>
          </a:xfrm>
          <a:ln>
            <a:solidFill>
              <a:schemeClr val="accent1"/>
            </a:solidFill>
          </a:ln>
        </p:spPr>
        <p:txBody>
          <a:bodyPr vert="horz" wrap="square" lIns="91440" tIns="45720" rIns="91440" bIns="45720" rtlCol="0" anchor="ctr">
            <a:noAutofit/>
          </a:bodyPr>
          <a:lstStyle>
            <a:lvl1pPr algn="ctr">
              <a:defRPr lang="en-GB" sz="1200" dirty="0"/>
            </a:lvl1pPr>
          </a:lstStyle>
          <a:p>
            <a:pPr lvl="0" algn="ctr"/>
            <a:r>
              <a:rPr lang="en-GB" dirty="0"/>
              <a:t>Click to insert image</a:t>
            </a:r>
          </a:p>
        </p:txBody>
      </p:sp>
      <p:pic>
        <p:nvPicPr>
          <p:cNvPr id="15" name="Graphic 14">
            <a:extLst>
              <a:ext uri="{FF2B5EF4-FFF2-40B4-BE49-F238E27FC236}">
                <a16:creationId xmlns:a16="http://schemas.microsoft.com/office/drawing/2014/main" id="{F66CC0F7-C4F1-4C4D-B104-37366E18534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3838" y="6586537"/>
            <a:ext cx="1852404" cy="171450"/>
          </a:xfrm>
          <a:prstGeom prst="rect">
            <a:avLst/>
          </a:prstGeom>
        </p:spPr>
      </p:pic>
    </p:spTree>
    <p:extLst>
      <p:ext uri="{BB962C8B-B14F-4D97-AF65-F5344CB8AC3E}">
        <p14:creationId xmlns:p14="http://schemas.microsoft.com/office/powerpoint/2010/main" val="316586566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ext w/ RH Imag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CF89B9E-08E3-4BC0-9C0C-CE6A2920DFD3}"/>
              </a:ext>
            </a:extLst>
          </p:cNvPr>
          <p:cNvSpPr>
            <a:spLocks noGrp="1"/>
          </p:cNvSpPr>
          <p:nvPr>
            <p:ph type="title" hasCustomPrompt="1"/>
          </p:nvPr>
        </p:nvSpPr>
        <p:spPr>
          <a:xfrm>
            <a:off x="480060" y="706279"/>
            <a:ext cx="4701540" cy="406241"/>
          </a:xfrm>
        </p:spPr>
        <p:txBody>
          <a:bodyPr/>
          <a:lstStyle>
            <a:lvl1pPr>
              <a:defRPr b="1">
                <a:solidFill>
                  <a:schemeClr val="accent1"/>
                </a:solidFill>
              </a:defRPr>
            </a:lvl1pPr>
          </a:lstStyle>
          <a:p>
            <a:r>
              <a:rPr lang="en-US"/>
              <a:t>CLICK TO INSERT TITLE</a:t>
            </a:r>
          </a:p>
        </p:txBody>
      </p:sp>
      <p:sp>
        <p:nvSpPr>
          <p:cNvPr id="10" name="Slide Number Placeholder 9">
            <a:extLst>
              <a:ext uri="{FF2B5EF4-FFF2-40B4-BE49-F238E27FC236}">
                <a16:creationId xmlns:a16="http://schemas.microsoft.com/office/drawing/2014/main" id="{BD7CB76D-0E42-48D8-9872-270F65087D8C}"/>
              </a:ext>
            </a:extLst>
          </p:cNvPr>
          <p:cNvSpPr>
            <a:spLocks noGrp="1"/>
          </p:cNvSpPr>
          <p:nvPr>
            <p:ph type="sldNum" sz="quarter" idx="16"/>
          </p:nvPr>
        </p:nvSpPr>
        <p:spPr/>
        <p:txBody>
          <a:bodyPr/>
          <a:lstStyle/>
          <a:p>
            <a:fld id="{5034EE70-12A8-400F-8E3D-398CDD8B315D}" type="slidenum">
              <a:rPr lang="en-US" smtClean="0"/>
              <a:pPr/>
              <a:t>‹#›</a:t>
            </a:fld>
            <a:endParaRPr lang="en-US" dirty="0"/>
          </a:p>
        </p:txBody>
      </p:sp>
      <p:sp>
        <p:nvSpPr>
          <p:cNvPr id="31" name="Text Placeholder 15">
            <a:extLst>
              <a:ext uri="{FF2B5EF4-FFF2-40B4-BE49-F238E27FC236}">
                <a16:creationId xmlns:a16="http://schemas.microsoft.com/office/drawing/2014/main" id="{386C4061-05D3-4E22-861F-99E0E904D0B3}"/>
              </a:ext>
            </a:extLst>
          </p:cNvPr>
          <p:cNvSpPr>
            <a:spLocks noGrp="1"/>
          </p:cNvSpPr>
          <p:nvPr>
            <p:ph type="body" sz="quarter" idx="26" hasCustomPrompt="1"/>
          </p:nvPr>
        </p:nvSpPr>
        <p:spPr>
          <a:xfrm>
            <a:off x="480060" y="1803966"/>
            <a:ext cx="4708843" cy="4347744"/>
          </a:xfrm>
        </p:spPr>
        <p:txBody>
          <a:bodyPr numCol="1" spcCol="360000"/>
          <a:lstStyle>
            <a:lvl1pPr>
              <a:defRPr sz="1400">
                <a:solidFill>
                  <a:schemeClr val="tx2"/>
                </a:solidFill>
              </a:defRPr>
            </a:lvl1pPr>
            <a:lvl2pPr>
              <a:defRPr sz="1400">
                <a:solidFill>
                  <a:schemeClr val="tx2"/>
                </a:solidFill>
              </a:defRPr>
            </a:lvl2pPr>
            <a:lvl3pPr>
              <a:defRPr sz="1200">
                <a:solidFill>
                  <a:schemeClr val="tx2"/>
                </a:solidFill>
              </a:defRPr>
            </a:lvl3pPr>
            <a:lvl4pPr>
              <a:defRPr sz="1100">
                <a:solidFill>
                  <a:schemeClr val="tx2"/>
                </a:solidFill>
              </a:defRPr>
            </a:lvl4pPr>
            <a:lvl5pPr>
              <a:defRPr sz="105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32" name="Text Placeholder 40">
            <a:extLst>
              <a:ext uri="{FF2B5EF4-FFF2-40B4-BE49-F238E27FC236}">
                <a16:creationId xmlns:a16="http://schemas.microsoft.com/office/drawing/2014/main" id="{8B7C66B5-CDBC-46AD-9FE3-ED6D143E9E84}"/>
              </a:ext>
            </a:extLst>
          </p:cNvPr>
          <p:cNvSpPr>
            <a:spLocks noGrp="1"/>
          </p:cNvSpPr>
          <p:nvPr>
            <p:ph type="body" sz="quarter" idx="19" hasCustomPrompt="1"/>
          </p:nvPr>
        </p:nvSpPr>
        <p:spPr>
          <a:xfrm>
            <a:off x="480060" y="1203325"/>
            <a:ext cx="4701540" cy="391636"/>
          </a:xfrm>
        </p:spPr>
        <p:txBody>
          <a:bodyPr/>
          <a:lstStyle>
            <a:lvl1pPr>
              <a:defRPr>
                <a:solidFill>
                  <a:schemeClr val="accent3"/>
                </a:solidFill>
              </a:defRPr>
            </a:lvl1pPr>
          </a:lstStyle>
          <a:p>
            <a:pPr lvl="0"/>
            <a:r>
              <a:rPr lang="en-US"/>
              <a:t>Click to insert subtitle</a:t>
            </a:r>
          </a:p>
        </p:txBody>
      </p:sp>
      <p:sp>
        <p:nvSpPr>
          <p:cNvPr id="4" name="Freeform: Shape 3">
            <a:extLst>
              <a:ext uri="{FF2B5EF4-FFF2-40B4-BE49-F238E27FC236}">
                <a16:creationId xmlns:a16="http://schemas.microsoft.com/office/drawing/2014/main" id="{8885AED4-3F61-4A3B-AADF-416131F64D48}"/>
              </a:ext>
            </a:extLst>
          </p:cNvPr>
          <p:cNvSpPr/>
          <p:nvPr userDrawn="1"/>
        </p:nvSpPr>
        <p:spPr>
          <a:xfrm>
            <a:off x="223837" y="223838"/>
            <a:ext cx="11744326" cy="6262686"/>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dirty="0">
              <a:solidFill>
                <a:schemeClr val="tx1"/>
              </a:solidFill>
            </a:endParaRPr>
          </a:p>
        </p:txBody>
      </p:sp>
      <p:sp>
        <p:nvSpPr>
          <p:cNvPr id="46" name="Picture Placeholder 45">
            <a:extLst>
              <a:ext uri="{FF2B5EF4-FFF2-40B4-BE49-F238E27FC236}">
                <a16:creationId xmlns:a16="http://schemas.microsoft.com/office/drawing/2014/main" id="{6A2408E9-8FDE-47FB-A952-63C6516A3551}"/>
              </a:ext>
            </a:extLst>
          </p:cNvPr>
          <p:cNvSpPr>
            <a:spLocks noGrp="1"/>
          </p:cNvSpPr>
          <p:nvPr>
            <p:ph type="pic" sz="quarter" idx="27" hasCustomPrompt="1"/>
          </p:nvPr>
        </p:nvSpPr>
        <p:spPr>
          <a:xfrm>
            <a:off x="6207916" y="222524"/>
            <a:ext cx="5760246" cy="6264000"/>
          </a:xfrm>
          <a:custGeom>
            <a:avLst/>
            <a:gdLst>
              <a:gd name="connsiteX0" fmla="*/ 0 w 5760246"/>
              <a:gd name="connsiteY0" fmla="*/ 0 h 6256800"/>
              <a:gd name="connsiteX1" fmla="*/ 5196441 w 5760246"/>
              <a:gd name="connsiteY1" fmla="*/ 0 h 6256800"/>
              <a:gd name="connsiteX2" fmla="*/ 5760246 w 5760246"/>
              <a:gd name="connsiteY2" fmla="*/ 563196 h 6256800"/>
              <a:gd name="connsiteX3" fmla="*/ 5760246 w 5760246"/>
              <a:gd name="connsiteY3" fmla="*/ 6256800 h 6256800"/>
              <a:gd name="connsiteX4" fmla="*/ 0 w 5760246"/>
              <a:gd name="connsiteY4" fmla="*/ 6256800 h 6256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60246" h="6256800">
                <a:moveTo>
                  <a:pt x="0" y="0"/>
                </a:moveTo>
                <a:lnTo>
                  <a:pt x="5196441" y="0"/>
                </a:lnTo>
                <a:lnTo>
                  <a:pt x="5760246" y="563196"/>
                </a:lnTo>
                <a:lnTo>
                  <a:pt x="5760246" y="6256800"/>
                </a:lnTo>
                <a:lnTo>
                  <a:pt x="0" y="6256800"/>
                </a:lnTo>
                <a:close/>
              </a:path>
            </a:pathLst>
          </a:custGeom>
          <a:ln>
            <a:solidFill>
              <a:schemeClr val="accent1"/>
            </a:solidFill>
          </a:ln>
        </p:spPr>
        <p:txBody>
          <a:bodyPr wrap="square" anchor="ctr">
            <a:noAutofit/>
          </a:bodyPr>
          <a:lstStyle>
            <a:lvl1pPr algn="ctr">
              <a:defRPr sz="1200"/>
            </a:lvl1pPr>
          </a:lstStyle>
          <a:p>
            <a:r>
              <a:rPr lang="en-US" dirty="0"/>
              <a:t>Click to insert image</a:t>
            </a:r>
          </a:p>
        </p:txBody>
      </p:sp>
      <p:sp>
        <p:nvSpPr>
          <p:cNvPr id="17" name="Footer Placeholder 8">
            <a:extLst>
              <a:ext uri="{FF2B5EF4-FFF2-40B4-BE49-F238E27FC236}">
                <a16:creationId xmlns:a16="http://schemas.microsoft.com/office/drawing/2014/main" id="{D1740D22-A83A-45D3-B593-624900B2074B}"/>
              </a:ext>
            </a:extLst>
          </p:cNvPr>
          <p:cNvSpPr>
            <a:spLocks noGrp="1"/>
          </p:cNvSpPr>
          <p:nvPr>
            <p:ph type="ftr" sz="quarter" idx="15"/>
          </p:nvPr>
        </p:nvSpPr>
        <p:spPr>
          <a:xfrm>
            <a:off x="4325019" y="6534150"/>
            <a:ext cx="5492750" cy="263525"/>
          </a:xfrm>
          <a:prstGeom prst="rect">
            <a:avLst/>
          </a:prstGeom>
        </p:spPr>
        <p:txBody>
          <a:bodyPr/>
          <a:lstStyle/>
          <a:p>
            <a:endParaRPr lang="en-US" sz="600" noProof="0" dirty="0"/>
          </a:p>
        </p:txBody>
      </p:sp>
      <p:pic>
        <p:nvPicPr>
          <p:cNvPr id="11" name="Graphic 10">
            <a:extLst>
              <a:ext uri="{FF2B5EF4-FFF2-40B4-BE49-F238E27FC236}">
                <a16:creationId xmlns:a16="http://schemas.microsoft.com/office/drawing/2014/main" id="{A3B01D59-C707-4216-B62D-9D37524E431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3838" y="6586537"/>
            <a:ext cx="1852404" cy="171450"/>
          </a:xfrm>
          <a:prstGeom prst="rect">
            <a:avLst/>
          </a:prstGeom>
        </p:spPr>
      </p:pic>
    </p:spTree>
    <p:extLst>
      <p:ext uri="{BB962C8B-B14F-4D97-AF65-F5344CB8AC3E}">
        <p14:creationId xmlns:p14="http://schemas.microsoft.com/office/powerpoint/2010/main" val="1206940446"/>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3 Stat">
    <p:spTree>
      <p:nvGrpSpPr>
        <p:cNvPr id="1" name=""/>
        <p:cNvGrpSpPr/>
        <p:nvPr/>
      </p:nvGrpSpPr>
      <p:grpSpPr>
        <a:xfrm>
          <a:off x="0" y="0"/>
          <a:ext cx="0" cy="0"/>
          <a:chOff x="0" y="0"/>
          <a:chExt cx="0" cy="0"/>
        </a:xfrm>
      </p:grpSpPr>
      <p:sp>
        <p:nvSpPr>
          <p:cNvPr id="39" name="Text Placeholder 36">
            <a:extLst>
              <a:ext uri="{FF2B5EF4-FFF2-40B4-BE49-F238E27FC236}">
                <a16:creationId xmlns:a16="http://schemas.microsoft.com/office/drawing/2014/main" id="{0BCCF02B-6EED-4D27-9CE2-E83ABE48D32B}"/>
              </a:ext>
            </a:extLst>
          </p:cNvPr>
          <p:cNvSpPr>
            <a:spLocks noGrp="1"/>
          </p:cNvSpPr>
          <p:nvPr>
            <p:ph type="body" sz="quarter" idx="27" hasCustomPrompt="1"/>
          </p:nvPr>
        </p:nvSpPr>
        <p:spPr>
          <a:xfrm>
            <a:off x="4521612" y="2457450"/>
            <a:ext cx="3145169" cy="4029073"/>
          </a:xfrm>
          <a:noFill/>
          <a:ln>
            <a:solidFill>
              <a:schemeClr val="accent1"/>
            </a:solidFill>
          </a:ln>
        </p:spPr>
        <p:txBody>
          <a:bodyPr/>
          <a:lstStyle>
            <a:lvl1pPr>
              <a:defRPr/>
            </a:lvl1pPr>
          </a:lstStyle>
          <a:p>
            <a:pPr lvl="0"/>
            <a:r>
              <a:rPr lang="en-US"/>
              <a:t> </a:t>
            </a:r>
          </a:p>
        </p:txBody>
      </p:sp>
      <p:sp>
        <p:nvSpPr>
          <p:cNvPr id="40" name="Text Placeholder 36">
            <a:extLst>
              <a:ext uri="{FF2B5EF4-FFF2-40B4-BE49-F238E27FC236}">
                <a16:creationId xmlns:a16="http://schemas.microsoft.com/office/drawing/2014/main" id="{7168FF53-716C-46C8-9063-0D1D3F3C276A}"/>
              </a:ext>
            </a:extLst>
          </p:cNvPr>
          <p:cNvSpPr>
            <a:spLocks noGrp="1"/>
          </p:cNvSpPr>
          <p:nvPr>
            <p:ph type="body" sz="quarter" idx="28" hasCustomPrompt="1"/>
          </p:nvPr>
        </p:nvSpPr>
        <p:spPr>
          <a:xfrm>
            <a:off x="8526722" y="2457450"/>
            <a:ext cx="3145169" cy="4029073"/>
          </a:xfrm>
          <a:noFill/>
          <a:ln>
            <a:solidFill>
              <a:schemeClr val="accent1"/>
            </a:solidFill>
          </a:ln>
        </p:spPr>
        <p:txBody>
          <a:bodyPr/>
          <a:lstStyle>
            <a:lvl1pPr>
              <a:defRPr/>
            </a:lvl1pPr>
          </a:lstStyle>
          <a:p>
            <a:pPr lvl="0"/>
            <a:r>
              <a:rPr lang="en-US"/>
              <a:t> </a:t>
            </a:r>
          </a:p>
        </p:txBody>
      </p:sp>
      <p:sp>
        <p:nvSpPr>
          <p:cNvPr id="38" name="Text Placeholder 36">
            <a:extLst>
              <a:ext uri="{FF2B5EF4-FFF2-40B4-BE49-F238E27FC236}">
                <a16:creationId xmlns:a16="http://schemas.microsoft.com/office/drawing/2014/main" id="{AB18794F-94FD-4404-9B43-34B565A45A40}"/>
              </a:ext>
            </a:extLst>
          </p:cNvPr>
          <p:cNvSpPr>
            <a:spLocks noGrp="1"/>
          </p:cNvSpPr>
          <p:nvPr>
            <p:ph type="body" sz="quarter" idx="26" hasCustomPrompt="1"/>
          </p:nvPr>
        </p:nvSpPr>
        <p:spPr>
          <a:xfrm>
            <a:off x="516503" y="2457450"/>
            <a:ext cx="3145169" cy="4029073"/>
          </a:xfrm>
          <a:noFill/>
          <a:ln>
            <a:solidFill>
              <a:schemeClr val="accent1"/>
            </a:solidFill>
          </a:ln>
        </p:spPr>
        <p:txBody>
          <a:bodyPr/>
          <a:lstStyle>
            <a:lvl1pPr>
              <a:defRPr/>
            </a:lvl1pPr>
          </a:lstStyle>
          <a:p>
            <a:pPr lvl="0"/>
            <a:r>
              <a:rPr lang="en-US"/>
              <a:t> </a:t>
            </a:r>
          </a:p>
        </p:txBody>
      </p:sp>
      <p:sp>
        <p:nvSpPr>
          <p:cNvPr id="2" name="Title 1">
            <a:extLst>
              <a:ext uri="{FF2B5EF4-FFF2-40B4-BE49-F238E27FC236}">
                <a16:creationId xmlns:a16="http://schemas.microsoft.com/office/drawing/2014/main" id="{BC0E1418-D76B-4E7B-BC2C-A4D67CDE8555}"/>
              </a:ext>
            </a:extLst>
          </p:cNvPr>
          <p:cNvSpPr>
            <a:spLocks noGrp="1"/>
          </p:cNvSpPr>
          <p:nvPr>
            <p:ph type="title" hasCustomPrompt="1"/>
          </p:nvPr>
        </p:nvSpPr>
        <p:spPr>
          <a:xfrm>
            <a:off x="480060" y="706279"/>
            <a:ext cx="10897578" cy="406241"/>
          </a:xfrm>
        </p:spPr>
        <p:txBody>
          <a:bodyPr/>
          <a:lstStyle>
            <a:lvl1pPr>
              <a:defRPr>
                <a:solidFill>
                  <a:schemeClr val="accent1"/>
                </a:solidFill>
              </a:defRPr>
            </a:lvl1pPr>
          </a:lstStyle>
          <a:p>
            <a:r>
              <a:rPr lang="en-US"/>
              <a:t>CLICK TO INSERT TITLE</a:t>
            </a:r>
          </a:p>
        </p:txBody>
      </p:sp>
      <p:sp>
        <p:nvSpPr>
          <p:cNvPr id="12" name="Text Placeholder 11">
            <a:extLst>
              <a:ext uri="{FF2B5EF4-FFF2-40B4-BE49-F238E27FC236}">
                <a16:creationId xmlns:a16="http://schemas.microsoft.com/office/drawing/2014/main" id="{2E8D3ABD-32E4-40D4-84DA-75A718812D57}"/>
              </a:ext>
            </a:extLst>
          </p:cNvPr>
          <p:cNvSpPr>
            <a:spLocks noGrp="1"/>
          </p:cNvSpPr>
          <p:nvPr>
            <p:ph type="body" sz="quarter" idx="13" hasCustomPrompt="1"/>
          </p:nvPr>
        </p:nvSpPr>
        <p:spPr>
          <a:xfrm>
            <a:off x="516503" y="1973263"/>
            <a:ext cx="3145169" cy="484188"/>
          </a:xfrm>
          <a:solidFill>
            <a:schemeClr val="bg2">
              <a:lumMod val="95000"/>
            </a:schemeClr>
          </a:solidFill>
          <a:ln>
            <a:solidFill>
              <a:schemeClr val="accent1"/>
            </a:solidFill>
          </a:ln>
        </p:spPr>
        <p:txBody>
          <a:bodyPr lIns="180000" anchor="ctr"/>
          <a:lstStyle>
            <a:lvl1pPr>
              <a:defRPr sz="1600" b="1" i="0" cap="all" baseline="0">
                <a:solidFill>
                  <a:schemeClr val="accent1"/>
                </a:solidFill>
              </a:defRPr>
            </a:lvl1pPr>
            <a:lvl2pPr>
              <a:defRPr sz="1600" b="1" i="0" cap="all" baseline="0"/>
            </a:lvl2pPr>
            <a:lvl3pPr>
              <a:defRPr sz="1400" b="1" i="0" cap="all" baseline="0"/>
            </a:lvl3pPr>
            <a:lvl4pPr>
              <a:defRPr sz="1200" b="1" i="0" cap="all" baseline="0"/>
            </a:lvl4pPr>
            <a:lvl5pPr>
              <a:defRPr sz="1100" b="1" i="0" cap="all" baseline="0"/>
            </a:lvl5pPr>
          </a:lstStyle>
          <a:p>
            <a:pPr lvl="0"/>
            <a:r>
              <a:rPr lang="en-US"/>
              <a:t>INSERT TITLE</a:t>
            </a:r>
          </a:p>
        </p:txBody>
      </p:sp>
      <p:sp>
        <p:nvSpPr>
          <p:cNvPr id="19" name="Text Placeholder 18">
            <a:extLst>
              <a:ext uri="{FF2B5EF4-FFF2-40B4-BE49-F238E27FC236}">
                <a16:creationId xmlns:a16="http://schemas.microsoft.com/office/drawing/2014/main" id="{715CAB15-E359-4FF5-B7D8-F215AC08AC75}"/>
              </a:ext>
            </a:extLst>
          </p:cNvPr>
          <p:cNvSpPr>
            <a:spLocks noGrp="1"/>
          </p:cNvSpPr>
          <p:nvPr>
            <p:ph type="body" sz="quarter" idx="14" hasCustomPrompt="1"/>
          </p:nvPr>
        </p:nvSpPr>
        <p:spPr>
          <a:xfrm>
            <a:off x="744944" y="2690813"/>
            <a:ext cx="2768887" cy="1495425"/>
          </a:xfrm>
        </p:spPr>
        <p:txBody>
          <a:bodyPr/>
          <a:lstStyle>
            <a:lvl1pPr>
              <a:defRPr sz="1400">
                <a:solidFill>
                  <a:schemeClr val="tx2"/>
                </a:solidFill>
              </a:defRPr>
            </a:lvl1pPr>
            <a:lvl2pPr>
              <a:defRPr sz="1400">
                <a:solidFill>
                  <a:schemeClr val="tx2"/>
                </a:solidFill>
              </a:defRPr>
            </a:lvl2pPr>
            <a:lvl3pPr>
              <a:defRPr sz="1200">
                <a:solidFill>
                  <a:schemeClr val="tx2"/>
                </a:solidFill>
              </a:defRPr>
            </a:lvl3pPr>
            <a:lvl4pPr>
              <a:defRPr sz="1100">
                <a:solidFill>
                  <a:schemeClr val="tx2"/>
                </a:solidFill>
              </a:defRPr>
            </a:lvl4pPr>
            <a:lvl5pPr>
              <a:defRPr sz="105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20" name="Text Placeholder 18">
            <a:extLst>
              <a:ext uri="{FF2B5EF4-FFF2-40B4-BE49-F238E27FC236}">
                <a16:creationId xmlns:a16="http://schemas.microsoft.com/office/drawing/2014/main" id="{E13DCA3E-AB2C-4028-A32B-83F9CDC1374A}"/>
              </a:ext>
            </a:extLst>
          </p:cNvPr>
          <p:cNvSpPr>
            <a:spLocks noGrp="1"/>
          </p:cNvSpPr>
          <p:nvPr>
            <p:ph type="body" sz="quarter" idx="15" hasCustomPrompt="1"/>
          </p:nvPr>
        </p:nvSpPr>
        <p:spPr>
          <a:xfrm>
            <a:off x="744944" y="4551123"/>
            <a:ext cx="2768887" cy="649537"/>
          </a:xfrm>
        </p:spPr>
        <p:txBody>
          <a:bodyPr anchor="b"/>
          <a:lstStyle>
            <a:lvl1pPr>
              <a:defRPr sz="3800" b="1">
                <a:solidFill>
                  <a:schemeClr val="accent3"/>
                </a:solidFill>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050">
                <a:solidFill>
                  <a:schemeClr val="bg1"/>
                </a:solidFill>
              </a:defRPr>
            </a:lvl5pPr>
          </a:lstStyle>
          <a:p>
            <a:pPr lvl="0"/>
            <a:r>
              <a:rPr lang="en-US"/>
              <a:t>XX%</a:t>
            </a:r>
          </a:p>
        </p:txBody>
      </p:sp>
      <p:sp>
        <p:nvSpPr>
          <p:cNvPr id="21" name="Text Placeholder 18">
            <a:extLst>
              <a:ext uri="{FF2B5EF4-FFF2-40B4-BE49-F238E27FC236}">
                <a16:creationId xmlns:a16="http://schemas.microsoft.com/office/drawing/2014/main" id="{C27CD9EA-4C26-4CAA-8197-7347E6E56A9F}"/>
              </a:ext>
            </a:extLst>
          </p:cNvPr>
          <p:cNvSpPr>
            <a:spLocks noGrp="1"/>
          </p:cNvSpPr>
          <p:nvPr>
            <p:ph type="body" sz="quarter" idx="16" hasCustomPrompt="1"/>
          </p:nvPr>
        </p:nvSpPr>
        <p:spPr>
          <a:xfrm>
            <a:off x="744944" y="5227388"/>
            <a:ext cx="2768887" cy="649537"/>
          </a:xfrm>
        </p:spPr>
        <p:txBody>
          <a:bodyPr/>
          <a:lstStyle>
            <a:lvl1pPr>
              <a:defRPr sz="1400">
                <a:solidFill>
                  <a:schemeClr val="tx2"/>
                </a:solidFill>
              </a:defRPr>
            </a:lvl1pPr>
            <a:lvl2pPr>
              <a:defRPr sz="1400">
                <a:solidFill>
                  <a:schemeClr val="tx2"/>
                </a:solidFill>
              </a:defRPr>
            </a:lvl2pPr>
            <a:lvl3pPr>
              <a:defRPr sz="1200">
                <a:solidFill>
                  <a:schemeClr val="tx2"/>
                </a:solidFill>
              </a:defRPr>
            </a:lvl3pPr>
            <a:lvl4pPr>
              <a:defRPr sz="1100">
                <a:solidFill>
                  <a:schemeClr val="tx2"/>
                </a:solidFill>
              </a:defRPr>
            </a:lvl4pPr>
            <a:lvl5pPr>
              <a:defRPr sz="105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281D76A4-423D-448D-A2D9-13D01B448A33}"/>
              </a:ext>
            </a:extLst>
          </p:cNvPr>
          <p:cNvSpPr>
            <a:spLocks noGrp="1"/>
          </p:cNvSpPr>
          <p:nvPr>
            <p:ph type="body" sz="quarter" idx="17" hasCustomPrompt="1"/>
          </p:nvPr>
        </p:nvSpPr>
        <p:spPr>
          <a:xfrm>
            <a:off x="4521612" y="1973379"/>
            <a:ext cx="3145169" cy="484188"/>
          </a:xfrm>
          <a:solidFill>
            <a:schemeClr val="bg2">
              <a:lumMod val="95000"/>
            </a:schemeClr>
          </a:solidFill>
          <a:ln>
            <a:solidFill>
              <a:schemeClr val="accent1"/>
            </a:solidFill>
          </a:ln>
        </p:spPr>
        <p:txBody>
          <a:bodyPr lIns="180000" anchor="ctr"/>
          <a:lstStyle>
            <a:lvl1pPr>
              <a:defRPr sz="1600" b="1" i="0" cap="all" baseline="0">
                <a:solidFill>
                  <a:schemeClr val="accent1"/>
                </a:solidFill>
              </a:defRPr>
            </a:lvl1pPr>
            <a:lvl2pPr>
              <a:defRPr sz="1600" b="1" i="0" cap="all" baseline="0"/>
            </a:lvl2pPr>
            <a:lvl3pPr>
              <a:defRPr sz="1400" b="1" i="0" cap="all" baseline="0"/>
            </a:lvl3pPr>
            <a:lvl4pPr>
              <a:defRPr sz="1200" b="1" i="0" cap="all" baseline="0"/>
            </a:lvl4pPr>
            <a:lvl5pPr>
              <a:defRPr sz="1100" b="1" i="0" cap="all" baseline="0"/>
            </a:lvl5pPr>
          </a:lstStyle>
          <a:p>
            <a:pPr lvl="0"/>
            <a:r>
              <a:rPr lang="en-US"/>
              <a:t>INSERT TITLE</a:t>
            </a:r>
          </a:p>
        </p:txBody>
      </p:sp>
      <p:sp>
        <p:nvSpPr>
          <p:cNvPr id="25" name="Text Placeholder 18">
            <a:extLst>
              <a:ext uri="{FF2B5EF4-FFF2-40B4-BE49-F238E27FC236}">
                <a16:creationId xmlns:a16="http://schemas.microsoft.com/office/drawing/2014/main" id="{8F157940-8EED-4B74-85BE-9B4FE169A25A}"/>
              </a:ext>
            </a:extLst>
          </p:cNvPr>
          <p:cNvSpPr>
            <a:spLocks noGrp="1"/>
          </p:cNvSpPr>
          <p:nvPr>
            <p:ph type="body" sz="quarter" idx="18" hasCustomPrompt="1"/>
          </p:nvPr>
        </p:nvSpPr>
        <p:spPr>
          <a:xfrm>
            <a:off x="4750053" y="2690929"/>
            <a:ext cx="2768887" cy="1495425"/>
          </a:xfrm>
        </p:spPr>
        <p:txBody>
          <a:bodyPr/>
          <a:lstStyle>
            <a:lvl1pPr>
              <a:defRPr sz="1400">
                <a:solidFill>
                  <a:schemeClr val="tx2"/>
                </a:solidFill>
              </a:defRPr>
            </a:lvl1pPr>
            <a:lvl2pPr>
              <a:defRPr sz="1400">
                <a:solidFill>
                  <a:schemeClr val="tx2"/>
                </a:solidFill>
              </a:defRPr>
            </a:lvl2pPr>
            <a:lvl3pPr>
              <a:defRPr sz="1200">
                <a:solidFill>
                  <a:schemeClr val="tx2"/>
                </a:solidFill>
              </a:defRPr>
            </a:lvl3pPr>
            <a:lvl4pPr>
              <a:defRPr sz="1100">
                <a:solidFill>
                  <a:schemeClr val="tx2"/>
                </a:solidFill>
              </a:defRPr>
            </a:lvl4pPr>
            <a:lvl5pPr>
              <a:defRPr sz="105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26" name="Text Placeholder 18">
            <a:extLst>
              <a:ext uri="{FF2B5EF4-FFF2-40B4-BE49-F238E27FC236}">
                <a16:creationId xmlns:a16="http://schemas.microsoft.com/office/drawing/2014/main" id="{9F2DA740-1D24-48D4-8CAC-41182115B228}"/>
              </a:ext>
            </a:extLst>
          </p:cNvPr>
          <p:cNvSpPr>
            <a:spLocks noGrp="1"/>
          </p:cNvSpPr>
          <p:nvPr>
            <p:ph type="body" sz="quarter" idx="19" hasCustomPrompt="1"/>
          </p:nvPr>
        </p:nvSpPr>
        <p:spPr>
          <a:xfrm>
            <a:off x="4750053" y="4551239"/>
            <a:ext cx="2768887" cy="649537"/>
          </a:xfrm>
        </p:spPr>
        <p:txBody>
          <a:bodyPr anchor="b"/>
          <a:lstStyle>
            <a:lvl1pPr>
              <a:defRPr sz="3800" b="1">
                <a:solidFill>
                  <a:schemeClr val="accent3"/>
                </a:solidFill>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050">
                <a:solidFill>
                  <a:schemeClr val="bg1"/>
                </a:solidFill>
              </a:defRPr>
            </a:lvl5pPr>
          </a:lstStyle>
          <a:p>
            <a:pPr lvl="0"/>
            <a:r>
              <a:rPr lang="en-US"/>
              <a:t>XX%</a:t>
            </a:r>
          </a:p>
        </p:txBody>
      </p:sp>
      <p:sp>
        <p:nvSpPr>
          <p:cNvPr id="27" name="Text Placeholder 18">
            <a:extLst>
              <a:ext uri="{FF2B5EF4-FFF2-40B4-BE49-F238E27FC236}">
                <a16:creationId xmlns:a16="http://schemas.microsoft.com/office/drawing/2014/main" id="{7A8D0F01-EF89-4EF2-8A5C-951F72732273}"/>
              </a:ext>
            </a:extLst>
          </p:cNvPr>
          <p:cNvSpPr>
            <a:spLocks noGrp="1"/>
          </p:cNvSpPr>
          <p:nvPr>
            <p:ph type="body" sz="quarter" idx="20" hasCustomPrompt="1"/>
          </p:nvPr>
        </p:nvSpPr>
        <p:spPr>
          <a:xfrm>
            <a:off x="4750053" y="5227504"/>
            <a:ext cx="2768887" cy="649537"/>
          </a:xfrm>
        </p:spPr>
        <p:txBody>
          <a:bodyPr/>
          <a:lstStyle>
            <a:lvl1pPr>
              <a:defRPr sz="1400">
                <a:solidFill>
                  <a:schemeClr val="tx2"/>
                </a:solidFill>
              </a:defRPr>
            </a:lvl1pPr>
            <a:lvl2pPr>
              <a:defRPr sz="1400">
                <a:solidFill>
                  <a:schemeClr val="tx2"/>
                </a:solidFill>
              </a:defRPr>
            </a:lvl2pPr>
            <a:lvl3pPr>
              <a:defRPr sz="1200">
                <a:solidFill>
                  <a:schemeClr val="tx2"/>
                </a:solidFill>
              </a:defRPr>
            </a:lvl3pPr>
            <a:lvl4pPr>
              <a:defRPr sz="1100">
                <a:solidFill>
                  <a:schemeClr val="tx2"/>
                </a:solidFill>
              </a:defRPr>
            </a:lvl4pPr>
            <a:lvl5pPr>
              <a:defRPr sz="105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29" name="Text Placeholder 11">
            <a:extLst>
              <a:ext uri="{FF2B5EF4-FFF2-40B4-BE49-F238E27FC236}">
                <a16:creationId xmlns:a16="http://schemas.microsoft.com/office/drawing/2014/main" id="{F0D7FF12-91EC-440C-87CC-9EB32C30313F}"/>
              </a:ext>
            </a:extLst>
          </p:cNvPr>
          <p:cNvSpPr>
            <a:spLocks noGrp="1"/>
          </p:cNvSpPr>
          <p:nvPr>
            <p:ph type="body" sz="quarter" idx="21" hasCustomPrompt="1"/>
          </p:nvPr>
        </p:nvSpPr>
        <p:spPr>
          <a:xfrm>
            <a:off x="8526722" y="1973263"/>
            <a:ext cx="3145169" cy="484188"/>
          </a:xfrm>
          <a:solidFill>
            <a:schemeClr val="bg2">
              <a:lumMod val="95000"/>
            </a:schemeClr>
          </a:solidFill>
          <a:ln>
            <a:solidFill>
              <a:schemeClr val="accent1"/>
            </a:solidFill>
          </a:ln>
        </p:spPr>
        <p:txBody>
          <a:bodyPr lIns="180000" anchor="ctr"/>
          <a:lstStyle>
            <a:lvl1pPr>
              <a:defRPr sz="1600" b="1" i="0" cap="all" baseline="0">
                <a:solidFill>
                  <a:schemeClr val="accent1"/>
                </a:solidFill>
              </a:defRPr>
            </a:lvl1pPr>
            <a:lvl2pPr>
              <a:defRPr sz="1600" b="1" i="0" cap="all" baseline="0"/>
            </a:lvl2pPr>
            <a:lvl3pPr>
              <a:defRPr sz="1400" b="1" i="0" cap="all" baseline="0"/>
            </a:lvl3pPr>
            <a:lvl4pPr>
              <a:defRPr sz="1200" b="1" i="0" cap="all" baseline="0"/>
            </a:lvl4pPr>
            <a:lvl5pPr>
              <a:defRPr sz="1100" b="1" i="0" cap="all" baseline="0"/>
            </a:lvl5pPr>
          </a:lstStyle>
          <a:p>
            <a:pPr lvl="0"/>
            <a:r>
              <a:rPr lang="en-US"/>
              <a:t>INSERT TITLE</a:t>
            </a:r>
          </a:p>
        </p:txBody>
      </p:sp>
      <p:sp>
        <p:nvSpPr>
          <p:cNvPr id="30" name="Text Placeholder 18">
            <a:extLst>
              <a:ext uri="{FF2B5EF4-FFF2-40B4-BE49-F238E27FC236}">
                <a16:creationId xmlns:a16="http://schemas.microsoft.com/office/drawing/2014/main" id="{444CCBE6-9FAC-4E5E-94D2-73BE7D4C1893}"/>
              </a:ext>
            </a:extLst>
          </p:cNvPr>
          <p:cNvSpPr>
            <a:spLocks noGrp="1"/>
          </p:cNvSpPr>
          <p:nvPr>
            <p:ph type="body" sz="quarter" idx="22" hasCustomPrompt="1"/>
          </p:nvPr>
        </p:nvSpPr>
        <p:spPr>
          <a:xfrm>
            <a:off x="8755163" y="2690813"/>
            <a:ext cx="2768887" cy="1495425"/>
          </a:xfrm>
        </p:spPr>
        <p:txBody>
          <a:bodyPr/>
          <a:lstStyle>
            <a:lvl1pPr>
              <a:defRPr sz="1400">
                <a:solidFill>
                  <a:schemeClr val="tx2"/>
                </a:solidFill>
              </a:defRPr>
            </a:lvl1pPr>
            <a:lvl2pPr>
              <a:defRPr sz="1400">
                <a:solidFill>
                  <a:schemeClr val="tx2"/>
                </a:solidFill>
              </a:defRPr>
            </a:lvl2pPr>
            <a:lvl3pPr>
              <a:defRPr sz="1200">
                <a:solidFill>
                  <a:schemeClr val="tx2"/>
                </a:solidFill>
              </a:defRPr>
            </a:lvl3pPr>
            <a:lvl4pPr>
              <a:defRPr sz="1100">
                <a:solidFill>
                  <a:schemeClr val="tx2"/>
                </a:solidFill>
              </a:defRPr>
            </a:lvl4pPr>
            <a:lvl5pPr>
              <a:defRPr sz="105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31" name="Text Placeholder 18">
            <a:extLst>
              <a:ext uri="{FF2B5EF4-FFF2-40B4-BE49-F238E27FC236}">
                <a16:creationId xmlns:a16="http://schemas.microsoft.com/office/drawing/2014/main" id="{2F3FF9EA-A939-4916-9B85-C7F6489F27D1}"/>
              </a:ext>
            </a:extLst>
          </p:cNvPr>
          <p:cNvSpPr>
            <a:spLocks noGrp="1"/>
          </p:cNvSpPr>
          <p:nvPr>
            <p:ph type="body" sz="quarter" idx="23" hasCustomPrompt="1"/>
          </p:nvPr>
        </p:nvSpPr>
        <p:spPr>
          <a:xfrm>
            <a:off x="8755163" y="4551123"/>
            <a:ext cx="2768887" cy="649537"/>
          </a:xfrm>
        </p:spPr>
        <p:txBody>
          <a:bodyPr anchor="b"/>
          <a:lstStyle>
            <a:lvl1pPr>
              <a:defRPr sz="3800" b="1">
                <a:solidFill>
                  <a:schemeClr val="accent3"/>
                </a:solidFill>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050">
                <a:solidFill>
                  <a:schemeClr val="bg1"/>
                </a:solidFill>
              </a:defRPr>
            </a:lvl5pPr>
          </a:lstStyle>
          <a:p>
            <a:pPr lvl="0"/>
            <a:r>
              <a:rPr lang="en-US"/>
              <a:t>XX%</a:t>
            </a:r>
          </a:p>
        </p:txBody>
      </p:sp>
      <p:sp>
        <p:nvSpPr>
          <p:cNvPr id="32" name="Text Placeholder 18">
            <a:extLst>
              <a:ext uri="{FF2B5EF4-FFF2-40B4-BE49-F238E27FC236}">
                <a16:creationId xmlns:a16="http://schemas.microsoft.com/office/drawing/2014/main" id="{EEA02DF3-DEE1-44AC-BC59-AE57C1BB837D}"/>
              </a:ext>
            </a:extLst>
          </p:cNvPr>
          <p:cNvSpPr>
            <a:spLocks noGrp="1"/>
          </p:cNvSpPr>
          <p:nvPr>
            <p:ph type="body" sz="quarter" idx="24" hasCustomPrompt="1"/>
          </p:nvPr>
        </p:nvSpPr>
        <p:spPr>
          <a:xfrm>
            <a:off x="8755163" y="5227388"/>
            <a:ext cx="2768887" cy="649537"/>
          </a:xfrm>
        </p:spPr>
        <p:txBody>
          <a:bodyPr/>
          <a:lstStyle>
            <a:lvl1pPr>
              <a:defRPr sz="1400">
                <a:solidFill>
                  <a:schemeClr val="tx2"/>
                </a:solidFill>
              </a:defRPr>
            </a:lvl1pPr>
            <a:lvl2pPr>
              <a:defRPr sz="1400">
                <a:solidFill>
                  <a:schemeClr val="tx2"/>
                </a:solidFill>
              </a:defRPr>
            </a:lvl2pPr>
            <a:lvl3pPr>
              <a:defRPr sz="1200">
                <a:solidFill>
                  <a:schemeClr val="tx2"/>
                </a:solidFill>
              </a:defRPr>
            </a:lvl3pPr>
            <a:lvl4pPr>
              <a:defRPr sz="1100">
                <a:solidFill>
                  <a:schemeClr val="tx2"/>
                </a:solidFill>
              </a:defRPr>
            </a:lvl4pPr>
            <a:lvl5pPr>
              <a:defRPr sz="1050">
                <a:solidFill>
                  <a:schemeClr val="tx2"/>
                </a:solidFill>
              </a:defRPr>
            </a:lvl5pPr>
          </a:lstStyle>
          <a:p>
            <a:pPr lvl="0"/>
            <a:r>
              <a:rPr lang="en-US"/>
              <a:t>Click to insert text</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B464C00-1DBB-4446-8CB6-9FA4FAA60E7D}"/>
              </a:ext>
            </a:extLst>
          </p:cNvPr>
          <p:cNvSpPr>
            <a:spLocks noGrp="1"/>
          </p:cNvSpPr>
          <p:nvPr>
            <p:ph type="sldNum" sz="quarter" idx="31"/>
          </p:nvPr>
        </p:nvSpPr>
        <p:spPr/>
        <p:txBody>
          <a:bodyPr/>
          <a:lstStyle/>
          <a:p>
            <a:fld id="{5034EE70-12A8-400F-8E3D-398CDD8B315D}" type="slidenum">
              <a:rPr lang="en-US" smtClean="0"/>
              <a:pPr/>
              <a:t>‹#›</a:t>
            </a:fld>
            <a:endParaRPr lang="en-US" dirty="0"/>
          </a:p>
        </p:txBody>
      </p:sp>
      <p:sp>
        <p:nvSpPr>
          <p:cNvPr id="43" name="Text Placeholder 40">
            <a:extLst>
              <a:ext uri="{FF2B5EF4-FFF2-40B4-BE49-F238E27FC236}">
                <a16:creationId xmlns:a16="http://schemas.microsoft.com/office/drawing/2014/main" id="{D57F67E6-CA01-4635-B409-8BE366406867}"/>
              </a:ext>
            </a:extLst>
          </p:cNvPr>
          <p:cNvSpPr>
            <a:spLocks noGrp="1"/>
          </p:cNvSpPr>
          <p:nvPr>
            <p:ph type="body" sz="quarter" idx="32" hasCustomPrompt="1"/>
          </p:nvPr>
        </p:nvSpPr>
        <p:spPr>
          <a:xfrm>
            <a:off x="480060" y="1203325"/>
            <a:ext cx="10897578" cy="391636"/>
          </a:xfrm>
        </p:spPr>
        <p:txBody>
          <a:bodyPr/>
          <a:lstStyle>
            <a:lvl1pPr>
              <a:defRPr>
                <a:solidFill>
                  <a:schemeClr val="accent3"/>
                </a:solidFill>
              </a:defRPr>
            </a:lvl1pPr>
          </a:lstStyle>
          <a:p>
            <a:pPr lvl="0"/>
            <a:r>
              <a:rPr lang="en-US"/>
              <a:t>Click to insert subtitle</a:t>
            </a:r>
          </a:p>
        </p:txBody>
      </p:sp>
      <p:sp>
        <p:nvSpPr>
          <p:cNvPr id="4" name="Freeform: Shape 3">
            <a:extLst>
              <a:ext uri="{FF2B5EF4-FFF2-40B4-BE49-F238E27FC236}">
                <a16:creationId xmlns:a16="http://schemas.microsoft.com/office/drawing/2014/main" id="{88757344-F2C2-4165-8777-EF2A7B50A87A}"/>
              </a:ext>
            </a:extLst>
          </p:cNvPr>
          <p:cNvSpPr/>
          <p:nvPr userDrawn="1"/>
        </p:nvSpPr>
        <p:spPr>
          <a:xfrm>
            <a:off x="223837" y="223838"/>
            <a:ext cx="11744326" cy="6262686"/>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dirty="0">
              <a:solidFill>
                <a:schemeClr val="tx1"/>
              </a:solidFill>
            </a:endParaRPr>
          </a:p>
        </p:txBody>
      </p:sp>
      <p:sp>
        <p:nvSpPr>
          <p:cNvPr id="28" name="Footer Placeholder 8">
            <a:extLst>
              <a:ext uri="{FF2B5EF4-FFF2-40B4-BE49-F238E27FC236}">
                <a16:creationId xmlns:a16="http://schemas.microsoft.com/office/drawing/2014/main" id="{2E2AB030-81FB-439D-8EA3-4F26A97AC634}"/>
              </a:ext>
            </a:extLst>
          </p:cNvPr>
          <p:cNvSpPr>
            <a:spLocks noGrp="1"/>
          </p:cNvSpPr>
          <p:nvPr>
            <p:ph type="ftr" sz="quarter" idx="34"/>
          </p:nvPr>
        </p:nvSpPr>
        <p:spPr>
          <a:xfrm>
            <a:off x="4325019" y="6534150"/>
            <a:ext cx="5492750" cy="263525"/>
          </a:xfrm>
          <a:prstGeom prst="rect">
            <a:avLst/>
          </a:prstGeom>
        </p:spPr>
        <p:txBody>
          <a:bodyPr/>
          <a:lstStyle/>
          <a:p>
            <a:endParaRPr lang="en-US" sz="600" noProof="0" dirty="0"/>
          </a:p>
        </p:txBody>
      </p:sp>
      <p:pic>
        <p:nvPicPr>
          <p:cNvPr id="23" name="Graphic 22">
            <a:extLst>
              <a:ext uri="{FF2B5EF4-FFF2-40B4-BE49-F238E27FC236}">
                <a16:creationId xmlns:a16="http://schemas.microsoft.com/office/drawing/2014/main" id="{ED91F532-382F-441E-9842-F4DD945424E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3838" y="6586537"/>
            <a:ext cx="1852404" cy="171450"/>
          </a:xfrm>
          <a:prstGeom prst="rect">
            <a:avLst/>
          </a:prstGeom>
        </p:spPr>
      </p:pic>
    </p:spTree>
    <p:extLst>
      <p:ext uri="{BB962C8B-B14F-4D97-AF65-F5344CB8AC3E}">
        <p14:creationId xmlns:p14="http://schemas.microsoft.com/office/powerpoint/2010/main" val="215383167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Quote">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DD7734B8-4919-41EF-A3D6-F493CEE16808}"/>
              </a:ext>
            </a:extLst>
          </p:cNvPr>
          <p:cNvSpPr>
            <a:spLocks/>
          </p:cNvSpPr>
          <p:nvPr userDrawn="1"/>
        </p:nvSpPr>
        <p:spPr>
          <a:xfrm>
            <a:off x="2714625" y="1828800"/>
            <a:ext cx="6762750" cy="3200400"/>
          </a:xfrm>
          <a:prstGeom prst="rect">
            <a:avLst/>
          </a:prstGeom>
          <a:solidFill>
            <a:srgbClr val="039FB8"/>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dirty="0">
              <a:solidFill>
                <a:schemeClr val="tx1"/>
              </a:solidFill>
            </a:endParaRPr>
          </a:p>
        </p:txBody>
      </p:sp>
      <p:sp>
        <p:nvSpPr>
          <p:cNvPr id="2" name="Title 1">
            <a:extLst>
              <a:ext uri="{FF2B5EF4-FFF2-40B4-BE49-F238E27FC236}">
                <a16:creationId xmlns:a16="http://schemas.microsoft.com/office/drawing/2014/main" id="{844F0621-2390-4957-AD47-60FDBAA34491}"/>
              </a:ext>
            </a:extLst>
          </p:cNvPr>
          <p:cNvSpPr>
            <a:spLocks noGrp="1"/>
          </p:cNvSpPr>
          <p:nvPr>
            <p:ph type="title" hasCustomPrompt="1"/>
          </p:nvPr>
        </p:nvSpPr>
        <p:spPr>
          <a:xfrm>
            <a:off x="3028950" y="2232661"/>
            <a:ext cx="6134100" cy="2392678"/>
          </a:xfrm>
        </p:spPr>
        <p:txBody>
          <a:bodyPr anchor="ctr"/>
          <a:lstStyle>
            <a:lvl1pPr algn="ctr">
              <a:defRPr sz="2800" b="1"/>
            </a:lvl1pPr>
          </a:lstStyle>
          <a:p>
            <a:r>
              <a:rPr lang="en-US"/>
              <a:t>Click to insert quote</a:t>
            </a:r>
          </a:p>
        </p:txBody>
      </p:sp>
      <p:sp>
        <p:nvSpPr>
          <p:cNvPr id="5" name="Slide Number Placeholder 4">
            <a:extLst>
              <a:ext uri="{FF2B5EF4-FFF2-40B4-BE49-F238E27FC236}">
                <a16:creationId xmlns:a16="http://schemas.microsoft.com/office/drawing/2014/main" id="{0904D09A-4AE1-41F7-8585-54F9D1A47C7F}"/>
              </a:ext>
            </a:extLst>
          </p:cNvPr>
          <p:cNvSpPr>
            <a:spLocks noGrp="1"/>
          </p:cNvSpPr>
          <p:nvPr>
            <p:ph type="sldNum" sz="quarter" idx="12"/>
          </p:nvPr>
        </p:nvSpPr>
        <p:spPr/>
        <p:txBody>
          <a:bodyPr/>
          <a:lstStyle/>
          <a:p>
            <a:fld id="{5034EE70-12A8-400F-8E3D-398CDD8B315D}" type="slidenum">
              <a:rPr lang="en-US" smtClean="0"/>
              <a:pPr/>
              <a:t>‹#›</a:t>
            </a:fld>
            <a:endParaRPr lang="en-US" dirty="0"/>
          </a:p>
        </p:txBody>
      </p:sp>
      <p:sp>
        <p:nvSpPr>
          <p:cNvPr id="6" name="Text Placeholder 5">
            <a:extLst>
              <a:ext uri="{FF2B5EF4-FFF2-40B4-BE49-F238E27FC236}">
                <a16:creationId xmlns:a16="http://schemas.microsoft.com/office/drawing/2014/main" id="{EFC37CA3-E6DE-4C34-836C-C0450B8671C2}"/>
              </a:ext>
            </a:extLst>
          </p:cNvPr>
          <p:cNvSpPr>
            <a:spLocks noGrp="1"/>
          </p:cNvSpPr>
          <p:nvPr>
            <p:ph type="body" sz="quarter" idx="22" hasCustomPrompt="1"/>
          </p:nvPr>
        </p:nvSpPr>
        <p:spPr>
          <a:xfrm>
            <a:off x="4062413" y="5221287"/>
            <a:ext cx="4067175" cy="474663"/>
          </a:xfrm>
        </p:spPr>
        <p:txBody>
          <a:bodyPr/>
          <a:lstStyle>
            <a:lvl1pPr algn="ctr">
              <a:defRPr>
                <a:solidFill>
                  <a:schemeClr val="tx1"/>
                </a:solidFill>
              </a:defRPr>
            </a:lvl1pPr>
          </a:lstStyle>
          <a:p>
            <a:pPr lvl="0"/>
            <a:r>
              <a:rPr lang="en-US"/>
              <a:t>Enter source here</a:t>
            </a:r>
          </a:p>
        </p:txBody>
      </p:sp>
      <p:sp>
        <p:nvSpPr>
          <p:cNvPr id="10" name="TextBox 9">
            <a:extLst>
              <a:ext uri="{FF2B5EF4-FFF2-40B4-BE49-F238E27FC236}">
                <a16:creationId xmlns:a16="http://schemas.microsoft.com/office/drawing/2014/main" id="{B7C01619-C4FE-4D11-B7AE-584B87363468}"/>
              </a:ext>
            </a:extLst>
          </p:cNvPr>
          <p:cNvSpPr txBox="1"/>
          <p:nvPr userDrawn="1"/>
        </p:nvSpPr>
        <p:spPr>
          <a:xfrm>
            <a:off x="9817769" y="6576218"/>
            <a:ext cx="1771776" cy="171450"/>
          </a:xfrm>
          <a:prstGeom prst="rect">
            <a:avLst/>
          </a:prstGeom>
          <a:noFill/>
        </p:spPr>
        <p:txBody>
          <a:bodyPr wrap="square" rtlCol="0">
            <a:noAutofit/>
          </a:bodyPr>
          <a:lstStyle/>
          <a:p>
            <a:pPr algn="ctr">
              <a:lnSpc>
                <a:spcPct val="90000"/>
              </a:lnSpc>
              <a:spcAft>
                <a:spcPts val="600"/>
              </a:spcAft>
            </a:pPr>
            <a:r>
              <a:rPr lang="en-US" sz="700" cap="all" spc="10" baseline="0" dirty="0"/>
              <a:t>Proprietary and Confidential</a:t>
            </a:r>
          </a:p>
        </p:txBody>
      </p:sp>
      <p:sp>
        <p:nvSpPr>
          <p:cNvPr id="54" name="Freeform: Shape 53">
            <a:extLst>
              <a:ext uri="{FF2B5EF4-FFF2-40B4-BE49-F238E27FC236}">
                <a16:creationId xmlns:a16="http://schemas.microsoft.com/office/drawing/2014/main" id="{54973469-A267-4271-B6FF-36652F9AA639}"/>
              </a:ext>
            </a:extLst>
          </p:cNvPr>
          <p:cNvSpPr/>
          <p:nvPr userDrawn="1"/>
        </p:nvSpPr>
        <p:spPr>
          <a:xfrm>
            <a:off x="223837" y="223838"/>
            <a:ext cx="11744326" cy="6262686"/>
          </a:xfrm>
          <a:custGeom>
            <a:avLst/>
            <a:gdLst>
              <a:gd name="connsiteX0" fmla="*/ 0 w 11744326"/>
              <a:gd name="connsiteY0" fmla="*/ 0 h 6262686"/>
              <a:gd name="connsiteX1" fmla="*/ 11181399 w 11744326"/>
              <a:gd name="connsiteY1" fmla="*/ 0 h 6262686"/>
              <a:gd name="connsiteX2" fmla="*/ 11744326 w 11744326"/>
              <a:gd name="connsiteY2" fmla="*/ 562927 h 6262686"/>
              <a:gd name="connsiteX3" fmla="*/ 11744326 w 11744326"/>
              <a:gd name="connsiteY3" fmla="*/ 6262686 h 6262686"/>
              <a:gd name="connsiteX4" fmla="*/ 0 w 11744326"/>
              <a:gd name="connsiteY4" fmla="*/ 6262686 h 6262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4326" h="6262686">
                <a:moveTo>
                  <a:pt x="0" y="0"/>
                </a:moveTo>
                <a:lnTo>
                  <a:pt x="11181399" y="0"/>
                </a:lnTo>
                <a:lnTo>
                  <a:pt x="11744326" y="562927"/>
                </a:lnTo>
                <a:lnTo>
                  <a:pt x="11744326" y="6262686"/>
                </a:lnTo>
                <a:lnTo>
                  <a:pt x="0" y="6262686"/>
                </a:lnTo>
                <a:close/>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spcAft>
                <a:spcPts val="600"/>
              </a:spcAft>
            </a:pPr>
            <a:endParaRPr lang="en-US" sz="2000" dirty="0">
              <a:solidFill>
                <a:schemeClr val="tx1"/>
              </a:solidFill>
            </a:endParaRPr>
          </a:p>
        </p:txBody>
      </p:sp>
      <p:sp>
        <p:nvSpPr>
          <p:cNvPr id="70" name="Footer Placeholder 8">
            <a:extLst>
              <a:ext uri="{FF2B5EF4-FFF2-40B4-BE49-F238E27FC236}">
                <a16:creationId xmlns:a16="http://schemas.microsoft.com/office/drawing/2014/main" id="{8D816FB2-17F5-4D11-91B7-EFD656AD3D09}"/>
              </a:ext>
            </a:extLst>
          </p:cNvPr>
          <p:cNvSpPr>
            <a:spLocks noGrp="1"/>
          </p:cNvSpPr>
          <p:nvPr>
            <p:ph type="ftr" sz="quarter" idx="15"/>
          </p:nvPr>
        </p:nvSpPr>
        <p:spPr>
          <a:xfrm>
            <a:off x="4325019" y="6534150"/>
            <a:ext cx="5492750" cy="263525"/>
          </a:xfrm>
          <a:prstGeom prst="rect">
            <a:avLst/>
          </a:prstGeom>
        </p:spPr>
        <p:txBody>
          <a:bodyPr/>
          <a:lstStyle/>
          <a:p>
            <a:endParaRPr lang="en-US" sz="600" noProof="0" dirty="0"/>
          </a:p>
        </p:txBody>
      </p:sp>
      <p:grpSp>
        <p:nvGrpSpPr>
          <p:cNvPr id="11" name="Graphic 46">
            <a:extLst>
              <a:ext uri="{FF2B5EF4-FFF2-40B4-BE49-F238E27FC236}">
                <a16:creationId xmlns:a16="http://schemas.microsoft.com/office/drawing/2014/main" id="{DB5EB492-C5DE-41DD-B09A-84233BF6F60F}"/>
              </a:ext>
            </a:extLst>
          </p:cNvPr>
          <p:cNvGrpSpPr/>
          <p:nvPr userDrawn="1"/>
        </p:nvGrpSpPr>
        <p:grpSpPr>
          <a:xfrm>
            <a:off x="223838" y="6586537"/>
            <a:ext cx="1852878" cy="171636"/>
            <a:chOff x="223838" y="6586537"/>
            <a:chExt cx="1852878" cy="171636"/>
          </a:xfrm>
          <a:solidFill>
            <a:srgbClr val="E2E2E3"/>
          </a:solidFill>
        </p:grpSpPr>
        <p:sp>
          <p:nvSpPr>
            <p:cNvPr id="12" name="Freeform: Shape 11">
              <a:extLst>
                <a:ext uri="{FF2B5EF4-FFF2-40B4-BE49-F238E27FC236}">
                  <a16:creationId xmlns:a16="http://schemas.microsoft.com/office/drawing/2014/main" id="{5A44D96F-CF5A-425E-B2A0-FC3E9ED89F99}"/>
                </a:ext>
              </a:extLst>
            </p:cNvPr>
            <p:cNvSpPr/>
            <p:nvPr/>
          </p:nvSpPr>
          <p:spPr>
            <a:xfrm>
              <a:off x="1015600" y="6590823"/>
              <a:ext cx="114610" cy="163250"/>
            </a:xfrm>
            <a:custGeom>
              <a:avLst/>
              <a:gdLst>
                <a:gd name="connsiteX0" fmla="*/ 97913 w 114610"/>
                <a:gd name="connsiteY0" fmla="*/ 163250 h 163250"/>
                <a:gd name="connsiteX1" fmla="*/ 114611 w 114610"/>
                <a:gd name="connsiteY1" fmla="*/ 163250 h 163250"/>
                <a:gd name="connsiteX2" fmla="*/ 114611 w 114610"/>
                <a:gd name="connsiteY2" fmla="*/ 0 h 163250"/>
                <a:gd name="connsiteX3" fmla="*/ 97913 w 114610"/>
                <a:gd name="connsiteY3" fmla="*/ 0 h 163250"/>
                <a:gd name="connsiteX4" fmla="*/ 97913 w 114610"/>
                <a:gd name="connsiteY4" fmla="*/ 73351 h 163250"/>
                <a:gd name="connsiteX5" fmla="*/ 16698 w 114610"/>
                <a:gd name="connsiteY5" fmla="*/ 73351 h 163250"/>
                <a:gd name="connsiteX6" fmla="*/ 16698 w 114610"/>
                <a:gd name="connsiteY6" fmla="*/ 0 h 163250"/>
                <a:gd name="connsiteX7" fmla="*/ 0 w 114610"/>
                <a:gd name="connsiteY7" fmla="*/ 0 h 163250"/>
                <a:gd name="connsiteX8" fmla="*/ 0 w 114610"/>
                <a:gd name="connsiteY8" fmla="*/ 163250 h 163250"/>
                <a:gd name="connsiteX9" fmla="*/ 16698 w 114610"/>
                <a:gd name="connsiteY9" fmla="*/ 163250 h 163250"/>
                <a:gd name="connsiteX10" fmla="*/ 16698 w 114610"/>
                <a:gd name="connsiteY10" fmla="*/ 89937 h 163250"/>
                <a:gd name="connsiteX11" fmla="*/ 97913 w 114610"/>
                <a:gd name="connsiteY11" fmla="*/ 89937 h 163250"/>
                <a:gd name="connsiteX12" fmla="*/ 97913 w 114610"/>
                <a:gd name="connsiteY12" fmla="*/ 16325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610" h="163250">
                  <a:moveTo>
                    <a:pt x="97913" y="163250"/>
                  </a:moveTo>
                  <a:lnTo>
                    <a:pt x="114611" y="163250"/>
                  </a:lnTo>
                  <a:lnTo>
                    <a:pt x="114611" y="0"/>
                  </a:lnTo>
                  <a:lnTo>
                    <a:pt x="97913" y="0"/>
                  </a:lnTo>
                  <a:lnTo>
                    <a:pt x="97913" y="73351"/>
                  </a:lnTo>
                  <a:lnTo>
                    <a:pt x="16698" y="73351"/>
                  </a:lnTo>
                  <a:lnTo>
                    <a:pt x="16698" y="0"/>
                  </a:lnTo>
                  <a:lnTo>
                    <a:pt x="0" y="0"/>
                  </a:lnTo>
                  <a:lnTo>
                    <a:pt x="0" y="163250"/>
                  </a:lnTo>
                  <a:lnTo>
                    <a:pt x="16698" y="163250"/>
                  </a:lnTo>
                  <a:lnTo>
                    <a:pt x="16698" y="89937"/>
                  </a:lnTo>
                  <a:lnTo>
                    <a:pt x="97913" y="89937"/>
                  </a:lnTo>
                  <a:lnTo>
                    <a:pt x="97913" y="163250"/>
                  </a:lnTo>
                  <a:close/>
                </a:path>
              </a:pathLst>
            </a:custGeom>
            <a:solidFill>
              <a:srgbClr val="E2E2E3"/>
            </a:solidFill>
            <a:ln w="3718" cap="flat">
              <a:noFill/>
              <a:prstDash val="solid"/>
              <a:miter/>
            </a:ln>
          </p:spPr>
          <p:txBody>
            <a:bodyPr rtlCol="0" anchor="ctr"/>
            <a:lstStyle/>
            <a:p>
              <a:endParaRPr lang="en-US" dirty="0"/>
            </a:p>
          </p:txBody>
        </p:sp>
        <p:sp>
          <p:nvSpPr>
            <p:cNvPr id="13" name="Freeform: Shape 12">
              <a:extLst>
                <a:ext uri="{FF2B5EF4-FFF2-40B4-BE49-F238E27FC236}">
                  <a16:creationId xmlns:a16="http://schemas.microsoft.com/office/drawing/2014/main" id="{C4EEEA93-F32C-48C5-93CB-F6E073783060}"/>
                </a:ext>
              </a:extLst>
            </p:cNvPr>
            <p:cNvSpPr/>
            <p:nvPr/>
          </p:nvSpPr>
          <p:spPr>
            <a:xfrm>
              <a:off x="1158761" y="6590823"/>
              <a:ext cx="16809" cy="163250"/>
            </a:xfrm>
            <a:custGeom>
              <a:avLst/>
              <a:gdLst>
                <a:gd name="connsiteX0" fmla="*/ 0 w 16809"/>
                <a:gd name="connsiteY0" fmla="*/ 0 h 163250"/>
                <a:gd name="connsiteX1" fmla="*/ 16810 w 16809"/>
                <a:gd name="connsiteY1" fmla="*/ 0 h 163250"/>
                <a:gd name="connsiteX2" fmla="*/ 16810 w 16809"/>
                <a:gd name="connsiteY2" fmla="*/ 163250 h 163250"/>
                <a:gd name="connsiteX3" fmla="*/ 0 w 16809"/>
                <a:gd name="connsiteY3" fmla="*/ 163250 h 163250"/>
              </a:gdLst>
              <a:ahLst/>
              <a:cxnLst>
                <a:cxn ang="0">
                  <a:pos x="connsiteX0" y="connsiteY0"/>
                </a:cxn>
                <a:cxn ang="0">
                  <a:pos x="connsiteX1" y="connsiteY1"/>
                </a:cxn>
                <a:cxn ang="0">
                  <a:pos x="connsiteX2" y="connsiteY2"/>
                </a:cxn>
                <a:cxn ang="0">
                  <a:pos x="connsiteX3" y="connsiteY3"/>
                </a:cxn>
              </a:cxnLst>
              <a:rect l="l" t="t" r="r" b="b"/>
              <a:pathLst>
                <a:path w="16809" h="163250">
                  <a:moveTo>
                    <a:pt x="0" y="0"/>
                  </a:moveTo>
                  <a:lnTo>
                    <a:pt x="16810" y="0"/>
                  </a:lnTo>
                  <a:lnTo>
                    <a:pt x="16810" y="163250"/>
                  </a:lnTo>
                  <a:lnTo>
                    <a:pt x="0" y="163250"/>
                  </a:lnTo>
                  <a:close/>
                </a:path>
              </a:pathLst>
            </a:custGeom>
            <a:solidFill>
              <a:srgbClr val="E2E2E3"/>
            </a:solidFill>
            <a:ln w="3718" cap="flat">
              <a:noFill/>
              <a:prstDash val="solid"/>
              <a:miter/>
            </a:ln>
          </p:spPr>
          <p:txBody>
            <a:bodyPr rtlCol="0" anchor="ctr"/>
            <a:lstStyle/>
            <a:p>
              <a:endParaRPr lang="en-US" dirty="0"/>
            </a:p>
          </p:txBody>
        </p:sp>
        <p:sp>
          <p:nvSpPr>
            <p:cNvPr id="14" name="Freeform: Shape 13">
              <a:extLst>
                <a:ext uri="{FF2B5EF4-FFF2-40B4-BE49-F238E27FC236}">
                  <a16:creationId xmlns:a16="http://schemas.microsoft.com/office/drawing/2014/main" id="{4C2E785D-1EEF-4761-9F69-C34CBDCCB22D}"/>
                </a:ext>
              </a:extLst>
            </p:cNvPr>
            <p:cNvSpPr/>
            <p:nvPr/>
          </p:nvSpPr>
          <p:spPr>
            <a:xfrm>
              <a:off x="1197184" y="6589704"/>
              <a:ext cx="165642" cy="165862"/>
            </a:xfrm>
            <a:custGeom>
              <a:avLst/>
              <a:gdLst>
                <a:gd name="connsiteX0" fmla="*/ 24343 w 165642"/>
                <a:gd name="connsiteY0" fmla="*/ 141596 h 165862"/>
                <a:gd name="connsiteX1" fmla="*/ 114652 w 165642"/>
                <a:gd name="connsiteY1" fmla="*/ 159859 h 165862"/>
                <a:gd name="connsiteX2" fmla="*/ 141600 w 165642"/>
                <a:gd name="connsiteY2" fmla="*/ 141558 h 165862"/>
                <a:gd name="connsiteX3" fmla="*/ 160869 w 165642"/>
                <a:gd name="connsiteY3" fmla="*/ 110996 h 165862"/>
                <a:gd name="connsiteX4" fmla="*/ 165640 w 165642"/>
                <a:gd name="connsiteY4" fmla="*/ 81514 h 165862"/>
                <a:gd name="connsiteX5" fmla="*/ 91283 w 165642"/>
                <a:gd name="connsiteY5" fmla="*/ 81514 h 165862"/>
                <a:gd name="connsiteX6" fmla="*/ 91283 w 165642"/>
                <a:gd name="connsiteY6" fmla="*/ 96720 h 165862"/>
                <a:gd name="connsiteX7" fmla="*/ 149352 w 165642"/>
                <a:gd name="connsiteY7" fmla="*/ 96720 h 165862"/>
                <a:gd name="connsiteX8" fmla="*/ 142606 w 165642"/>
                <a:gd name="connsiteY8" fmla="*/ 110996 h 165862"/>
                <a:gd name="connsiteX9" fmla="*/ 133623 w 165642"/>
                <a:gd name="connsiteY9" fmla="*/ 124935 h 165862"/>
                <a:gd name="connsiteX10" fmla="*/ 121547 w 165642"/>
                <a:gd name="connsiteY10" fmla="*/ 136415 h 165862"/>
                <a:gd name="connsiteX11" fmla="*/ 103471 w 165642"/>
                <a:gd name="connsiteY11" fmla="*/ 145621 h 165862"/>
                <a:gd name="connsiteX12" fmla="*/ 57962 w 165642"/>
                <a:gd name="connsiteY12" fmla="*/ 143944 h 165862"/>
                <a:gd name="connsiteX13" fmla="*/ 36717 w 165642"/>
                <a:gd name="connsiteY13" fmla="*/ 129445 h 165862"/>
                <a:gd name="connsiteX14" fmla="*/ 22330 w 165642"/>
                <a:gd name="connsiteY14" fmla="*/ 108163 h 165862"/>
                <a:gd name="connsiteX15" fmla="*/ 22330 w 165642"/>
                <a:gd name="connsiteY15" fmla="*/ 57734 h 165862"/>
                <a:gd name="connsiteX16" fmla="*/ 36717 w 165642"/>
                <a:gd name="connsiteY16" fmla="*/ 36452 h 165862"/>
                <a:gd name="connsiteX17" fmla="*/ 58036 w 165642"/>
                <a:gd name="connsiteY17" fmla="*/ 21916 h 165862"/>
                <a:gd name="connsiteX18" fmla="*/ 83232 w 165642"/>
                <a:gd name="connsiteY18" fmla="*/ 17034 h 165862"/>
                <a:gd name="connsiteX19" fmla="*/ 108391 w 165642"/>
                <a:gd name="connsiteY19" fmla="*/ 21916 h 165862"/>
                <a:gd name="connsiteX20" fmla="*/ 122106 w 165642"/>
                <a:gd name="connsiteY20" fmla="*/ 29818 h 165862"/>
                <a:gd name="connsiteX21" fmla="*/ 134145 w 165642"/>
                <a:gd name="connsiteY21" fmla="*/ 17704 h 165862"/>
                <a:gd name="connsiteX22" fmla="*/ 129374 w 165642"/>
                <a:gd name="connsiteY22" fmla="*/ 14275 h 165862"/>
                <a:gd name="connsiteX23" fmla="*/ 114988 w 165642"/>
                <a:gd name="connsiteY23" fmla="*/ 6448 h 165862"/>
                <a:gd name="connsiteX24" fmla="*/ 99520 w 165642"/>
                <a:gd name="connsiteY24" fmla="*/ 1640 h 165862"/>
                <a:gd name="connsiteX25" fmla="*/ 82934 w 165642"/>
                <a:gd name="connsiteY25" fmla="*/ 0 h 165862"/>
                <a:gd name="connsiteX26" fmla="*/ 76001 w 165642"/>
                <a:gd name="connsiteY26" fmla="*/ 0 h 165862"/>
                <a:gd name="connsiteX27" fmla="*/ 51104 w 165642"/>
                <a:gd name="connsiteY27" fmla="*/ 5889 h 165862"/>
                <a:gd name="connsiteX28" fmla="*/ 24306 w 165642"/>
                <a:gd name="connsiteY28" fmla="*/ 24264 h 165862"/>
                <a:gd name="connsiteX29" fmla="*/ 6042 w 165642"/>
                <a:gd name="connsiteY29" fmla="*/ 51137 h 165862"/>
                <a:gd name="connsiteX30" fmla="*/ 4 w 165642"/>
                <a:gd name="connsiteY30" fmla="*/ 83042 h 165862"/>
                <a:gd name="connsiteX31" fmla="*/ 6042 w 165642"/>
                <a:gd name="connsiteY31" fmla="*/ 114909 h 165862"/>
                <a:gd name="connsiteX32" fmla="*/ 24268 w 165642"/>
                <a:gd name="connsiteY32" fmla="*/ 141707 h 16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65642" h="165862">
                  <a:moveTo>
                    <a:pt x="24343" y="141596"/>
                  </a:moveTo>
                  <a:cubicBezTo>
                    <a:pt x="48141" y="165094"/>
                    <a:pt x="83594" y="172264"/>
                    <a:pt x="114652" y="159859"/>
                  </a:cubicBezTo>
                  <a:cubicBezTo>
                    <a:pt x="124719" y="155530"/>
                    <a:pt x="133866" y="149319"/>
                    <a:pt x="141600" y="141558"/>
                  </a:cubicBezTo>
                  <a:cubicBezTo>
                    <a:pt x="150347" y="133035"/>
                    <a:pt x="156948" y="122562"/>
                    <a:pt x="160869" y="110996"/>
                  </a:cubicBezTo>
                  <a:cubicBezTo>
                    <a:pt x="164108" y="101507"/>
                    <a:pt x="165722" y="91539"/>
                    <a:pt x="165640" y="81514"/>
                  </a:cubicBezTo>
                  <a:lnTo>
                    <a:pt x="91283" y="81514"/>
                  </a:lnTo>
                  <a:lnTo>
                    <a:pt x="91283" y="96720"/>
                  </a:lnTo>
                  <a:lnTo>
                    <a:pt x="149352" y="96720"/>
                  </a:lnTo>
                  <a:lnTo>
                    <a:pt x="142606" y="110996"/>
                  </a:lnTo>
                  <a:cubicBezTo>
                    <a:pt x="140217" y="116006"/>
                    <a:pt x="137198" y="120690"/>
                    <a:pt x="133623" y="124935"/>
                  </a:cubicBezTo>
                  <a:cubicBezTo>
                    <a:pt x="130083" y="129240"/>
                    <a:pt x="126027" y="133095"/>
                    <a:pt x="121547" y="136415"/>
                  </a:cubicBezTo>
                  <a:cubicBezTo>
                    <a:pt x="116076" y="140470"/>
                    <a:pt x="109967" y="143582"/>
                    <a:pt x="103471" y="145621"/>
                  </a:cubicBezTo>
                  <a:cubicBezTo>
                    <a:pt x="88569" y="150385"/>
                    <a:pt x="72472" y="149792"/>
                    <a:pt x="57962" y="143944"/>
                  </a:cubicBezTo>
                  <a:cubicBezTo>
                    <a:pt x="49975" y="140595"/>
                    <a:pt x="42748" y="135663"/>
                    <a:pt x="36717" y="129445"/>
                  </a:cubicBezTo>
                  <a:cubicBezTo>
                    <a:pt x="30597" y="123344"/>
                    <a:pt x="25711" y="116117"/>
                    <a:pt x="22330" y="108163"/>
                  </a:cubicBezTo>
                  <a:cubicBezTo>
                    <a:pt x="15819" y="91984"/>
                    <a:pt x="15819" y="73913"/>
                    <a:pt x="22330" y="57734"/>
                  </a:cubicBezTo>
                  <a:cubicBezTo>
                    <a:pt x="25729" y="49791"/>
                    <a:pt x="30612" y="42568"/>
                    <a:pt x="36717" y="36452"/>
                  </a:cubicBezTo>
                  <a:cubicBezTo>
                    <a:pt x="42792" y="30244"/>
                    <a:pt x="50038" y="25303"/>
                    <a:pt x="58036" y="21916"/>
                  </a:cubicBezTo>
                  <a:cubicBezTo>
                    <a:pt x="66013" y="18581"/>
                    <a:pt x="74589" y="16919"/>
                    <a:pt x="83232" y="17034"/>
                  </a:cubicBezTo>
                  <a:cubicBezTo>
                    <a:pt x="91861" y="16956"/>
                    <a:pt x="100418" y="18617"/>
                    <a:pt x="108391" y="21916"/>
                  </a:cubicBezTo>
                  <a:cubicBezTo>
                    <a:pt x="113251" y="24012"/>
                    <a:pt x="117854" y="26664"/>
                    <a:pt x="122106" y="29818"/>
                  </a:cubicBezTo>
                  <a:lnTo>
                    <a:pt x="134145" y="17704"/>
                  </a:lnTo>
                  <a:cubicBezTo>
                    <a:pt x="132356" y="16363"/>
                    <a:pt x="130791" y="15244"/>
                    <a:pt x="129374" y="14275"/>
                  </a:cubicBezTo>
                  <a:cubicBezTo>
                    <a:pt x="124820" y="11246"/>
                    <a:pt x="120004" y="8627"/>
                    <a:pt x="114988" y="6448"/>
                  </a:cubicBezTo>
                  <a:cubicBezTo>
                    <a:pt x="110001" y="4347"/>
                    <a:pt x="104820" y="2737"/>
                    <a:pt x="99520" y="1640"/>
                  </a:cubicBezTo>
                  <a:cubicBezTo>
                    <a:pt x="94060" y="534"/>
                    <a:pt x="88502" y="-15"/>
                    <a:pt x="82934" y="0"/>
                  </a:cubicBezTo>
                  <a:lnTo>
                    <a:pt x="76001" y="0"/>
                  </a:lnTo>
                  <a:cubicBezTo>
                    <a:pt x="67440" y="610"/>
                    <a:pt x="59032" y="2598"/>
                    <a:pt x="51104" y="5889"/>
                  </a:cubicBezTo>
                  <a:cubicBezTo>
                    <a:pt x="41022" y="10138"/>
                    <a:pt x="31902" y="16389"/>
                    <a:pt x="24306" y="24264"/>
                  </a:cubicBezTo>
                  <a:cubicBezTo>
                    <a:pt x="16490" y="31918"/>
                    <a:pt x="10284" y="41054"/>
                    <a:pt x="6042" y="51137"/>
                  </a:cubicBezTo>
                  <a:cubicBezTo>
                    <a:pt x="1965" y="61275"/>
                    <a:pt x="-89" y="72114"/>
                    <a:pt x="4" y="83042"/>
                  </a:cubicBezTo>
                  <a:cubicBezTo>
                    <a:pt x="-107" y="93959"/>
                    <a:pt x="1946" y="104789"/>
                    <a:pt x="6042" y="114909"/>
                  </a:cubicBezTo>
                  <a:cubicBezTo>
                    <a:pt x="10206" y="125003"/>
                    <a:pt x="16411" y="134126"/>
                    <a:pt x="24268" y="141707"/>
                  </a:cubicBezTo>
                </a:path>
              </a:pathLst>
            </a:custGeom>
            <a:solidFill>
              <a:srgbClr val="E2E2E3"/>
            </a:solidFill>
            <a:ln w="3718"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4CDFD9D3-2FFF-45D2-82CE-135EB56192D8}"/>
                </a:ext>
              </a:extLst>
            </p:cNvPr>
            <p:cNvSpPr/>
            <p:nvPr/>
          </p:nvSpPr>
          <p:spPr>
            <a:xfrm>
              <a:off x="1384590" y="6590823"/>
              <a:ext cx="114573" cy="163250"/>
            </a:xfrm>
            <a:custGeom>
              <a:avLst/>
              <a:gdLst>
                <a:gd name="connsiteX0" fmla="*/ 97876 w 114573"/>
                <a:gd name="connsiteY0" fmla="*/ 163250 h 163250"/>
                <a:gd name="connsiteX1" fmla="*/ 114573 w 114573"/>
                <a:gd name="connsiteY1" fmla="*/ 163250 h 163250"/>
                <a:gd name="connsiteX2" fmla="*/ 114573 w 114573"/>
                <a:gd name="connsiteY2" fmla="*/ 0 h 163250"/>
                <a:gd name="connsiteX3" fmla="*/ 97876 w 114573"/>
                <a:gd name="connsiteY3" fmla="*/ 0 h 163250"/>
                <a:gd name="connsiteX4" fmla="*/ 97876 w 114573"/>
                <a:gd name="connsiteY4" fmla="*/ 73351 h 163250"/>
                <a:gd name="connsiteX5" fmla="*/ 16660 w 114573"/>
                <a:gd name="connsiteY5" fmla="*/ 73351 h 163250"/>
                <a:gd name="connsiteX6" fmla="*/ 16660 w 114573"/>
                <a:gd name="connsiteY6" fmla="*/ 0 h 163250"/>
                <a:gd name="connsiteX7" fmla="*/ 0 w 114573"/>
                <a:gd name="connsiteY7" fmla="*/ 0 h 163250"/>
                <a:gd name="connsiteX8" fmla="*/ 0 w 114573"/>
                <a:gd name="connsiteY8" fmla="*/ 163250 h 163250"/>
                <a:gd name="connsiteX9" fmla="*/ 16660 w 114573"/>
                <a:gd name="connsiteY9" fmla="*/ 163250 h 163250"/>
                <a:gd name="connsiteX10" fmla="*/ 16660 w 114573"/>
                <a:gd name="connsiteY10" fmla="*/ 89937 h 163250"/>
                <a:gd name="connsiteX11" fmla="*/ 97876 w 114573"/>
                <a:gd name="connsiteY11" fmla="*/ 89937 h 163250"/>
                <a:gd name="connsiteX12" fmla="*/ 97876 w 114573"/>
                <a:gd name="connsiteY12" fmla="*/ 16325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573" h="163250">
                  <a:moveTo>
                    <a:pt x="97876" y="163250"/>
                  </a:moveTo>
                  <a:lnTo>
                    <a:pt x="114573" y="163250"/>
                  </a:lnTo>
                  <a:lnTo>
                    <a:pt x="114573" y="0"/>
                  </a:lnTo>
                  <a:lnTo>
                    <a:pt x="97876" y="0"/>
                  </a:lnTo>
                  <a:lnTo>
                    <a:pt x="97876" y="73351"/>
                  </a:lnTo>
                  <a:lnTo>
                    <a:pt x="16660" y="73351"/>
                  </a:lnTo>
                  <a:lnTo>
                    <a:pt x="16660" y="0"/>
                  </a:lnTo>
                  <a:lnTo>
                    <a:pt x="0" y="0"/>
                  </a:lnTo>
                  <a:lnTo>
                    <a:pt x="0" y="163250"/>
                  </a:lnTo>
                  <a:lnTo>
                    <a:pt x="16660" y="163250"/>
                  </a:lnTo>
                  <a:lnTo>
                    <a:pt x="16660" y="89937"/>
                  </a:lnTo>
                  <a:lnTo>
                    <a:pt x="97876" y="89937"/>
                  </a:lnTo>
                  <a:lnTo>
                    <a:pt x="97876" y="163250"/>
                  </a:lnTo>
                  <a:close/>
                </a:path>
              </a:pathLst>
            </a:custGeom>
            <a:solidFill>
              <a:srgbClr val="E2E2E3"/>
            </a:solidFill>
            <a:ln w="3718"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E2DE3B60-6D76-4644-A23D-492E0B82A3F9}"/>
                </a:ext>
              </a:extLst>
            </p:cNvPr>
            <p:cNvSpPr/>
            <p:nvPr/>
          </p:nvSpPr>
          <p:spPr>
            <a:xfrm>
              <a:off x="1527751" y="6590823"/>
              <a:ext cx="90346" cy="163250"/>
            </a:xfrm>
            <a:custGeom>
              <a:avLst/>
              <a:gdLst>
                <a:gd name="connsiteX0" fmla="*/ 16810 w 90346"/>
                <a:gd name="connsiteY0" fmla="*/ 0 h 163250"/>
                <a:gd name="connsiteX1" fmla="*/ 0 w 90346"/>
                <a:gd name="connsiteY1" fmla="*/ 0 h 163250"/>
                <a:gd name="connsiteX2" fmla="*/ 0 w 90346"/>
                <a:gd name="connsiteY2" fmla="*/ 163250 h 163250"/>
                <a:gd name="connsiteX3" fmla="*/ 90347 w 90346"/>
                <a:gd name="connsiteY3" fmla="*/ 163250 h 163250"/>
                <a:gd name="connsiteX4" fmla="*/ 90347 w 90346"/>
                <a:gd name="connsiteY4" fmla="*/ 146813 h 163250"/>
                <a:gd name="connsiteX5" fmla="*/ 16810 w 90346"/>
                <a:gd name="connsiteY5" fmla="*/ 146813 h 163250"/>
                <a:gd name="connsiteX6" fmla="*/ 16810 w 90346"/>
                <a:gd name="connsiteY6" fmla="*/ 0 h 16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346" h="163250">
                  <a:moveTo>
                    <a:pt x="16810" y="0"/>
                  </a:moveTo>
                  <a:lnTo>
                    <a:pt x="0" y="0"/>
                  </a:lnTo>
                  <a:lnTo>
                    <a:pt x="0" y="163250"/>
                  </a:lnTo>
                  <a:lnTo>
                    <a:pt x="90347" y="163250"/>
                  </a:lnTo>
                  <a:lnTo>
                    <a:pt x="90347" y="146813"/>
                  </a:lnTo>
                  <a:lnTo>
                    <a:pt x="16810" y="146813"/>
                  </a:lnTo>
                  <a:lnTo>
                    <a:pt x="16810" y="0"/>
                  </a:lnTo>
                  <a:close/>
                </a:path>
              </a:pathLst>
            </a:custGeom>
            <a:solidFill>
              <a:srgbClr val="E2E2E3"/>
            </a:solidFill>
            <a:ln w="3718" cap="flat">
              <a:no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FD7B05B3-4E52-45E4-87FB-694CB0B6F761}"/>
                </a:ext>
              </a:extLst>
            </p:cNvPr>
            <p:cNvSpPr/>
            <p:nvPr/>
          </p:nvSpPr>
          <p:spPr>
            <a:xfrm>
              <a:off x="1640796" y="6593991"/>
              <a:ext cx="136563" cy="160268"/>
            </a:xfrm>
            <a:custGeom>
              <a:avLst/>
              <a:gdLst>
                <a:gd name="connsiteX0" fmla="*/ 36191 w 136563"/>
                <a:gd name="connsiteY0" fmla="*/ 119866 h 160268"/>
                <a:gd name="connsiteX1" fmla="*/ 37943 w 136563"/>
                <a:gd name="connsiteY1" fmla="*/ 115803 h 160268"/>
                <a:gd name="connsiteX2" fmla="*/ 51696 w 136563"/>
                <a:gd name="connsiteY2" fmla="*/ 81700 h 160268"/>
                <a:gd name="connsiteX3" fmla="*/ 65673 w 136563"/>
                <a:gd name="connsiteY3" fmla="*/ 47223 h 160268"/>
                <a:gd name="connsiteX4" fmla="*/ 68356 w 136563"/>
                <a:gd name="connsiteY4" fmla="*/ 41036 h 160268"/>
                <a:gd name="connsiteX5" fmla="*/ 71040 w 136563"/>
                <a:gd name="connsiteY5" fmla="*/ 47261 h 160268"/>
                <a:gd name="connsiteX6" fmla="*/ 84756 w 136563"/>
                <a:gd name="connsiteY6" fmla="*/ 81700 h 160268"/>
                <a:gd name="connsiteX7" fmla="*/ 98546 w 136563"/>
                <a:gd name="connsiteY7" fmla="*/ 115803 h 160268"/>
                <a:gd name="connsiteX8" fmla="*/ 100298 w 136563"/>
                <a:gd name="connsiteY8" fmla="*/ 119866 h 160268"/>
                <a:gd name="connsiteX9" fmla="*/ 118636 w 136563"/>
                <a:gd name="connsiteY9" fmla="*/ 160268 h 160268"/>
                <a:gd name="connsiteX10" fmla="*/ 136563 w 136563"/>
                <a:gd name="connsiteY10" fmla="*/ 160268 h 160268"/>
                <a:gd name="connsiteX11" fmla="*/ 68319 w 136563"/>
                <a:gd name="connsiteY11" fmla="*/ 0 h 160268"/>
                <a:gd name="connsiteX12" fmla="*/ 0 w 136563"/>
                <a:gd name="connsiteY12" fmla="*/ 160268 h 160268"/>
                <a:gd name="connsiteX13" fmla="*/ 18002 w 136563"/>
                <a:gd name="connsiteY13" fmla="*/ 160268 h 160268"/>
                <a:gd name="connsiteX14" fmla="*/ 30488 w 136563"/>
                <a:gd name="connsiteY14" fmla="*/ 132426 h 160268"/>
                <a:gd name="connsiteX15" fmla="*/ 106113 w 136563"/>
                <a:gd name="connsiteY15" fmla="*/ 132426 h 160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6563" h="160268">
                  <a:moveTo>
                    <a:pt x="36191" y="119866"/>
                  </a:moveTo>
                  <a:lnTo>
                    <a:pt x="37943" y="115803"/>
                  </a:lnTo>
                  <a:cubicBezTo>
                    <a:pt x="42452" y="105255"/>
                    <a:pt x="47074" y="93776"/>
                    <a:pt x="51696" y="81700"/>
                  </a:cubicBezTo>
                  <a:cubicBezTo>
                    <a:pt x="56318" y="69624"/>
                    <a:pt x="61088" y="57846"/>
                    <a:pt x="65673" y="47223"/>
                  </a:cubicBezTo>
                  <a:lnTo>
                    <a:pt x="68356" y="41036"/>
                  </a:lnTo>
                  <a:lnTo>
                    <a:pt x="71040" y="47261"/>
                  </a:lnTo>
                  <a:cubicBezTo>
                    <a:pt x="75550" y="57883"/>
                    <a:pt x="80171" y="69624"/>
                    <a:pt x="84756" y="81700"/>
                  </a:cubicBezTo>
                  <a:cubicBezTo>
                    <a:pt x="89340" y="93776"/>
                    <a:pt x="93925" y="105255"/>
                    <a:pt x="98546" y="115803"/>
                  </a:cubicBezTo>
                  <a:lnTo>
                    <a:pt x="100298" y="119866"/>
                  </a:lnTo>
                  <a:close/>
                  <a:moveTo>
                    <a:pt x="118636" y="160268"/>
                  </a:moveTo>
                  <a:lnTo>
                    <a:pt x="136563" y="160268"/>
                  </a:lnTo>
                  <a:lnTo>
                    <a:pt x="68319" y="0"/>
                  </a:lnTo>
                  <a:lnTo>
                    <a:pt x="0" y="160268"/>
                  </a:lnTo>
                  <a:lnTo>
                    <a:pt x="18002" y="160268"/>
                  </a:lnTo>
                  <a:lnTo>
                    <a:pt x="30488" y="132426"/>
                  </a:lnTo>
                  <a:lnTo>
                    <a:pt x="106113" y="132426"/>
                  </a:lnTo>
                  <a:close/>
                </a:path>
              </a:pathLst>
            </a:custGeom>
            <a:solidFill>
              <a:srgbClr val="E2E2E3"/>
            </a:solidFill>
            <a:ln w="3718" cap="flat">
              <a:noFill/>
              <a:prstDash val="solid"/>
              <a:miter/>
            </a:ln>
          </p:spPr>
          <p:txBody>
            <a:bodyPr rtlCol="0" anchor="ctr"/>
            <a:lstStyle/>
            <a:p>
              <a:endParaRPr lang="en-US" dirty="0"/>
            </a:p>
          </p:txBody>
        </p:sp>
        <p:sp>
          <p:nvSpPr>
            <p:cNvPr id="18" name="Freeform: Shape 17">
              <a:extLst>
                <a:ext uri="{FF2B5EF4-FFF2-40B4-BE49-F238E27FC236}">
                  <a16:creationId xmlns:a16="http://schemas.microsoft.com/office/drawing/2014/main" id="{BDB9E9FB-AEC7-443F-8537-40102CE84DC3}"/>
                </a:ext>
              </a:extLst>
            </p:cNvPr>
            <p:cNvSpPr/>
            <p:nvPr/>
          </p:nvSpPr>
          <p:spPr>
            <a:xfrm>
              <a:off x="1800505" y="6590487"/>
              <a:ext cx="127208" cy="164070"/>
            </a:xfrm>
            <a:custGeom>
              <a:avLst/>
              <a:gdLst>
                <a:gd name="connsiteX0" fmla="*/ 110436 w 127208"/>
                <a:gd name="connsiteY0" fmla="*/ 119120 h 164070"/>
                <a:gd name="connsiteX1" fmla="*/ 0 w 127208"/>
                <a:gd name="connsiteY1" fmla="*/ 3019 h 164070"/>
                <a:gd name="connsiteX2" fmla="*/ 0 w 127208"/>
                <a:gd name="connsiteY2" fmla="*/ 164070 h 164070"/>
                <a:gd name="connsiteX3" fmla="*/ 16810 w 127208"/>
                <a:gd name="connsiteY3" fmla="*/ 164070 h 164070"/>
                <a:gd name="connsiteX4" fmla="*/ 16810 w 127208"/>
                <a:gd name="connsiteY4" fmla="*/ 44540 h 164070"/>
                <a:gd name="connsiteX5" fmla="*/ 127208 w 127208"/>
                <a:gd name="connsiteY5" fmla="*/ 162244 h 164070"/>
                <a:gd name="connsiteX6" fmla="*/ 127208 w 127208"/>
                <a:gd name="connsiteY6" fmla="*/ 0 h 164070"/>
                <a:gd name="connsiteX7" fmla="*/ 110436 w 127208"/>
                <a:gd name="connsiteY7" fmla="*/ 0 h 164070"/>
                <a:gd name="connsiteX8" fmla="*/ 110436 w 127208"/>
                <a:gd name="connsiteY8" fmla="*/ 119120 h 16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208" h="164070">
                  <a:moveTo>
                    <a:pt x="110436" y="119120"/>
                  </a:moveTo>
                  <a:lnTo>
                    <a:pt x="0" y="3019"/>
                  </a:lnTo>
                  <a:lnTo>
                    <a:pt x="0" y="164070"/>
                  </a:lnTo>
                  <a:lnTo>
                    <a:pt x="16810" y="164070"/>
                  </a:lnTo>
                  <a:lnTo>
                    <a:pt x="16810" y="44540"/>
                  </a:lnTo>
                  <a:lnTo>
                    <a:pt x="127208" y="162244"/>
                  </a:lnTo>
                  <a:lnTo>
                    <a:pt x="127208" y="0"/>
                  </a:lnTo>
                  <a:lnTo>
                    <a:pt x="110436" y="0"/>
                  </a:lnTo>
                  <a:lnTo>
                    <a:pt x="110436" y="119120"/>
                  </a:lnTo>
                  <a:close/>
                </a:path>
              </a:pathLst>
            </a:custGeom>
            <a:solidFill>
              <a:srgbClr val="E2E2E3"/>
            </a:solidFill>
            <a:ln w="3718"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94EC53B9-BED8-45E9-8E28-8373C3F404F7}"/>
                </a:ext>
              </a:extLst>
            </p:cNvPr>
            <p:cNvSpPr/>
            <p:nvPr/>
          </p:nvSpPr>
          <p:spPr>
            <a:xfrm>
              <a:off x="1956301" y="6590935"/>
              <a:ext cx="120414" cy="163325"/>
            </a:xfrm>
            <a:custGeom>
              <a:avLst/>
              <a:gdLst>
                <a:gd name="connsiteX0" fmla="*/ 64704 w 120414"/>
                <a:gd name="connsiteY0" fmla="*/ 142080 h 163325"/>
                <a:gd name="connsiteX1" fmla="*/ 38912 w 120414"/>
                <a:gd name="connsiteY1" fmla="*/ 146478 h 163325"/>
                <a:gd name="connsiteX2" fmla="*/ 16549 w 120414"/>
                <a:gd name="connsiteY2" fmla="*/ 146478 h 163325"/>
                <a:gd name="connsiteX3" fmla="*/ 16549 w 120414"/>
                <a:gd name="connsiteY3" fmla="*/ 16474 h 163325"/>
                <a:gd name="connsiteX4" fmla="*/ 38539 w 120414"/>
                <a:gd name="connsiteY4" fmla="*/ 16474 h 163325"/>
                <a:gd name="connsiteX5" fmla="*/ 64629 w 120414"/>
                <a:gd name="connsiteY5" fmla="*/ 20872 h 163325"/>
                <a:gd name="connsiteX6" fmla="*/ 85650 w 120414"/>
                <a:gd name="connsiteY6" fmla="*/ 34476 h 163325"/>
                <a:gd name="connsiteX7" fmla="*/ 99180 w 120414"/>
                <a:gd name="connsiteY7" fmla="*/ 55535 h 163325"/>
                <a:gd name="connsiteX8" fmla="*/ 103578 w 120414"/>
                <a:gd name="connsiteY8" fmla="*/ 81625 h 163325"/>
                <a:gd name="connsiteX9" fmla="*/ 99180 w 120414"/>
                <a:gd name="connsiteY9" fmla="*/ 107715 h 163325"/>
                <a:gd name="connsiteX10" fmla="*/ 85799 w 120414"/>
                <a:gd name="connsiteY10" fmla="*/ 128811 h 163325"/>
                <a:gd name="connsiteX11" fmla="*/ 64815 w 120414"/>
                <a:gd name="connsiteY11" fmla="*/ 142266 h 163325"/>
                <a:gd name="connsiteX12" fmla="*/ 114983 w 120414"/>
                <a:gd name="connsiteY12" fmla="*/ 113492 h 163325"/>
                <a:gd name="connsiteX13" fmla="*/ 114983 w 120414"/>
                <a:gd name="connsiteY13" fmla="*/ 50130 h 163325"/>
                <a:gd name="connsiteX14" fmla="*/ 98845 w 120414"/>
                <a:gd name="connsiteY14" fmla="*/ 24040 h 163325"/>
                <a:gd name="connsiteX15" fmla="*/ 71487 w 120414"/>
                <a:gd name="connsiteY15" fmla="*/ 6187 h 163325"/>
                <a:gd name="connsiteX16" fmla="*/ 43161 w 120414"/>
                <a:gd name="connsiteY16" fmla="*/ 0 h 163325"/>
                <a:gd name="connsiteX17" fmla="*/ 0 w 120414"/>
                <a:gd name="connsiteY17" fmla="*/ 0 h 163325"/>
                <a:gd name="connsiteX18" fmla="*/ 0 w 120414"/>
                <a:gd name="connsiteY18" fmla="*/ 163325 h 163325"/>
                <a:gd name="connsiteX19" fmla="*/ 38688 w 120414"/>
                <a:gd name="connsiteY19" fmla="*/ 163325 h 163325"/>
                <a:gd name="connsiteX20" fmla="*/ 71487 w 120414"/>
                <a:gd name="connsiteY20" fmla="*/ 156989 h 163325"/>
                <a:gd name="connsiteX21" fmla="*/ 98509 w 120414"/>
                <a:gd name="connsiteY21" fmla="*/ 139322 h 163325"/>
                <a:gd name="connsiteX22" fmla="*/ 114760 w 120414"/>
                <a:gd name="connsiteY22" fmla="*/ 113232 h 16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0414" h="163325">
                  <a:moveTo>
                    <a:pt x="64704" y="142080"/>
                  </a:moveTo>
                  <a:cubicBezTo>
                    <a:pt x="56437" y="145074"/>
                    <a:pt x="47704" y="146564"/>
                    <a:pt x="38912" y="146478"/>
                  </a:cubicBezTo>
                  <a:lnTo>
                    <a:pt x="16549" y="146478"/>
                  </a:lnTo>
                  <a:lnTo>
                    <a:pt x="16549" y="16474"/>
                  </a:lnTo>
                  <a:lnTo>
                    <a:pt x="38539" y="16474"/>
                  </a:lnTo>
                  <a:cubicBezTo>
                    <a:pt x="47428" y="16361"/>
                    <a:pt x="56269" y="17850"/>
                    <a:pt x="64629" y="20872"/>
                  </a:cubicBezTo>
                  <a:cubicBezTo>
                    <a:pt x="72486" y="23938"/>
                    <a:pt x="79635" y="28566"/>
                    <a:pt x="85650" y="34476"/>
                  </a:cubicBezTo>
                  <a:cubicBezTo>
                    <a:pt x="91610" y="40450"/>
                    <a:pt x="96224" y="47630"/>
                    <a:pt x="99180" y="55535"/>
                  </a:cubicBezTo>
                  <a:cubicBezTo>
                    <a:pt x="102195" y="63898"/>
                    <a:pt x="103686" y="72735"/>
                    <a:pt x="103578" y="81625"/>
                  </a:cubicBezTo>
                  <a:cubicBezTo>
                    <a:pt x="103690" y="90516"/>
                    <a:pt x="102203" y="99353"/>
                    <a:pt x="99180" y="107715"/>
                  </a:cubicBezTo>
                  <a:cubicBezTo>
                    <a:pt x="96258" y="115613"/>
                    <a:pt x="91700" y="122803"/>
                    <a:pt x="85799" y="128811"/>
                  </a:cubicBezTo>
                  <a:cubicBezTo>
                    <a:pt x="79855" y="134752"/>
                    <a:pt x="72695" y="139342"/>
                    <a:pt x="64815" y="142266"/>
                  </a:cubicBezTo>
                  <a:moveTo>
                    <a:pt x="114983" y="113492"/>
                  </a:moveTo>
                  <a:cubicBezTo>
                    <a:pt x="122225" y="92993"/>
                    <a:pt x="122225" y="70630"/>
                    <a:pt x="114983" y="50130"/>
                  </a:cubicBezTo>
                  <a:cubicBezTo>
                    <a:pt x="111647" y="40324"/>
                    <a:pt x="106131" y="31404"/>
                    <a:pt x="98845" y="24040"/>
                  </a:cubicBezTo>
                  <a:cubicBezTo>
                    <a:pt x="91036" y="16288"/>
                    <a:pt x="81726" y="10213"/>
                    <a:pt x="71487" y="6187"/>
                  </a:cubicBezTo>
                  <a:cubicBezTo>
                    <a:pt x="62456" y="2562"/>
                    <a:pt x="52881" y="471"/>
                    <a:pt x="43161" y="0"/>
                  </a:cubicBezTo>
                  <a:lnTo>
                    <a:pt x="0" y="0"/>
                  </a:lnTo>
                  <a:lnTo>
                    <a:pt x="0" y="163325"/>
                  </a:lnTo>
                  <a:lnTo>
                    <a:pt x="38688" y="163325"/>
                  </a:lnTo>
                  <a:cubicBezTo>
                    <a:pt x="49929" y="163357"/>
                    <a:pt x="61066" y="161205"/>
                    <a:pt x="71487" y="156989"/>
                  </a:cubicBezTo>
                  <a:cubicBezTo>
                    <a:pt x="81618" y="153032"/>
                    <a:pt x="90820" y="147016"/>
                    <a:pt x="98509" y="139322"/>
                  </a:cubicBezTo>
                  <a:cubicBezTo>
                    <a:pt x="105826" y="131963"/>
                    <a:pt x="111383" y="123044"/>
                    <a:pt x="114760" y="113232"/>
                  </a:cubicBezTo>
                </a:path>
              </a:pathLst>
            </a:custGeom>
            <a:solidFill>
              <a:srgbClr val="E2E2E3"/>
            </a:solidFill>
            <a:ln w="3718" cap="flat">
              <a:noFill/>
              <a:prstDash val="solid"/>
              <a:miter/>
            </a:ln>
          </p:spPr>
          <p:txBody>
            <a:bodyPr rtlCol="0" anchor="ctr"/>
            <a:lstStyle/>
            <a:p>
              <a:endParaRPr lang="en-US" dirty="0"/>
            </a:p>
          </p:txBody>
        </p:sp>
        <p:sp>
          <p:nvSpPr>
            <p:cNvPr id="20" name="Freeform: Shape 19">
              <a:extLst>
                <a:ext uri="{FF2B5EF4-FFF2-40B4-BE49-F238E27FC236}">
                  <a16:creationId xmlns:a16="http://schemas.microsoft.com/office/drawing/2014/main" id="{2DAF8E04-95DB-4C8C-9975-344B1137F626}"/>
                </a:ext>
              </a:extLst>
            </p:cNvPr>
            <p:cNvSpPr/>
            <p:nvPr/>
          </p:nvSpPr>
          <p:spPr>
            <a:xfrm>
              <a:off x="370754" y="6588754"/>
              <a:ext cx="167181" cy="167152"/>
            </a:xfrm>
            <a:custGeom>
              <a:avLst/>
              <a:gdLst>
                <a:gd name="connsiteX0" fmla="*/ 48014 w 167181"/>
                <a:gd name="connsiteY0" fmla="*/ 48062 h 167152"/>
                <a:gd name="connsiteX1" fmla="*/ 118646 w 167181"/>
                <a:gd name="connsiteY1" fmla="*/ 47877 h 167152"/>
                <a:gd name="connsiteX2" fmla="*/ 118830 w 167181"/>
                <a:gd name="connsiteY2" fmla="*/ 48062 h 167152"/>
                <a:gd name="connsiteX3" fmla="*/ 133739 w 167181"/>
                <a:gd name="connsiteY3" fmla="*/ 83544 h 167152"/>
                <a:gd name="connsiteX4" fmla="*/ 118830 w 167181"/>
                <a:gd name="connsiteY4" fmla="*/ 119027 h 167152"/>
                <a:gd name="connsiteX5" fmla="*/ 48014 w 167181"/>
                <a:gd name="connsiteY5" fmla="*/ 119027 h 167152"/>
                <a:gd name="connsiteX6" fmla="*/ 33292 w 167181"/>
                <a:gd name="connsiteY6" fmla="*/ 83507 h 167152"/>
                <a:gd name="connsiteX7" fmla="*/ 48014 w 167181"/>
                <a:gd name="connsiteY7" fmla="*/ 48024 h 167152"/>
                <a:gd name="connsiteX8" fmla="*/ 83460 w 167181"/>
                <a:gd name="connsiteY8" fmla="*/ 167108 h 167152"/>
                <a:gd name="connsiteX9" fmla="*/ 142573 w 167181"/>
                <a:gd name="connsiteY9" fmla="*/ 142806 h 167152"/>
                <a:gd name="connsiteX10" fmla="*/ 167172 w 167181"/>
                <a:gd name="connsiteY10" fmla="*/ 83693 h 167152"/>
                <a:gd name="connsiteX11" fmla="*/ 142573 w 167181"/>
                <a:gd name="connsiteY11" fmla="*/ 24543 h 167152"/>
                <a:gd name="connsiteX12" fmla="*/ 24924 w 167181"/>
                <a:gd name="connsiteY12" fmla="*/ 24189 h 167152"/>
                <a:gd name="connsiteX13" fmla="*/ 24533 w 167181"/>
                <a:gd name="connsiteY13" fmla="*/ 24580 h 167152"/>
                <a:gd name="connsiteX14" fmla="*/ 8 w 167181"/>
                <a:gd name="connsiteY14" fmla="*/ 83731 h 167152"/>
                <a:gd name="connsiteX15" fmla="*/ 24533 w 167181"/>
                <a:gd name="connsiteY15" fmla="*/ 142844 h 167152"/>
                <a:gd name="connsiteX16" fmla="*/ 83609 w 167181"/>
                <a:gd name="connsiteY16" fmla="*/ 167145 h 16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7181" h="167152">
                  <a:moveTo>
                    <a:pt x="48014" y="48062"/>
                  </a:moveTo>
                  <a:cubicBezTo>
                    <a:pt x="67467" y="28506"/>
                    <a:pt x="99090" y="28424"/>
                    <a:pt x="118646" y="47877"/>
                  </a:cubicBezTo>
                  <a:cubicBezTo>
                    <a:pt x="118707" y="47938"/>
                    <a:pt x="118769" y="48000"/>
                    <a:pt x="118830" y="48062"/>
                  </a:cubicBezTo>
                  <a:cubicBezTo>
                    <a:pt x="128486" y="57324"/>
                    <a:pt x="133882" y="70166"/>
                    <a:pt x="133739" y="83544"/>
                  </a:cubicBezTo>
                  <a:cubicBezTo>
                    <a:pt x="133931" y="96933"/>
                    <a:pt x="128527" y="109794"/>
                    <a:pt x="118830" y="119027"/>
                  </a:cubicBezTo>
                  <a:cubicBezTo>
                    <a:pt x="99245" y="138511"/>
                    <a:pt x="67599" y="138511"/>
                    <a:pt x="48014" y="119027"/>
                  </a:cubicBezTo>
                  <a:cubicBezTo>
                    <a:pt x="38418" y="109724"/>
                    <a:pt x="33090" y="96871"/>
                    <a:pt x="33292" y="83507"/>
                  </a:cubicBezTo>
                  <a:cubicBezTo>
                    <a:pt x="33145" y="70165"/>
                    <a:pt x="38464" y="57343"/>
                    <a:pt x="48014" y="48024"/>
                  </a:cubicBezTo>
                  <a:moveTo>
                    <a:pt x="83460" y="167108"/>
                  </a:moveTo>
                  <a:cubicBezTo>
                    <a:pt x="105663" y="167458"/>
                    <a:pt x="127035" y="158672"/>
                    <a:pt x="142573" y="142806"/>
                  </a:cubicBezTo>
                  <a:cubicBezTo>
                    <a:pt x="158615" y="127366"/>
                    <a:pt x="167524" y="105957"/>
                    <a:pt x="167172" y="83693"/>
                  </a:cubicBezTo>
                  <a:cubicBezTo>
                    <a:pt x="167485" y="61427"/>
                    <a:pt x="158583" y="40021"/>
                    <a:pt x="142573" y="24543"/>
                  </a:cubicBezTo>
                  <a:cubicBezTo>
                    <a:pt x="110183" y="-8042"/>
                    <a:pt x="57510" y="-8201"/>
                    <a:pt x="24924" y="24189"/>
                  </a:cubicBezTo>
                  <a:cubicBezTo>
                    <a:pt x="24793" y="24319"/>
                    <a:pt x="24663" y="24450"/>
                    <a:pt x="24533" y="24580"/>
                  </a:cubicBezTo>
                  <a:cubicBezTo>
                    <a:pt x="8591" y="40099"/>
                    <a:pt x="-276" y="61485"/>
                    <a:pt x="8" y="83731"/>
                  </a:cubicBezTo>
                  <a:cubicBezTo>
                    <a:pt x="-310" y="105972"/>
                    <a:pt x="8564" y="127360"/>
                    <a:pt x="24533" y="142844"/>
                  </a:cubicBezTo>
                  <a:cubicBezTo>
                    <a:pt x="40084" y="158666"/>
                    <a:pt x="61426" y="167445"/>
                    <a:pt x="83609" y="167145"/>
                  </a:cubicBezTo>
                </a:path>
              </a:pathLst>
            </a:custGeom>
            <a:solidFill>
              <a:srgbClr val="E2E2E3"/>
            </a:solidFill>
            <a:ln w="3718"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B28C019B-B02D-4C5E-8282-02ED60B7E4B0}"/>
                </a:ext>
              </a:extLst>
            </p:cNvPr>
            <p:cNvSpPr/>
            <p:nvPr/>
          </p:nvSpPr>
          <p:spPr>
            <a:xfrm>
              <a:off x="552052" y="6589991"/>
              <a:ext cx="121133" cy="164789"/>
            </a:xfrm>
            <a:custGeom>
              <a:avLst/>
              <a:gdLst>
                <a:gd name="connsiteX0" fmla="*/ 33321 w 121133"/>
                <a:gd name="connsiteY0" fmla="*/ 32848 h 164789"/>
                <a:gd name="connsiteX1" fmla="*/ 51957 w 121133"/>
                <a:gd name="connsiteY1" fmla="*/ 32848 h 164789"/>
                <a:gd name="connsiteX2" fmla="*/ 72382 w 121133"/>
                <a:gd name="connsiteY2" fmla="*/ 39371 h 164789"/>
                <a:gd name="connsiteX3" fmla="*/ 78941 w 121133"/>
                <a:gd name="connsiteY3" fmla="*/ 55211 h 164789"/>
                <a:gd name="connsiteX4" fmla="*/ 56914 w 121133"/>
                <a:gd name="connsiteY4" fmla="*/ 78543 h 164789"/>
                <a:gd name="connsiteX5" fmla="*/ 45732 w 121133"/>
                <a:gd name="connsiteY5" fmla="*/ 78543 h 164789"/>
                <a:gd name="connsiteX6" fmla="*/ 45732 w 121133"/>
                <a:gd name="connsiteY6" fmla="*/ 78543 h 164789"/>
                <a:gd name="connsiteX7" fmla="*/ 33321 w 121133"/>
                <a:gd name="connsiteY7" fmla="*/ 78543 h 164789"/>
                <a:gd name="connsiteX8" fmla="*/ 33321 w 121133"/>
                <a:gd name="connsiteY8" fmla="*/ 164790 h 164789"/>
                <a:gd name="connsiteX9" fmla="*/ 33321 w 121133"/>
                <a:gd name="connsiteY9" fmla="*/ 91924 h 164789"/>
                <a:gd name="connsiteX10" fmla="*/ 80656 w 121133"/>
                <a:gd name="connsiteY10" fmla="*/ 164790 h 164789"/>
                <a:gd name="connsiteX11" fmla="*/ 121133 w 121133"/>
                <a:gd name="connsiteY11" fmla="*/ 164790 h 164789"/>
                <a:gd name="connsiteX12" fmla="*/ 82818 w 121133"/>
                <a:gd name="connsiteY12" fmla="*/ 105155 h 164789"/>
                <a:gd name="connsiteX13" fmla="*/ 102423 w 121133"/>
                <a:gd name="connsiteY13" fmla="*/ 89725 h 164789"/>
                <a:gd name="connsiteX14" fmla="*/ 112859 w 121133"/>
                <a:gd name="connsiteY14" fmla="*/ 58342 h 164789"/>
                <a:gd name="connsiteX15" fmla="*/ 112859 w 121133"/>
                <a:gd name="connsiteY15" fmla="*/ 54205 h 164789"/>
                <a:gd name="connsiteX16" fmla="*/ 96906 w 121133"/>
                <a:gd name="connsiteY16" fmla="*/ 16933 h 164789"/>
                <a:gd name="connsiteX17" fmla="*/ 53746 w 121133"/>
                <a:gd name="connsiteY17" fmla="*/ 12 h 164789"/>
                <a:gd name="connsiteX18" fmla="*/ 0 w 121133"/>
                <a:gd name="connsiteY18" fmla="*/ 12 h 164789"/>
                <a:gd name="connsiteX19" fmla="*/ 0 w 121133"/>
                <a:gd name="connsiteY19" fmla="*/ 164790 h 16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133" h="164789">
                  <a:moveTo>
                    <a:pt x="33321" y="32848"/>
                  </a:moveTo>
                  <a:lnTo>
                    <a:pt x="51957" y="32848"/>
                  </a:lnTo>
                  <a:cubicBezTo>
                    <a:pt x="59325" y="32508"/>
                    <a:pt x="66575" y="34822"/>
                    <a:pt x="72382" y="39371"/>
                  </a:cubicBezTo>
                  <a:cubicBezTo>
                    <a:pt x="76586" y="43570"/>
                    <a:pt x="78945" y="49269"/>
                    <a:pt x="78941" y="55211"/>
                  </a:cubicBezTo>
                  <a:cubicBezTo>
                    <a:pt x="79296" y="67735"/>
                    <a:pt x="69437" y="78178"/>
                    <a:pt x="56914" y="78543"/>
                  </a:cubicBezTo>
                  <a:lnTo>
                    <a:pt x="45732" y="78543"/>
                  </a:lnTo>
                  <a:lnTo>
                    <a:pt x="45732" y="78543"/>
                  </a:lnTo>
                  <a:lnTo>
                    <a:pt x="33321" y="78543"/>
                  </a:lnTo>
                  <a:close/>
                  <a:moveTo>
                    <a:pt x="33321" y="164790"/>
                  </a:moveTo>
                  <a:lnTo>
                    <a:pt x="33321" y="91924"/>
                  </a:lnTo>
                  <a:lnTo>
                    <a:pt x="80656" y="164790"/>
                  </a:lnTo>
                  <a:lnTo>
                    <a:pt x="121133" y="164790"/>
                  </a:lnTo>
                  <a:lnTo>
                    <a:pt x="82818" y="105155"/>
                  </a:lnTo>
                  <a:cubicBezTo>
                    <a:pt x="90932" y="102416"/>
                    <a:pt x="97853" y="96968"/>
                    <a:pt x="102423" y="89725"/>
                  </a:cubicBezTo>
                  <a:cubicBezTo>
                    <a:pt x="109132" y="80630"/>
                    <a:pt x="112784" y="69643"/>
                    <a:pt x="112859" y="58342"/>
                  </a:cubicBezTo>
                  <a:lnTo>
                    <a:pt x="112859" y="54205"/>
                  </a:lnTo>
                  <a:cubicBezTo>
                    <a:pt x="112859" y="35979"/>
                    <a:pt x="106933" y="26810"/>
                    <a:pt x="96906" y="16933"/>
                  </a:cubicBezTo>
                  <a:cubicBezTo>
                    <a:pt x="85337" y="5785"/>
                    <a:pt x="69810" y="-303"/>
                    <a:pt x="53746" y="12"/>
                  </a:cubicBezTo>
                  <a:lnTo>
                    <a:pt x="0" y="12"/>
                  </a:lnTo>
                  <a:lnTo>
                    <a:pt x="0" y="164790"/>
                  </a:lnTo>
                  <a:close/>
                </a:path>
              </a:pathLst>
            </a:custGeom>
            <a:solidFill>
              <a:srgbClr val="E2E2E3"/>
            </a:solidFill>
            <a:ln w="3718"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4AEDC680-D63A-4B6D-BDF1-FE2A68C69149}"/>
                </a:ext>
              </a:extLst>
            </p:cNvPr>
            <p:cNvSpPr/>
            <p:nvPr/>
          </p:nvSpPr>
          <p:spPr>
            <a:xfrm>
              <a:off x="681161" y="6590003"/>
              <a:ext cx="114275" cy="164778"/>
            </a:xfrm>
            <a:custGeom>
              <a:avLst/>
              <a:gdLst>
                <a:gd name="connsiteX0" fmla="*/ 40552 w 114275"/>
                <a:gd name="connsiteY0" fmla="*/ 164778 h 164778"/>
                <a:gd name="connsiteX1" fmla="*/ 73798 w 114275"/>
                <a:gd name="connsiteY1" fmla="*/ 164778 h 164778"/>
                <a:gd name="connsiteX2" fmla="*/ 73798 w 114275"/>
                <a:gd name="connsiteY2" fmla="*/ 32836 h 164778"/>
                <a:gd name="connsiteX3" fmla="*/ 114275 w 114275"/>
                <a:gd name="connsiteY3" fmla="*/ 32836 h 164778"/>
                <a:gd name="connsiteX4" fmla="*/ 114275 w 114275"/>
                <a:gd name="connsiteY4" fmla="*/ 0 h 164778"/>
                <a:gd name="connsiteX5" fmla="*/ 0 w 114275"/>
                <a:gd name="connsiteY5" fmla="*/ 0 h 164778"/>
                <a:gd name="connsiteX6" fmla="*/ 0 w 114275"/>
                <a:gd name="connsiteY6" fmla="*/ 32836 h 164778"/>
                <a:gd name="connsiteX7" fmla="*/ 40552 w 114275"/>
                <a:gd name="connsiteY7" fmla="*/ 32836 h 164778"/>
                <a:gd name="connsiteX8" fmla="*/ 40552 w 114275"/>
                <a:gd name="connsiteY8" fmla="*/ 164778 h 16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275" h="164778">
                  <a:moveTo>
                    <a:pt x="40552" y="164778"/>
                  </a:moveTo>
                  <a:lnTo>
                    <a:pt x="73798" y="164778"/>
                  </a:lnTo>
                  <a:lnTo>
                    <a:pt x="73798" y="32836"/>
                  </a:lnTo>
                  <a:lnTo>
                    <a:pt x="114275" y="32836"/>
                  </a:lnTo>
                  <a:lnTo>
                    <a:pt x="114275" y="0"/>
                  </a:lnTo>
                  <a:lnTo>
                    <a:pt x="0" y="0"/>
                  </a:lnTo>
                  <a:lnTo>
                    <a:pt x="0" y="32836"/>
                  </a:lnTo>
                  <a:lnTo>
                    <a:pt x="40552" y="32836"/>
                  </a:lnTo>
                  <a:lnTo>
                    <a:pt x="40552" y="164778"/>
                  </a:lnTo>
                  <a:close/>
                </a:path>
              </a:pathLst>
            </a:custGeom>
            <a:solidFill>
              <a:srgbClr val="E2E2E3"/>
            </a:solidFill>
            <a:ln w="3718" cap="flat">
              <a:no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9917E9FE-755C-4F3F-BFB1-A6E2C401B744}"/>
                </a:ext>
              </a:extLst>
            </p:cNvPr>
            <p:cNvSpPr/>
            <p:nvPr/>
          </p:nvSpPr>
          <p:spPr>
            <a:xfrm>
              <a:off x="809749" y="6590003"/>
              <a:ext cx="121095" cy="164778"/>
            </a:xfrm>
            <a:custGeom>
              <a:avLst/>
              <a:gdLst>
                <a:gd name="connsiteX0" fmla="*/ 33023 w 121095"/>
                <a:gd name="connsiteY0" fmla="*/ 98770 h 164778"/>
                <a:gd name="connsiteX1" fmla="*/ 88110 w 121095"/>
                <a:gd name="connsiteY1" fmla="*/ 98770 h 164778"/>
                <a:gd name="connsiteX2" fmla="*/ 88110 w 121095"/>
                <a:gd name="connsiteY2" fmla="*/ 164778 h 164778"/>
                <a:gd name="connsiteX3" fmla="*/ 121096 w 121095"/>
                <a:gd name="connsiteY3" fmla="*/ 164778 h 164778"/>
                <a:gd name="connsiteX4" fmla="*/ 121096 w 121095"/>
                <a:gd name="connsiteY4" fmla="*/ 0 h 164778"/>
                <a:gd name="connsiteX5" fmla="*/ 88110 w 121095"/>
                <a:gd name="connsiteY5" fmla="*/ 0 h 164778"/>
                <a:gd name="connsiteX6" fmla="*/ 88110 w 121095"/>
                <a:gd name="connsiteY6" fmla="*/ 65934 h 164778"/>
                <a:gd name="connsiteX7" fmla="*/ 33023 w 121095"/>
                <a:gd name="connsiteY7" fmla="*/ 65934 h 164778"/>
                <a:gd name="connsiteX8" fmla="*/ 33023 w 121095"/>
                <a:gd name="connsiteY8" fmla="*/ 0 h 164778"/>
                <a:gd name="connsiteX9" fmla="*/ 0 w 121095"/>
                <a:gd name="connsiteY9" fmla="*/ 0 h 164778"/>
                <a:gd name="connsiteX10" fmla="*/ 0 w 121095"/>
                <a:gd name="connsiteY10" fmla="*/ 164778 h 164778"/>
                <a:gd name="connsiteX11" fmla="*/ 33023 w 121095"/>
                <a:gd name="connsiteY11" fmla="*/ 164778 h 164778"/>
                <a:gd name="connsiteX12" fmla="*/ 33023 w 121095"/>
                <a:gd name="connsiteY12" fmla="*/ 98770 h 16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095" h="164778">
                  <a:moveTo>
                    <a:pt x="33023" y="98770"/>
                  </a:moveTo>
                  <a:lnTo>
                    <a:pt x="88110" y="98770"/>
                  </a:lnTo>
                  <a:lnTo>
                    <a:pt x="88110" y="164778"/>
                  </a:lnTo>
                  <a:lnTo>
                    <a:pt x="121096" y="164778"/>
                  </a:lnTo>
                  <a:lnTo>
                    <a:pt x="121096" y="0"/>
                  </a:lnTo>
                  <a:lnTo>
                    <a:pt x="88110" y="0"/>
                  </a:lnTo>
                  <a:lnTo>
                    <a:pt x="88110" y="65934"/>
                  </a:lnTo>
                  <a:lnTo>
                    <a:pt x="33023" y="65934"/>
                  </a:lnTo>
                  <a:lnTo>
                    <a:pt x="33023" y="0"/>
                  </a:lnTo>
                  <a:lnTo>
                    <a:pt x="0" y="0"/>
                  </a:lnTo>
                  <a:lnTo>
                    <a:pt x="0" y="164778"/>
                  </a:lnTo>
                  <a:lnTo>
                    <a:pt x="33023" y="164778"/>
                  </a:lnTo>
                  <a:lnTo>
                    <a:pt x="33023" y="98770"/>
                  </a:lnTo>
                  <a:close/>
                </a:path>
              </a:pathLst>
            </a:custGeom>
            <a:solidFill>
              <a:srgbClr val="E2E2E3"/>
            </a:solidFill>
            <a:ln w="3718" cap="flat">
              <a:noFill/>
              <a:prstDash val="solid"/>
              <a:miter/>
            </a:ln>
          </p:spPr>
          <p:txBody>
            <a:bodyPr rtlCol="0" anchor="ctr"/>
            <a:lstStyle/>
            <a:p>
              <a:endParaRPr lang="en-US" dirty="0"/>
            </a:p>
          </p:txBody>
        </p:sp>
        <p:sp>
          <p:nvSpPr>
            <p:cNvPr id="24" name="Freeform: Shape 23">
              <a:extLst>
                <a:ext uri="{FF2B5EF4-FFF2-40B4-BE49-F238E27FC236}">
                  <a16:creationId xmlns:a16="http://schemas.microsoft.com/office/drawing/2014/main" id="{30CB7E58-9113-40AA-B0AE-258F4367DB8D}"/>
                </a:ext>
              </a:extLst>
            </p:cNvPr>
            <p:cNvSpPr/>
            <p:nvPr/>
          </p:nvSpPr>
          <p:spPr>
            <a:xfrm>
              <a:off x="223838" y="6589593"/>
              <a:ext cx="132463" cy="168580"/>
            </a:xfrm>
            <a:custGeom>
              <a:avLst/>
              <a:gdLst>
                <a:gd name="connsiteX0" fmla="*/ 0 w 132463"/>
                <a:gd name="connsiteY0" fmla="*/ 165412 h 168580"/>
                <a:gd name="connsiteX1" fmla="*/ 33097 w 132463"/>
                <a:gd name="connsiteY1" fmla="*/ 165412 h 168580"/>
                <a:gd name="connsiteX2" fmla="*/ 33097 w 132463"/>
                <a:gd name="connsiteY2" fmla="*/ 73910 h 168580"/>
                <a:gd name="connsiteX3" fmla="*/ 132464 w 132463"/>
                <a:gd name="connsiteY3" fmla="*/ 168580 h 168580"/>
                <a:gd name="connsiteX4" fmla="*/ 132464 w 132463"/>
                <a:gd name="connsiteY4" fmla="*/ 0 h 168580"/>
                <a:gd name="connsiteX5" fmla="*/ 99255 w 132463"/>
                <a:gd name="connsiteY5" fmla="*/ 0 h 168580"/>
                <a:gd name="connsiteX6" fmla="*/ 99255 w 132463"/>
                <a:gd name="connsiteY6" fmla="*/ 91502 h 168580"/>
                <a:gd name="connsiteX7" fmla="*/ 48490 w 132463"/>
                <a:gd name="connsiteY7" fmla="*/ 43161 h 168580"/>
                <a:gd name="connsiteX8" fmla="*/ 0 w 132463"/>
                <a:gd name="connsiteY8" fmla="*/ 91651 h 168580"/>
                <a:gd name="connsiteX9" fmla="*/ 0 w 132463"/>
                <a:gd name="connsiteY9" fmla="*/ 165412 h 16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463" h="168580">
                  <a:moveTo>
                    <a:pt x="0" y="165412"/>
                  </a:moveTo>
                  <a:lnTo>
                    <a:pt x="33097" y="165412"/>
                  </a:lnTo>
                  <a:lnTo>
                    <a:pt x="33097" y="73910"/>
                  </a:lnTo>
                  <a:lnTo>
                    <a:pt x="132464" y="168580"/>
                  </a:lnTo>
                  <a:lnTo>
                    <a:pt x="132464" y="0"/>
                  </a:lnTo>
                  <a:lnTo>
                    <a:pt x="99255" y="0"/>
                  </a:lnTo>
                  <a:lnTo>
                    <a:pt x="99255" y="91502"/>
                  </a:lnTo>
                  <a:lnTo>
                    <a:pt x="48490" y="43161"/>
                  </a:lnTo>
                  <a:lnTo>
                    <a:pt x="0" y="91651"/>
                  </a:lnTo>
                  <a:lnTo>
                    <a:pt x="0" y="165412"/>
                  </a:lnTo>
                  <a:close/>
                </a:path>
              </a:pathLst>
            </a:custGeom>
            <a:solidFill>
              <a:srgbClr val="E2E2E3"/>
            </a:solidFill>
            <a:ln w="3718"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3814AF60-99F8-4140-8338-740CEF5A9785}"/>
                </a:ext>
              </a:extLst>
            </p:cNvPr>
            <p:cNvSpPr/>
            <p:nvPr/>
          </p:nvSpPr>
          <p:spPr>
            <a:xfrm>
              <a:off x="223838" y="6586537"/>
              <a:ext cx="48490" cy="94707"/>
            </a:xfrm>
            <a:custGeom>
              <a:avLst/>
              <a:gdLst>
                <a:gd name="connsiteX0" fmla="*/ 0 w 48490"/>
                <a:gd name="connsiteY0" fmla="*/ 94707 h 94707"/>
                <a:gd name="connsiteX1" fmla="*/ 48490 w 48490"/>
                <a:gd name="connsiteY1" fmla="*/ 46180 h 94707"/>
                <a:gd name="connsiteX2" fmla="*/ 0 w 48490"/>
                <a:gd name="connsiteY2" fmla="*/ 0 h 94707"/>
                <a:gd name="connsiteX3" fmla="*/ 0 w 48490"/>
                <a:gd name="connsiteY3" fmla="*/ 94707 h 94707"/>
              </a:gdLst>
              <a:ahLst/>
              <a:cxnLst>
                <a:cxn ang="0">
                  <a:pos x="connsiteX0" y="connsiteY0"/>
                </a:cxn>
                <a:cxn ang="0">
                  <a:pos x="connsiteX1" y="connsiteY1"/>
                </a:cxn>
                <a:cxn ang="0">
                  <a:pos x="connsiteX2" y="connsiteY2"/>
                </a:cxn>
                <a:cxn ang="0">
                  <a:pos x="connsiteX3" y="connsiteY3"/>
                </a:cxn>
              </a:cxnLst>
              <a:rect l="l" t="t" r="r" b="b"/>
              <a:pathLst>
                <a:path w="48490" h="94707">
                  <a:moveTo>
                    <a:pt x="0" y="94707"/>
                  </a:moveTo>
                  <a:lnTo>
                    <a:pt x="48490" y="46180"/>
                  </a:lnTo>
                  <a:lnTo>
                    <a:pt x="0" y="0"/>
                  </a:lnTo>
                  <a:lnTo>
                    <a:pt x="0" y="94707"/>
                  </a:lnTo>
                  <a:close/>
                </a:path>
              </a:pathLst>
            </a:custGeom>
            <a:solidFill>
              <a:schemeClr val="accent3"/>
            </a:solidFill>
            <a:ln w="3718"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539987343"/>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Slide - 02B">
    <p:spTree>
      <p:nvGrpSpPr>
        <p:cNvPr id="1" name=""/>
        <p:cNvGrpSpPr/>
        <p:nvPr/>
      </p:nvGrpSpPr>
      <p:grpSpPr>
        <a:xfrm>
          <a:off x="0" y="0"/>
          <a:ext cx="0" cy="0"/>
          <a:chOff x="0" y="0"/>
          <a:chExt cx="0" cy="0"/>
        </a:xfrm>
      </p:grpSpPr>
      <p:sp>
        <p:nvSpPr>
          <p:cNvPr id="16" name="Title 1"/>
          <p:cNvSpPr>
            <a:spLocks noGrp="1"/>
          </p:cNvSpPr>
          <p:nvPr>
            <p:ph type="title"/>
          </p:nvPr>
        </p:nvSpPr>
        <p:spPr>
          <a:xfrm>
            <a:off x="342242" y="194436"/>
            <a:ext cx="11528917" cy="394087"/>
          </a:xfrm>
        </p:spPr>
        <p:txBody>
          <a:bodyPr>
            <a:noAutofit/>
          </a:bodyPr>
          <a:lstStyle>
            <a:lvl1pPr>
              <a:defRPr sz="2585"/>
            </a:lvl1pPr>
          </a:lstStyle>
          <a:p>
            <a:r>
              <a:rPr lang="en-US"/>
              <a:t>Click to edit Master title style</a:t>
            </a:r>
          </a:p>
        </p:txBody>
      </p:sp>
      <p:sp>
        <p:nvSpPr>
          <p:cNvPr id="3" name="Text Placeholder 2"/>
          <p:cNvSpPr>
            <a:spLocks noGrp="1"/>
          </p:cNvSpPr>
          <p:nvPr>
            <p:ph type="body" sz="quarter" idx="14"/>
          </p:nvPr>
        </p:nvSpPr>
        <p:spPr>
          <a:xfrm>
            <a:off x="342243" y="601885"/>
            <a:ext cx="11540737" cy="373062"/>
          </a:xfrm>
        </p:spPr>
        <p:txBody>
          <a:bodyPr/>
          <a:lstStyle>
            <a:lvl1pPr marL="0" indent="0">
              <a:buNone/>
              <a:defRPr>
                <a:solidFill>
                  <a:schemeClr val="tx1">
                    <a:lumMod val="50000"/>
                    <a:lumOff val="50000"/>
                  </a:schemeClr>
                </a:solidFill>
              </a:defRPr>
            </a:lvl1pPr>
            <a:lvl2pPr marL="675278" indent="0">
              <a:buNone/>
              <a:defRPr/>
            </a:lvl2pPr>
            <a:lvl3pPr marL="1181738" indent="0">
              <a:buNone/>
              <a:defRPr/>
            </a:lvl3pPr>
            <a:lvl4pPr marL="1744472" indent="0">
              <a:buNone/>
              <a:defRPr/>
            </a:lvl4pPr>
            <a:lvl5pPr marL="2307205" indent="0">
              <a:buNone/>
              <a:defRPr/>
            </a:lvl5pPr>
          </a:lstStyle>
          <a:p>
            <a:pPr lvl="0"/>
            <a:r>
              <a:rPr lang="en-US"/>
              <a:t>Click to edit Master text styles</a:t>
            </a:r>
          </a:p>
        </p:txBody>
      </p:sp>
      <p:sp>
        <p:nvSpPr>
          <p:cNvPr id="7" name="Rectangle 6"/>
          <p:cNvSpPr/>
          <p:nvPr userDrawn="1"/>
        </p:nvSpPr>
        <p:spPr>
          <a:xfrm>
            <a:off x="0" y="6757361"/>
            <a:ext cx="12192000" cy="73152"/>
          </a:xfrm>
          <a:prstGeom prst="rect">
            <a:avLst/>
          </a:prstGeom>
          <a:solidFill>
            <a:srgbClr val="2B346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2" name="Content Placeholder 2"/>
          <p:cNvSpPr>
            <a:spLocks noGrp="1"/>
          </p:cNvSpPr>
          <p:nvPr>
            <p:ph idx="13" hasCustomPrompt="1"/>
          </p:nvPr>
        </p:nvSpPr>
        <p:spPr>
          <a:xfrm>
            <a:off x="342242" y="1231903"/>
            <a:ext cx="11528917" cy="4797261"/>
          </a:xfrm>
        </p:spPr>
        <p:txBody>
          <a:bodyPr>
            <a:noAutofit/>
          </a:bodyPr>
          <a:lstStyle>
            <a:lvl1pPr marL="0" indent="0">
              <a:spcAft>
                <a:spcPts val="1231"/>
              </a:spcAft>
              <a:buFontTx/>
              <a:buNone/>
              <a:defRPr sz="1477" b="1">
                <a:solidFill>
                  <a:srgbClr val="1573C5"/>
                </a:solidFill>
              </a:defRPr>
            </a:lvl1pPr>
            <a:lvl2pPr marL="0" indent="0">
              <a:buSzPct val="110000"/>
              <a:buFont typeface="Arial"/>
              <a:buNone/>
              <a:defRPr sz="1477"/>
            </a:lvl2pPr>
            <a:lvl3pPr marL="450186" indent="-225092">
              <a:buSzPct val="110000"/>
              <a:buFont typeface="Arial"/>
              <a:buChar char="•"/>
              <a:defRPr sz="1477"/>
            </a:lvl3pPr>
            <a:lvl4pPr marL="900372" indent="-225092">
              <a:buSzPct val="90000"/>
              <a:buFont typeface="Courier New"/>
              <a:buChar char="o"/>
              <a:defRPr sz="1477"/>
            </a:lvl4pPr>
            <a:lvl5pPr marL="1350558" indent="-225092">
              <a:buSzPct val="110000"/>
              <a:buFont typeface="Arial"/>
              <a:buChar char="•"/>
              <a:defRPr sz="14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50772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Slide - 03A">
    <p:spTree>
      <p:nvGrpSpPr>
        <p:cNvPr id="1" name=""/>
        <p:cNvGrpSpPr/>
        <p:nvPr/>
      </p:nvGrpSpPr>
      <p:grpSpPr>
        <a:xfrm>
          <a:off x="0" y="0"/>
          <a:ext cx="0" cy="0"/>
          <a:chOff x="0" y="0"/>
          <a:chExt cx="0" cy="0"/>
        </a:xfrm>
      </p:grpSpPr>
      <p:sp>
        <p:nvSpPr>
          <p:cNvPr id="7" name="Rectangle 6"/>
          <p:cNvSpPr/>
          <p:nvPr userDrawn="1"/>
        </p:nvSpPr>
        <p:spPr>
          <a:xfrm>
            <a:off x="0" y="6774856"/>
            <a:ext cx="12192000" cy="73152"/>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6" name="Title 1"/>
          <p:cNvSpPr>
            <a:spLocks noGrp="1"/>
          </p:cNvSpPr>
          <p:nvPr>
            <p:ph type="title"/>
          </p:nvPr>
        </p:nvSpPr>
        <p:spPr>
          <a:xfrm>
            <a:off x="342242" y="194430"/>
            <a:ext cx="11528917" cy="594360"/>
          </a:xfrm>
        </p:spPr>
        <p:txBody>
          <a:bodyPr>
            <a:noAutofit/>
          </a:bodyPr>
          <a:lstStyle>
            <a:lvl1pPr>
              <a:defRPr sz="2585"/>
            </a:lvl1pPr>
          </a:lstStyle>
          <a:p>
            <a:r>
              <a:rPr lang="en-US"/>
              <a:t>Click to edit Master title style</a:t>
            </a:r>
          </a:p>
        </p:txBody>
      </p:sp>
      <p:sp>
        <p:nvSpPr>
          <p:cNvPr id="6" name="Content Placeholder 2"/>
          <p:cNvSpPr>
            <a:spLocks noGrp="1"/>
          </p:cNvSpPr>
          <p:nvPr>
            <p:ph idx="13"/>
          </p:nvPr>
        </p:nvSpPr>
        <p:spPr>
          <a:xfrm>
            <a:off x="342242" y="801394"/>
            <a:ext cx="11528917" cy="5227769"/>
          </a:xfrm>
        </p:spPr>
        <p:txBody>
          <a:bodyPr>
            <a:noAutofit/>
          </a:bodyPr>
          <a:lstStyle>
            <a:lvl1pPr marL="0" indent="0">
              <a:buFontTx/>
              <a:buNone/>
              <a:defRPr sz="1477"/>
            </a:lvl1pPr>
            <a:lvl2pPr marL="450186" indent="-225092">
              <a:buSzPct val="110000"/>
              <a:buFont typeface="Arial"/>
              <a:buChar char="•"/>
              <a:defRPr sz="1477"/>
            </a:lvl2pPr>
            <a:lvl3pPr marL="900372" indent="-225092">
              <a:buSzPct val="90000"/>
              <a:buFont typeface="Courier New"/>
              <a:buChar char="o"/>
              <a:defRPr sz="1477"/>
            </a:lvl3pPr>
            <a:lvl4pPr marL="1350558" indent="-225092">
              <a:buSzPct val="110000"/>
              <a:buFont typeface="Arial"/>
              <a:buChar char="•"/>
              <a:defRPr sz="1477"/>
            </a:lvl4pPr>
            <a:lvl5pPr marL="1800744" indent="-225092">
              <a:buSzPct val="90000"/>
              <a:buFont typeface="Courier New"/>
              <a:buChar char="o"/>
              <a:defRPr sz="14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60598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Slide - 03B">
    <p:spTree>
      <p:nvGrpSpPr>
        <p:cNvPr id="1" name=""/>
        <p:cNvGrpSpPr/>
        <p:nvPr/>
      </p:nvGrpSpPr>
      <p:grpSpPr>
        <a:xfrm>
          <a:off x="0" y="0"/>
          <a:ext cx="0" cy="0"/>
          <a:chOff x="0" y="0"/>
          <a:chExt cx="0" cy="0"/>
        </a:xfrm>
      </p:grpSpPr>
      <p:sp>
        <p:nvSpPr>
          <p:cNvPr id="16" name="Title 1"/>
          <p:cNvSpPr>
            <a:spLocks noGrp="1"/>
          </p:cNvSpPr>
          <p:nvPr>
            <p:ph type="title"/>
          </p:nvPr>
        </p:nvSpPr>
        <p:spPr>
          <a:xfrm>
            <a:off x="342242" y="194436"/>
            <a:ext cx="11528917" cy="394087"/>
          </a:xfrm>
        </p:spPr>
        <p:txBody>
          <a:bodyPr>
            <a:noAutofit/>
          </a:bodyPr>
          <a:lstStyle>
            <a:lvl1pPr>
              <a:defRPr sz="2585"/>
            </a:lvl1pPr>
          </a:lstStyle>
          <a:p>
            <a:r>
              <a:rPr lang="en-US"/>
              <a:t>Click to edit Master title style</a:t>
            </a:r>
          </a:p>
        </p:txBody>
      </p:sp>
      <p:sp>
        <p:nvSpPr>
          <p:cNvPr id="3" name="Text Placeholder 2"/>
          <p:cNvSpPr>
            <a:spLocks noGrp="1"/>
          </p:cNvSpPr>
          <p:nvPr>
            <p:ph type="body" sz="quarter" idx="14"/>
          </p:nvPr>
        </p:nvSpPr>
        <p:spPr>
          <a:xfrm>
            <a:off x="342243" y="601885"/>
            <a:ext cx="11540737" cy="373062"/>
          </a:xfrm>
        </p:spPr>
        <p:txBody>
          <a:bodyPr/>
          <a:lstStyle>
            <a:lvl1pPr marL="0" indent="0">
              <a:buNone/>
              <a:defRPr>
                <a:solidFill>
                  <a:schemeClr val="tx1">
                    <a:lumMod val="50000"/>
                    <a:lumOff val="50000"/>
                  </a:schemeClr>
                </a:solidFill>
              </a:defRPr>
            </a:lvl1pPr>
            <a:lvl2pPr marL="675278" indent="0">
              <a:buNone/>
              <a:defRPr/>
            </a:lvl2pPr>
            <a:lvl3pPr marL="1181738" indent="0">
              <a:buNone/>
              <a:defRPr/>
            </a:lvl3pPr>
            <a:lvl4pPr marL="1744472" indent="0">
              <a:buNone/>
              <a:defRPr/>
            </a:lvl4pPr>
            <a:lvl5pPr marL="2307205" indent="0">
              <a:buNone/>
              <a:defRPr/>
            </a:lvl5pPr>
          </a:lstStyle>
          <a:p>
            <a:pPr lvl="0"/>
            <a:r>
              <a:rPr lang="en-US"/>
              <a:t>Click to edit Master text styles</a:t>
            </a:r>
          </a:p>
        </p:txBody>
      </p:sp>
      <p:sp>
        <p:nvSpPr>
          <p:cNvPr id="10" name="Rectangle 9"/>
          <p:cNvSpPr/>
          <p:nvPr userDrawn="1"/>
        </p:nvSpPr>
        <p:spPr>
          <a:xfrm>
            <a:off x="0" y="6774856"/>
            <a:ext cx="12192000" cy="73152"/>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2" name="Content Placeholder 2"/>
          <p:cNvSpPr>
            <a:spLocks noGrp="1"/>
          </p:cNvSpPr>
          <p:nvPr>
            <p:ph idx="13" hasCustomPrompt="1"/>
          </p:nvPr>
        </p:nvSpPr>
        <p:spPr>
          <a:xfrm>
            <a:off x="342242" y="1231903"/>
            <a:ext cx="11528917" cy="4797261"/>
          </a:xfrm>
        </p:spPr>
        <p:txBody>
          <a:bodyPr>
            <a:noAutofit/>
          </a:bodyPr>
          <a:lstStyle>
            <a:lvl1pPr marL="0" indent="0">
              <a:spcAft>
                <a:spcPts val="1231"/>
              </a:spcAft>
              <a:buFontTx/>
              <a:buNone/>
              <a:defRPr sz="1477" b="1">
                <a:solidFill>
                  <a:srgbClr val="1573C5"/>
                </a:solidFill>
              </a:defRPr>
            </a:lvl1pPr>
            <a:lvl2pPr marL="0" indent="0">
              <a:buSzPct val="110000"/>
              <a:buFont typeface="Arial"/>
              <a:buNone/>
              <a:defRPr sz="1477"/>
            </a:lvl2pPr>
            <a:lvl3pPr marL="450186" indent="-225092">
              <a:buSzPct val="110000"/>
              <a:buFont typeface="Arial"/>
              <a:buChar char="•"/>
              <a:defRPr sz="1477"/>
            </a:lvl3pPr>
            <a:lvl4pPr marL="900372" indent="-225092">
              <a:buSzPct val="90000"/>
              <a:buFont typeface="Courier New"/>
              <a:buChar char="o"/>
              <a:defRPr sz="1477"/>
            </a:lvl4pPr>
            <a:lvl5pPr marL="1350558" indent="-225092">
              <a:buSzPct val="110000"/>
              <a:buFont typeface="Arial"/>
              <a:buChar char="•"/>
              <a:defRPr sz="14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1382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9186C554-4180-440F-95DD-93ED44D18809}"/>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cxnSp>
        <p:nvCxnSpPr>
          <p:cNvPr id="9" name="Straight Connector 8"/>
          <p:cNvCxnSpPr/>
          <p:nvPr userDrawn="1"/>
        </p:nvCxnSpPr>
        <p:spPr>
          <a:xfrm>
            <a:off x="595729" y="1288310"/>
            <a:ext cx="4174448" cy="0"/>
          </a:xfrm>
          <a:prstGeom prst="line">
            <a:avLst/>
          </a:prstGeom>
          <a:ln w="28575" cmpd="sng">
            <a:solidFill>
              <a:srgbClr val="1562AF"/>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ctrTitle"/>
          </p:nvPr>
        </p:nvSpPr>
        <p:spPr>
          <a:xfrm>
            <a:off x="595730" y="1345036"/>
            <a:ext cx="10971428" cy="602536"/>
          </a:xfrm>
        </p:spPr>
        <p:txBody>
          <a:bodyPr lIns="0" tIns="0" rIns="0" bIns="0" anchor="t">
            <a:noAutofit/>
          </a:bodyPr>
          <a:lstStyle>
            <a:lvl1pPr algn="l">
              <a:defRPr sz="3939">
                <a:latin typeface="Arial"/>
                <a:cs typeface="Arial"/>
              </a:defRPr>
            </a:lvl1pPr>
          </a:lstStyle>
          <a:p>
            <a:endParaRPr lang="en-US" b="1">
              <a:solidFill>
                <a:srgbClr val="1573C5"/>
              </a:solidFill>
              <a:latin typeface="Arial"/>
              <a:cs typeface="Arial"/>
            </a:endParaRPr>
          </a:p>
        </p:txBody>
      </p:sp>
      <p:sp>
        <p:nvSpPr>
          <p:cNvPr id="3" name="Subtitle 2"/>
          <p:cNvSpPr>
            <a:spLocks noGrp="1"/>
          </p:cNvSpPr>
          <p:nvPr>
            <p:ph type="subTitle" idx="1"/>
          </p:nvPr>
        </p:nvSpPr>
        <p:spPr>
          <a:xfrm>
            <a:off x="595730" y="2616881"/>
            <a:ext cx="10971428" cy="649843"/>
          </a:xfrm>
        </p:spPr>
        <p:txBody>
          <a:bodyPr lIns="0" rIns="0">
            <a:noAutofit/>
          </a:bodyPr>
          <a:lstStyle>
            <a:lvl1pPr marL="0" indent="0" algn="l">
              <a:buNone/>
              <a:defRPr sz="1969" b="1">
                <a:solidFill>
                  <a:schemeClr val="tx1">
                    <a:tint val="75000"/>
                  </a:schemeClr>
                </a:solidFill>
                <a:latin typeface="Arial"/>
                <a:cs typeface="Arial"/>
              </a:defRPr>
            </a:lvl1pPr>
            <a:lvl2pPr marL="562733" indent="0" algn="ctr">
              <a:buNone/>
              <a:defRPr>
                <a:solidFill>
                  <a:schemeClr val="tx1">
                    <a:tint val="75000"/>
                  </a:schemeClr>
                </a:solidFill>
              </a:defRPr>
            </a:lvl2pPr>
            <a:lvl3pPr marL="1125466" indent="0" algn="ctr">
              <a:buNone/>
              <a:defRPr>
                <a:solidFill>
                  <a:schemeClr val="tx1">
                    <a:tint val="75000"/>
                  </a:schemeClr>
                </a:solidFill>
              </a:defRPr>
            </a:lvl3pPr>
            <a:lvl4pPr marL="1688197" indent="0" algn="ctr">
              <a:buNone/>
              <a:defRPr>
                <a:solidFill>
                  <a:schemeClr val="tx1">
                    <a:tint val="75000"/>
                  </a:schemeClr>
                </a:solidFill>
              </a:defRPr>
            </a:lvl4pPr>
            <a:lvl5pPr marL="2250930" indent="0" algn="ctr">
              <a:buNone/>
              <a:defRPr>
                <a:solidFill>
                  <a:schemeClr val="tx1">
                    <a:tint val="75000"/>
                  </a:schemeClr>
                </a:solidFill>
              </a:defRPr>
            </a:lvl5pPr>
            <a:lvl6pPr marL="2813663" indent="0" algn="ctr">
              <a:buNone/>
              <a:defRPr>
                <a:solidFill>
                  <a:schemeClr val="tx1">
                    <a:tint val="75000"/>
                  </a:schemeClr>
                </a:solidFill>
              </a:defRPr>
            </a:lvl6pPr>
            <a:lvl7pPr marL="3376397" indent="0" algn="ctr">
              <a:buNone/>
              <a:defRPr>
                <a:solidFill>
                  <a:schemeClr val="tx1">
                    <a:tint val="75000"/>
                  </a:schemeClr>
                </a:solidFill>
              </a:defRPr>
            </a:lvl7pPr>
            <a:lvl8pPr marL="3939127" indent="0" algn="ctr">
              <a:buNone/>
              <a:defRPr>
                <a:solidFill>
                  <a:schemeClr val="tx1">
                    <a:tint val="75000"/>
                  </a:schemeClr>
                </a:solidFill>
              </a:defRPr>
            </a:lvl8pPr>
            <a:lvl9pPr marL="4501860" indent="0" algn="ctr">
              <a:buNone/>
              <a:defRPr>
                <a:solidFill>
                  <a:schemeClr val="tx1">
                    <a:tint val="75000"/>
                  </a:schemeClr>
                </a:solidFill>
              </a:defRPr>
            </a:lvl9pPr>
          </a:lstStyle>
          <a:p>
            <a:endParaRPr lang="en-US"/>
          </a:p>
        </p:txBody>
      </p:sp>
      <p:grpSp>
        <p:nvGrpSpPr>
          <p:cNvPr id="10" name="Group 9"/>
          <p:cNvGrpSpPr/>
          <p:nvPr userDrawn="1"/>
        </p:nvGrpSpPr>
        <p:grpSpPr>
          <a:xfrm>
            <a:off x="5" y="6792455"/>
            <a:ext cx="12191999" cy="73745"/>
            <a:chOff x="1" y="6792449"/>
            <a:chExt cx="9143999" cy="73745"/>
          </a:xfrm>
        </p:grpSpPr>
        <p:sp>
          <p:nvSpPr>
            <p:cNvPr id="11" name="Rectangle 10"/>
            <p:cNvSpPr/>
            <p:nvPr/>
          </p:nvSpPr>
          <p:spPr>
            <a:xfrm>
              <a:off x="5486400" y="6792449"/>
              <a:ext cx="1828800" cy="73745"/>
            </a:xfrm>
            <a:prstGeom prst="rect">
              <a:avLst/>
            </a:prstGeom>
            <a:solidFill>
              <a:srgbClr val="1740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2" name="Rectangle 11"/>
            <p:cNvSpPr/>
            <p:nvPr/>
          </p:nvSpPr>
          <p:spPr>
            <a:xfrm>
              <a:off x="1" y="6792449"/>
              <a:ext cx="1828800" cy="73745"/>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3" name="Rectangle 12"/>
            <p:cNvSpPr/>
            <p:nvPr/>
          </p:nvSpPr>
          <p:spPr>
            <a:xfrm>
              <a:off x="1828801" y="6792449"/>
              <a:ext cx="1828800" cy="73745"/>
            </a:xfrm>
            <a:prstGeom prst="rect">
              <a:avLst/>
            </a:prstGeom>
            <a:solidFill>
              <a:srgbClr val="2428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4" name="Rectangle 13"/>
            <p:cNvSpPr/>
            <p:nvPr/>
          </p:nvSpPr>
          <p:spPr>
            <a:xfrm>
              <a:off x="3657601" y="6792450"/>
              <a:ext cx="1828800" cy="73743"/>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5" name="Rectangle 14"/>
            <p:cNvSpPr/>
            <p:nvPr/>
          </p:nvSpPr>
          <p:spPr>
            <a:xfrm>
              <a:off x="7315200" y="6792450"/>
              <a:ext cx="1828800" cy="73743"/>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grpSp>
      <p:sp>
        <p:nvSpPr>
          <p:cNvPr id="18" name="Rectangle 17">
            <a:extLst>
              <a:ext uri="{FF2B5EF4-FFF2-40B4-BE49-F238E27FC236}">
                <a16:creationId xmlns:a16="http://schemas.microsoft.com/office/drawing/2014/main" id="{E5173B9B-BE72-42C7-A148-B67DB546D627}"/>
              </a:ext>
            </a:extLst>
          </p:cNvPr>
          <p:cNvSpPr/>
          <p:nvPr userDrawn="1"/>
        </p:nvSpPr>
        <p:spPr>
          <a:xfrm>
            <a:off x="0" y="5708317"/>
            <a:ext cx="12192000" cy="1149684"/>
          </a:xfrm>
          <a:prstGeom prst="rect">
            <a:avLst/>
          </a:prstGeom>
          <a:solidFill>
            <a:srgbClr val="1573C5"/>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9" name="Text Placeholder 25">
            <a:extLst>
              <a:ext uri="{FF2B5EF4-FFF2-40B4-BE49-F238E27FC236}">
                <a16:creationId xmlns:a16="http://schemas.microsoft.com/office/drawing/2014/main" id="{25BB2BCF-2931-415B-8CD9-7AC14691D010}"/>
              </a:ext>
            </a:extLst>
          </p:cNvPr>
          <p:cNvSpPr>
            <a:spLocks noGrp="1"/>
          </p:cNvSpPr>
          <p:nvPr>
            <p:ph type="body" sz="quarter" idx="11" hasCustomPrompt="1"/>
          </p:nvPr>
        </p:nvSpPr>
        <p:spPr>
          <a:xfrm>
            <a:off x="758197" y="5882105"/>
            <a:ext cx="10971428" cy="735264"/>
          </a:xfrm>
        </p:spPr>
        <p:txBody>
          <a:bodyPr/>
          <a:lstStyle>
            <a:lvl1pPr marL="0" indent="0">
              <a:buNone/>
              <a:defRPr sz="1477">
                <a:solidFill>
                  <a:schemeClr val="bg1"/>
                </a:solidFill>
              </a:defRPr>
            </a:lvl1pPr>
            <a:lvl2pPr>
              <a:defRPr sz="1477">
                <a:solidFill>
                  <a:schemeClr val="bg1"/>
                </a:solidFill>
              </a:defRPr>
            </a:lvl2pPr>
            <a:lvl3pPr>
              <a:defRPr sz="1477">
                <a:solidFill>
                  <a:schemeClr val="bg1"/>
                </a:solidFill>
              </a:defRPr>
            </a:lvl3pPr>
            <a:lvl4pPr>
              <a:defRPr sz="1477">
                <a:solidFill>
                  <a:schemeClr val="bg1"/>
                </a:solidFill>
              </a:defRPr>
            </a:lvl4pPr>
            <a:lvl5pPr>
              <a:defRPr sz="1477">
                <a:solidFill>
                  <a:schemeClr val="bg1"/>
                </a:solidFill>
              </a:defRPr>
            </a:lvl5pPr>
          </a:lstStyle>
          <a:p>
            <a:pPr lvl="0"/>
            <a:r>
              <a:rPr lang="en-US"/>
              <a:t>PARTICIPANTS:</a:t>
            </a:r>
          </a:p>
        </p:txBody>
      </p:sp>
      <p:pic>
        <p:nvPicPr>
          <p:cNvPr id="17" name="Picture 16" descr="Logo&#10;&#10;Description automatically generated">
            <a:extLst>
              <a:ext uri="{FF2B5EF4-FFF2-40B4-BE49-F238E27FC236}">
                <a16:creationId xmlns:a16="http://schemas.microsoft.com/office/drawing/2014/main" id="{56403391-6B43-4ECC-BC26-F41D1295C7CA}"/>
              </a:ext>
            </a:extLst>
          </p:cNvPr>
          <p:cNvPicPr>
            <a:picLocks noChangeAspect="1"/>
          </p:cNvPicPr>
          <p:nvPr userDrawn="1"/>
        </p:nvPicPr>
        <p:blipFill>
          <a:blip r:embed="rId4"/>
          <a:stretch>
            <a:fillRect/>
          </a:stretch>
        </p:blipFill>
        <p:spPr>
          <a:xfrm>
            <a:off x="517314" y="321847"/>
            <a:ext cx="3190291" cy="831346"/>
          </a:xfrm>
          <a:prstGeom prst="rect">
            <a:avLst/>
          </a:prstGeom>
        </p:spPr>
      </p:pic>
    </p:spTree>
    <p:extLst>
      <p:ext uri="{BB962C8B-B14F-4D97-AF65-F5344CB8AC3E}">
        <p14:creationId xmlns:p14="http://schemas.microsoft.com/office/powerpoint/2010/main" val="38390904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Slide - 04B">
    <p:spTree>
      <p:nvGrpSpPr>
        <p:cNvPr id="1" name=""/>
        <p:cNvGrpSpPr/>
        <p:nvPr/>
      </p:nvGrpSpPr>
      <p:grpSpPr>
        <a:xfrm>
          <a:off x="0" y="0"/>
          <a:ext cx="0" cy="0"/>
          <a:chOff x="0" y="0"/>
          <a:chExt cx="0" cy="0"/>
        </a:xfrm>
      </p:grpSpPr>
      <p:sp>
        <p:nvSpPr>
          <p:cNvPr id="16" name="Title 1"/>
          <p:cNvSpPr>
            <a:spLocks noGrp="1"/>
          </p:cNvSpPr>
          <p:nvPr>
            <p:ph type="title"/>
          </p:nvPr>
        </p:nvSpPr>
        <p:spPr>
          <a:xfrm>
            <a:off x="342242" y="194436"/>
            <a:ext cx="11528917" cy="394087"/>
          </a:xfrm>
        </p:spPr>
        <p:txBody>
          <a:bodyPr>
            <a:noAutofit/>
          </a:bodyPr>
          <a:lstStyle>
            <a:lvl1pPr>
              <a:defRPr sz="2585"/>
            </a:lvl1pPr>
          </a:lstStyle>
          <a:p>
            <a:r>
              <a:rPr lang="en-US"/>
              <a:t>Click to edit Master title style</a:t>
            </a:r>
          </a:p>
        </p:txBody>
      </p:sp>
      <p:sp>
        <p:nvSpPr>
          <p:cNvPr id="3" name="Text Placeholder 2"/>
          <p:cNvSpPr>
            <a:spLocks noGrp="1"/>
          </p:cNvSpPr>
          <p:nvPr>
            <p:ph type="body" sz="quarter" idx="14"/>
          </p:nvPr>
        </p:nvSpPr>
        <p:spPr>
          <a:xfrm>
            <a:off x="342243" y="601885"/>
            <a:ext cx="11540737" cy="373062"/>
          </a:xfrm>
        </p:spPr>
        <p:txBody>
          <a:bodyPr/>
          <a:lstStyle>
            <a:lvl1pPr marL="0" indent="0">
              <a:buNone/>
              <a:defRPr>
                <a:solidFill>
                  <a:schemeClr val="tx1">
                    <a:lumMod val="50000"/>
                    <a:lumOff val="50000"/>
                  </a:schemeClr>
                </a:solidFill>
              </a:defRPr>
            </a:lvl1pPr>
            <a:lvl2pPr marL="675278" indent="0">
              <a:buNone/>
              <a:defRPr/>
            </a:lvl2pPr>
            <a:lvl3pPr marL="1181738" indent="0">
              <a:buNone/>
              <a:defRPr/>
            </a:lvl3pPr>
            <a:lvl4pPr marL="1744472" indent="0">
              <a:buNone/>
              <a:defRPr/>
            </a:lvl4pPr>
            <a:lvl5pPr marL="2307205" indent="0">
              <a:buNone/>
              <a:defRPr/>
            </a:lvl5pPr>
          </a:lstStyle>
          <a:p>
            <a:pPr lvl="0"/>
            <a:r>
              <a:rPr lang="en-US"/>
              <a:t>Click to edit Master text styles</a:t>
            </a:r>
          </a:p>
        </p:txBody>
      </p:sp>
      <p:sp>
        <p:nvSpPr>
          <p:cNvPr id="7" name="Rectangle 6"/>
          <p:cNvSpPr/>
          <p:nvPr userDrawn="1"/>
        </p:nvSpPr>
        <p:spPr>
          <a:xfrm>
            <a:off x="0" y="6775286"/>
            <a:ext cx="12192000" cy="73152"/>
          </a:xfrm>
          <a:prstGeom prst="rect">
            <a:avLst/>
          </a:prstGeom>
          <a:solidFill>
            <a:srgbClr val="1843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3" name="Content Placeholder 2"/>
          <p:cNvSpPr>
            <a:spLocks noGrp="1"/>
          </p:cNvSpPr>
          <p:nvPr>
            <p:ph idx="13" hasCustomPrompt="1"/>
          </p:nvPr>
        </p:nvSpPr>
        <p:spPr>
          <a:xfrm>
            <a:off x="342242" y="1231903"/>
            <a:ext cx="11528917" cy="4797261"/>
          </a:xfrm>
        </p:spPr>
        <p:txBody>
          <a:bodyPr>
            <a:noAutofit/>
          </a:bodyPr>
          <a:lstStyle>
            <a:lvl1pPr marL="0" indent="0">
              <a:spcAft>
                <a:spcPts val="1231"/>
              </a:spcAft>
              <a:buFontTx/>
              <a:buNone/>
              <a:defRPr sz="1477" b="1">
                <a:solidFill>
                  <a:srgbClr val="1573C5"/>
                </a:solidFill>
              </a:defRPr>
            </a:lvl1pPr>
            <a:lvl2pPr marL="0" indent="0">
              <a:buSzPct val="110000"/>
              <a:buFont typeface="Arial"/>
              <a:buNone/>
              <a:defRPr sz="1477"/>
            </a:lvl2pPr>
            <a:lvl3pPr marL="450186" indent="-225092">
              <a:buSzPct val="110000"/>
              <a:buFont typeface="Arial"/>
              <a:buChar char="•"/>
              <a:defRPr sz="1477"/>
            </a:lvl3pPr>
            <a:lvl4pPr marL="900372" indent="-225092">
              <a:buSzPct val="90000"/>
              <a:buFont typeface="Courier New"/>
              <a:buChar char="o"/>
              <a:defRPr sz="1477"/>
            </a:lvl4pPr>
            <a:lvl5pPr marL="1350558" indent="-225092">
              <a:buSzPct val="110000"/>
              <a:buFont typeface="Arial"/>
              <a:buChar char="•"/>
              <a:defRPr sz="14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65727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Slide - 05A">
    <p:spTree>
      <p:nvGrpSpPr>
        <p:cNvPr id="1" name=""/>
        <p:cNvGrpSpPr/>
        <p:nvPr/>
      </p:nvGrpSpPr>
      <p:grpSpPr>
        <a:xfrm>
          <a:off x="0" y="0"/>
          <a:ext cx="0" cy="0"/>
          <a:chOff x="0" y="0"/>
          <a:chExt cx="0" cy="0"/>
        </a:xfrm>
      </p:grpSpPr>
      <p:sp>
        <p:nvSpPr>
          <p:cNvPr id="16" name="Title 1"/>
          <p:cNvSpPr>
            <a:spLocks noGrp="1"/>
          </p:cNvSpPr>
          <p:nvPr>
            <p:ph type="title"/>
          </p:nvPr>
        </p:nvSpPr>
        <p:spPr>
          <a:xfrm>
            <a:off x="342242" y="194430"/>
            <a:ext cx="11528917" cy="594360"/>
          </a:xfrm>
        </p:spPr>
        <p:txBody>
          <a:bodyPr>
            <a:noAutofit/>
          </a:bodyPr>
          <a:lstStyle>
            <a:lvl1pPr>
              <a:defRPr sz="2585"/>
            </a:lvl1pPr>
          </a:lstStyle>
          <a:p>
            <a:r>
              <a:rPr lang="en-US"/>
              <a:t>Click to edit Master title style</a:t>
            </a:r>
          </a:p>
        </p:txBody>
      </p:sp>
      <p:sp>
        <p:nvSpPr>
          <p:cNvPr id="7" name="Rectangle 6"/>
          <p:cNvSpPr/>
          <p:nvPr userDrawn="1"/>
        </p:nvSpPr>
        <p:spPr>
          <a:xfrm>
            <a:off x="0" y="6775286"/>
            <a:ext cx="12192000" cy="73152"/>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6" name="Content Placeholder 2"/>
          <p:cNvSpPr>
            <a:spLocks noGrp="1"/>
          </p:cNvSpPr>
          <p:nvPr>
            <p:ph idx="13"/>
          </p:nvPr>
        </p:nvSpPr>
        <p:spPr>
          <a:xfrm>
            <a:off x="342242" y="801394"/>
            <a:ext cx="11528917" cy="5227769"/>
          </a:xfrm>
        </p:spPr>
        <p:txBody>
          <a:bodyPr>
            <a:noAutofit/>
          </a:bodyPr>
          <a:lstStyle>
            <a:lvl1pPr marL="0" indent="0">
              <a:buFontTx/>
              <a:buNone/>
              <a:defRPr sz="1477"/>
            </a:lvl1pPr>
            <a:lvl2pPr marL="450186" indent="-225092">
              <a:buSzPct val="110000"/>
              <a:buFont typeface="Arial"/>
              <a:buChar char="•"/>
              <a:defRPr sz="1477"/>
            </a:lvl2pPr>
            <a:lvl3pPr marL="900372" indent="-225092">
              <a:buSzPct val="90000"/>
              <a:buFont typeface="Courier New"/>
              <a:buChar char="o"/>
              <a:defRPr sz="1477"/>
            </a:lvl3pPr>
            <a:lvl4pPr marL="1350558" indent="-225092">
              <a:buSzPct val="110000"/>
              <a:buFont typeface="Arial"/>
              <a:buChar char="•"/>
              <a:defRPr sz="1477"/>
            </a:lvl4pPr>
            <a:lvl5pPr marL="1800744" indent="-225092">
              <a:buSzPct val="90000"/>
              <a:buFont typeface="Courier New"/>
              <a:buChar char="o"/>
              <a:defRPr sz="14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605988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Slide - 05B">
    <p:spTree>
      <p:nvGrpSpPr>
        <p:cNvPr id="1" name=""/>
        <p:cNvGrpSpPr/>
        <p:nvPr/>
      </p:nvGrpSpPr>
      <p:grpSpPr>
        <a:xfrm>
          <a:off x="0" y="0"/>
          <a:ext cx="0" cy="0"/>
          <a:chOff x="0" y="0"/>
          <a:chExt cx="0" cy="0"/>
        </a:xfrm>
      </p:grpSpPr>
      <p:sp>
        <p:nvSpPr>
          <p:cNvPr id="16" name="Title 1"/>
          <p:cNvSpPr>
            <a:spLocks noGrp="1"/>
          </p:cNvSpPr>
          <p:nvPr>
            <p:ph type="title"/>
          </p:nvPr>
        </p:nvSpPr>
        <p:spPr>
          <a:xfrm>
            <a:off x="342242" y="194436"/>
            <a:ext cx="11528917" cy="394087"/>
          </a:xfrm>
        </p:spPr>
        <p:txBody>
          <a:bodyPr>
            <a:noAutofit/>
          </a:bodyPr>
          <a:lstStyle>
            <a:lvl1pPr>
              <a:defRPr sz="2585"/>
            </a:lvl1pPr>
          </a:lstStyle>
          <a:p>
            <a:r>
              <a:rPr lang="en-US"/>
              <a:t>Click to edit Master title style</a:t>
            </a:r>
          </a:p>
        </p:txBody>
      </p:sp>
      <p:sp>
        <p:nvSpPr>
          <p:cNvPr id="3" name="Text Placeholder 2"/>
          <p:cNvSpPr>
            <a:spLocks noGrp="1"/>
          </p:cNvSpPr>
          <p:nvPr>
            <p:ph type="body" sz="quarter" idx="14"/>
          </p:nvPr>
        </p:nvSpPr>
        <p:spPr>
          <a:xfrm>
            <a:off x="342243" y="601885"/>
            <a:ext cx="11540737" cy="373062"/>
          </a:xfrm>
        </p:spPr>
        <p:txBody>
          <a:bodyPr/>
          <a:lstStyle>
            <a:lvl1pPr marL="0" indent="0">
              <a:buNone/>
              <a:defRPr>
                <a:solidFill>
                  <a:schemeClr val="tx1">
                    <a:lumMod val="50000"/>
                    <a:lumOff val="50000"/>
                  </a:schemeClr>
                </a:solidFill>
              </a:defRPr>
            </a:lvl1pPr>
            <a:lvl2pPr marL="675278" indent="0">
              <a:buNone/>
              <a:defRPr/>
            </a:lvl2pPr>
            <a:lvl3pPr marL="1181738" indent="0">
              <a:buNone/>
              <a:defRPr/>
            </a:lvl3pPr>
            <a:lvl4pPr marL="1744472" indent="0">
              <a:buNone/>
              <a:defRPr/>
            </a:lvl4pPr>
            <a:lvl5pPr marL="2307205" indent="0">
              <a:buNone/>
              <a:defRPr/>
            </a:lvl5pPr>
          </a:lstStyle>
          <a:p>
            <a:pPr lvl="0"/>
            <a:r>
              <a:rPr lang="en-US"/>
              <a:t>Click to edit Master text styles</a:t>
            </a:r>
          </a:p>
        </p:txBody>
      </p:sp>
      <p:sp>
        <p:nvSpPr>
          <p:cNvPr id="9" name="Rectangle 8"/>
          <p:cNvSpPr/>
          <p:nvPr userDrawn="1"/>
        </p:nvSpPr>
        <p:spPr>
          <a:xfrm>
            <a:off x="0" y="6775286"/>
            <a:ext cx="12192000" cy="73152"/>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1" name="Content Placeholder 2"/>
          <p:cNvSpPr>
            <a:spLocks noGrp="1"/>
          </p:cNvSpPr>
          <p:nvPr>
            <p:ph idx="13" hasCustomPrompt="1"/>
          </p:nvPr>
        </p:nvSpPr>
        <p:spPr>
          <a:xfrm>
            <a:off x="342242" y="1231903"/>
            <a:ext cx="11528917" cy="4797261"/>
          </a:xfrm>
        </p:spPr>
        <p:txBody>
          <a:bodyPr>
            <a:noAutofit/>
          </a:bodyPr>
          <a:lstStyle>
            <a:lvl1pPr marL="0" indent="0">
              <a:spcAft>
                <a:spcPts val="1231"/>
              </a:spcAft>
              <a:buFontTx/>
              <a:buNone/>
              <a:defRPr sz="1477" b="1">
                <a:solidFill>
                  <a:srgbClr val="1573C5"/>
                </a:solidFill>
              </a:defRPr>
            </a:lvl1pPr>
            <a:lvl2pPr marL="0" indent="0">
              <a:buSzPct val="110000"/>
              <a:buFont typeface="Arial"/>
              <a:buNone/>
              <a:defRPr sz="1477"/>
            </a:lvl2pPr>
            <a:lvl3pPr marL="450186" indent="-225092">
              <a:buSzPct val="110000"/>
              <a:buFont typeface="Arial"/>
              <a:buChar char="•"/>
              <a:defRPr sz="1477"/>
            </a:lvl3pPr>
            <a:lvl4pPr marL="900372" indent="-225092">
              <a:buSzPct val="90000"/>
              <a:buFont typeface="Courier New"/>
              <a:buChar char="o"/>
              <a:defRPr sz="1477"/>
            </a:lvl4pPr>
            <a:lvl5pPr marL="1350558" indent="-225092">
              <a:buSzPct val="110000"/>
              <a:buFont typeface="Arial"/>
              <a:buChar char="•"/>
              <a:defRPr sz="14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56249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Break - Blue 0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9441407B-9616-429E-9B34-B916AF0BA336}"/>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rcRect/>
          <a:stretch/>
        </p:blipFill>
        <p:spPr>
          <a:xfrm>
            <a:off x="0" y="2078183"/>
            <a:ext cx="12192000" cy="2527968"/>
          </a:xfrm>
          <a:prstGeom prst="rect">
            <a:avLst/>
          </a:prstGeom>
        </p:spPr>
      </p:pic>
      <p:sp>
        <p:nvSpPr>
          <p:cNvPr id="7" name="Slide Number Placeholder 6"/>
          <p:cNvSpPr>
            <a:spLocks noGrp="1"/>
          </p:cNvSpPr>
          <p:nvPr>
            <p:ph type="sldNum" sz="quarter" idx="12"/>
          </p:nvPr>
        </p:nvSpPr>
        <p:spPr/>
        <p:txBody>
          <a:bodyPr/>
          <a:lstStyle/>
          <a:p>
            <a:fld id="{BEEE3D23-30C1-F34A-B827-52BBC0B19443}" type="slidenum">
              <a:rPr lang="en-US" smtClean="0"/>
              <a:t>‹#›</a:t>
            </a:fld>
            <a:endParaRPr lang="en-US"/>
          </a:p>
        </p:txBody>
      </p:sp>
      <p:sp>
        <p:nvSpPr>
          <p:cNvPr id="8" name="Rectangle 7"/>
          <p:cNvSpPr/>
          <p:nvPr userDrawn="1"/>
        </p:nvSpPr>
        <p:spPr>
          <a:xfrm>
            <a:off x="0" y="2078182"/>
            <a:ext cx="12192000" cy="2514600"/>
          </a:xfrm>
          <a:prstGeom prst="rect">
            <a:avLst/>
          </a:prstGeom>
          <a:gradFill flip="none" rotWithShape="1">
            <a:gsLst>
              <a:gs pos="0">
                <a:srgbClr val="0E6BB9">
                  <a:alpha val="85000"/>
                </a:srgbClr>
              </a:gs>
              <a:gs pos="100000">
                <a:srgbClr val="1055AA"/>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9" name="Rectangle 8"/>
          <p:cNvSpPr/>
          <p:nvPr userDrawn="1"/>
        </p:nvSpPr>
        <p:spPr>
          <a:xfrm>
            <a:off x="0" y="4532998"/>
            <a:ext cx="12192000" cy="73152"/>
          </a:xfrm>
          <a:prstGeom prst="rect">
            <a:avLst/>
          </a:prstGeom>
          <a:solidFill>
            <a:srgbClr val="5AA2A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cxnSp>
        <p:nvCxnSpPr>
          <p:cNvPr id="10" name="Straight Connector 9"/>
          <p:cNvCxnSpPr/>
          <p:nvPr userDrawn="1"/>
        </p:nvCxnSpPr>
        <p:spPr>
          <a:xfrm>
            <a:off x="472791" y="2753758"/>
            <a:ext cx="4174448"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324851" y="2824376"/>
            <a:ext cx="5949402" cy="1346575"/>
          </a:xfrm>
        </p:spPr>
        <p:txBody>
          <a:bodyPr>
            <a:noAutofit/>
          </a:bodyPr>
          <a:lstStyle>
            <a:lvl1pPr>
              <a:defRPr sz="3939">
                <a:solidFill>
                  <a:schemeClr val="bg1"/>
                </a:solidFill>
              </a:defRPr>
            </a:lvl1pPr>
          </a:lstStyle>
          <a:p>
            <a:r>
              <a:rPr lang="en-US"/>
              <a:t>Click to edit Master title style</a:t>
            </a:r>
          </a:p>
        </p:txBody>
      </p:sp>
      <p:pic>
        <p:nvPicPr>
          <p:cNvPr id="11" name="Picture 10" descr="photo.jpg">
            <a:extLst>
              <a:ext uri="{FF2B5EF4-FFF2-40B4-BE49-F238E27FC236}">
                <a16:creationId xmlns:a16="http://schemas.microsoft.com/office/drawing/2014/main" id="{26B17870-3EC4-4122-AF93-2354FBE640F5}"/>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0448936" y="6123350"/>
            <a:ext cx="1406896" cy="504399"/>
          </a:xfrm>
          <a:prstGeom prst="rect">
            <a:avLst/>
          </a:prstGeom>
        </p:spPr>
      </p:pic>
      <p:pic>
        <p:nvPicPr>
          <p:cNvPr id="4" name="Picture 3">
            <a:extLst>
              <a:ext uri="{FF2B5EF4-FFF2-40B4-BE49-F238E27FC236}">
                <a16:creationId xmlns:a16="http://schemas.microsoft.com/office/drawing/2014/main" id="{8540F4FD-7476-44CA-A763-325863ACF7BB}"/>
              </a:ext>
            </a:extLst>
          </p:cNvPr>
          <p:cNvPicPr>
            <a:picLocks noChangeAspect="1"/>
          </p:cNvPicPr>
          <p:nvPr userDrawn="1"/>
        </p:nvPicPr>
        <p:blipFill>
          <a:blip r:embed="rId5" cstate="screen">
            <a:alphaModFix amt="35000"/>
            <a:extLst>
              <a:ext uri="{28A0092B-C50C-407E-A947-70E740481C1C}">
                <a14:useLocalDpi xmlns:a14="http://schemas.microsoft.com/office/drawing/2010/main"/>
              </a:ext>
            </a:extLst>
          </a:blip>
          <a:stretch>
            <a:fillRect/>
          </a:stretch>
        </p:blipFill>
        <p:spPr>
          <a:xfrm>
            <a:off x="7374239" y="1937050"/>
            <a:ext cx="4492910" cy="3324425"/>
          </a:xfrm>
          <a:prstGeom prst="rect">
            <a:avLst/>
          </a:prstGeom>
        </p:spPr>
      </p:pic>
    </p:spTree>
    <p:extLst>
      <p:ext uri="{BB962C8B-B14F-4D97-AF65-F5344CB8AC3E}">
        <p14:creationId xmlns:p14="http://schemas.microsoft.com/office/powerpoint/2010/main" val="16325931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Break - Blue 02">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68FEEA17-D736-47D3-A4A5-ECA70033ED0B}"/>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rcRect/>
          <a:stretch/>
        </p:blipFill>
        <p:spPr>
          <a:xfrm>
            <a:off x="0" y="2078183"/>
            <a:ext cx="12192000" cy="2527968"/>
          </a:xfrm>
          <a:prstGeom prst="rect">
            <a:avLst/>
          </a:prstGeom>
        </p:spPr>
      </p:pic>
      <p:sp>
        <p:nvSpPr>
          <p:cNvPr id="5" name="Rectangle 4"/>
          <p:cNvSpPr/>
          <p:nvPr userDrawn="1"/>
        </p:nvSpPr>
        <p:spPr>
          <a:xfrm>
            <a:off x="0" y="2078182"/>
            <a:ext cx="12191999" cy="2514600"/>
          </a:xfrm>
          <a:prstGeom prst="rect">
            <a:avLst/>
          </a:prstGeom>
          <a:gradFill flip="none" rotWithShape="1">
            <a:gsLst>
              <a:gs pos="0">
                <a:srgbClr val="0E6BB9">
                  <a:alpha val="85000"/>
                </a:srgbClr>
              </a:gs>
              <a:gs pos="100000">
                <a:srgbClr val="1055AA"/>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1" name="Rectangle 10"/>
          <p:cNvSpPr/>
          <p:nvPr userDrawn="1"/>
        </p:nvSpPr>
        <p:spPr>
          <a:xfrm>
            <a:off x="0" y="4532998"/>
            <a:ext cx="12192000" cy="73152"/>
          </a:xfrm>
          <a:prstGeom prst="rect">
            <a:avLst/>
          </a:prstGeom>
          <a:solidFill>
            <a:srgbClr val="2B346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cxnSp>
        <p:nvCxnSpPr>
          <p:cNvPr id="7" name="Straight Connector 6"/>
          <p:cNvCxnSpPr/>
          <p:nvPr userDrawn="1"/>
        </p:nvCxnSpPr>
        <p:spPr>
          <a:xfrm>
            <a:off x="472791" y="2753758"/>
            <a:ext cx="4174448"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Title 1"/>
          <p:cNvSpPr>
            <a:spLocks noGrp="1"/>
          </p:cNvSpPr>
          <p:nvPr>
            <p:ph type="title"/>
          </p:nvPr>
        </p:nvSpPr>
        <p:spPr>
          <a:xfrm>
            <a:off x="324851" y="2824376"/>
            <a:ext cx="5949402" cy="1346575"/>
          </a:xfrm>
        </p:spPr>
        <p:txBody>
          <a:bodyPr>
            <a:noAutofit/>
          </a:bodyPr>
          <a:lstStyle>
            <a:lvl1pPr>
              <a:defRPr sz="3939">
                <a:solidFill>
                  <a:schemeClr val="bg1"/>
                </a:solidFill>
              </a:defRPr>
            </a:lvl1pPr>
          </a:lstStyle>
          <a:p>
            <a:r>
              <a:rPr lang="en-US"/>
              <a:t>Click to edit Master title style</a:t>
            </a:r>
          </a:p>
        </p:txBody>
      </p:sp>
      <p:sp>
        <p:nvSpPr>
          <p:cNvPr id="13" name="Slide Number Placeholder 6"/>
          <p:cNvSpPr>
            <a:spLocks noGrp="1"/>
          </p:cNvSpPr>
          <p:nvPr>
            <p:ph type="sldNum" sz="quarter" idx="12"/>
          </p:nvPr>
        </p:nvSpPr>
        <p:spPr>
          <a:xfrm>
            <a:off x="342240" y="6356358"/>
            <a:ext cx="2844800" cy="365125"/>
          </a:xfrm>
        </p:spPr>
        <p:txBody>
          <a:bodyPr/>
          <a:lstStyle/>
          <a:p>
            <a:fld id="{BEEE3D23-30C1-F34A-B827-52BBC0B19443}" type="slidenum">
              <a:rPr lang="en-US" smtClean="0"/>
              <a:t>‹#›</a:t>
            </a:fld>
            <a:endParaRPr lang="en-US"/>
          </a:p>
        </p:txBody>
      </p:sp>
      <p:pic>
        <p:nvPicPr>
          <p:cNvPr id="9" name="Picture 8">
            <a:extLst>
              <a:ext uri="{FF2B5EF4-FFF2-40B4-BE49-F238E27FC236}">
                <a16:creationId xmlns:a16="http://schemas.microsoft.com/office/drawing/2014/main" id="{01C1C9F9-8623-4B67-9C18-326D6859F8CF}"/>
              </a:ext>
            </a:extLst>
          </p:cNvPr>
          <p:cNvPicPr>
            <a:picLocks noChangeAspect="1"/>
          </p:cNvPicPr>
          <p:nvPr userDrawn="1"/>
        </p:nvPicPr>
        <p:blipFill>
          <a:blip r:embed="rId4" cstate="screen">
            <a:alphaModFix amt="35000"/>
            <a:extLst>
              <a:ext uri="{28A0092B-C50C-407E-A947-70E740481C1C}">
                <a14:useLocalDpi xmlns:a14="http://schemas.microsoft.com/office/drawing/2010/main"/>
              </a:ext>
            </a:extLst>
          </a:blip>
          <a:stretch>
            <a:fillRect/>
          </a:stretch>
        </p:blipFill>
        <p:spPr>
          <a:xfrm>
            <a:off x="7374239" y="1937050"/>
            <a:ext cx="4492910" cy="3324425"/>
          </a:xfrm>
          <a:prstGeom prst="rect">
            <a:avLst/>
          </a:prstGeom>
        </p:spPr>
      </p:pic>
    </p:spTree>
    <p:extLst>
      <p:ext uri="{BB962C8B-B14F-4D97-AF65-F5344CB8AC3E}">
        <p14:creationId xmlns:p14="http://schemas.microsoft.com/office/powerpoint/2010/main" val="7161580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Break - Blue 03">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8C8D473-5E1D-4F9B-AD5D-0BBA9C9E9E4D}"/>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rcRect/>
          <a:stretch/>
        </p:blipFill>
        <p:spPr>
          <a:xfrm>
            <a:off x="0" y="2078183"/>
            <a:ext cx="12192000" cy="2527968"/>
          </a:xfrm>
          <a:prstGeom prst="rect">
            <a:avLst/>
          </a:prstGeom>
        </p:spPr>
      </p:pic>
      <p:sp>
        <p:nvSpPr>
          <p:cNvPr id="5" name="Rectangle 4"/>
          <p:cNvSpPr/>
          <p:nvPr userDrawn="1"/>
        </p:nvSpPr>
        <p:spPr>
          <a:xfrm>
            <a:off x="0" y="2078182"/>
            <a:ext cx="12192000" cy="2514600"/>
          </a:xfrm>
          <a:prstGeom prst="rect">
            <a:avLst/>
          </a:prstGeom>
          <a:gradFill flip="none" rotWithShape="1">
            <a:gsLst>
              <a:gs pos="0">
                <a:srgbClr val="0E6BB9">
                  <a:alpha val="85000"/>
                </a:srgbClr>
              </a:gs>
              <a:gs pos="100000">
                <a:srgbClr val="1055AA"/>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9" name="Rectangle 8"/>
          <p:cNvSpPr/>
          <p:nvPr userDrawn="1"/>
        </p:nvSpPr>
        <p:spPr>
          <a:xfrm>
            <a:off x="0" y="4532998"/>
            <a:ext cx="12192000" cy="73152"/>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cxnSp>
        <p:nvCxnSpPr>
          <p:cNvPr id="7" name="Straight Connector 6"/>
          <p:cNvCxnSpPr/>
          <p:nvPr userDrawn="1"/>
        </p:nvCxnSpPr>
        <p:spPr>
          <a:xfrm>
            <a:off x="472791" y="2753758"/>
            <a:ext cx="4174448"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0" name="Slide Number Placeholder 6"/>
          <p:cNvSpPr>
            <a:spLocks noGrp="1"/>
          </p:cNvSpPr>
          <p:nvPr>
            <p:ph type="sldNum" sz="quarter" idx="12"/>
          </p:nvPr>
        </p:nvSpPr>
        <p:spPr>
          <a:xfrm>
            <a:off x="342240" y="6356358"/>
            <a:ext cx="2844800" cy="365125"/>
          </a:xfrm>
        </p:spPr>
        <p:txBody>
          <a:bodyPr/>
          <a:lstStyle/>
          <a:p>
            <a:fld id="{BEEE3D23-30C1-F34A-B827-52BBC0B19443}" type="slidenum">
              <a:rPr lang="en-US" smtClean="0"/>
              <a:t>‹#›</a:t>
            </a:fld>
            <a:endParaRPr lang="en-US"/>
          </a:p>
        </p:txBody>
      </p:sp>
      <p:sp>
        <p:nvSpPr>
          <p:cNvPr id="13" name="Title 1"/>
          <p:cNvSpPr>
            <a:spLocks noGrp="1"/>
          </p:cNvSpPr>
          <p:nvPr>
            <p:ph type="title"/>
          </p:nvPr>
        </p:nvSpPr>
        <p:spPr>
          <a:xfrm>
            <a:off x="324851" y="2824376"/>
            <a:ext cx="5949402" cy="1346575"/>
          </a:xfrm>
        </p:spPr>
        <p:txBody>
          <a:bodyPr>
            <a:noAutofit/>
          </a:bodyPr>
          <a:lstStyle>
            <a:lvl1pPr>
              <a:defRPr sz="3939">
                <a:solidFill>
                  <a:schemeClr val="bg1"/>
                </a:solidFill>
              </a:defRPr>
            </a:lvl1pPr>
          </a:lstStyle>
          <a:p>
            <a:r>
              <a:rPr lang="en-US"/>
              <a:t>Click to edit Master title style</a:t>
            </a:r>
          </a:p>
        </p:txBody>
      </p:sp>
      <p:pic>
        <p:nvPicPr>
          <p:cNvPr id="11" name="Picture 10">
            <a:extLst>
              <a:ext uri="{FF2B5EF4-FFF2-40B4-BE49-F238E27FC236}">
                <a16:creationId xmlns:a16="http://schemas.microsoft.com/office/drawing/2014/main" id="{7E6AF962-9BC5-4993-B892-3B4139730C45}"/>
              </a:ext>
            </a:extLst>
          </p:cNvPr>
          <p:cNvPicPr>
            <a:picLocks noChangeAspect="1"/>
          </p:cNvPicPr>
          <p:nvPr userDrawn="1"/>
        </p:nvPicPr>
        <p:blipFill>
          <a:blip r:embed="rId4" cstate="screen">
            <a:alphaModFix amt="35000"/>
            <a:extLst>
              <a:ext uri="{28A0092B-C50C-407E-A947-70E740481C1C}">
                <a14:useLocalDpi xmlns:a14="http://schemas.microsoft.com/office/drawing/2010/main"/>
              </a:ext>
            </a:extLst>
          </a:blip>
          <a:stretch>
            <a:fillRect/>
          </a:stretch>
        </p:blipFill>
        <p:spPr>
          <a:xfrm>
            <a:off x="7374239" y="1937050"/>
            <a:ext cx="4492910" cy="3324425"/>
          </a:xfrm>
          <a:prstGeom prst="rect">
            <a:avLst/>
          </a:prstGeom>
        </p:spPr>
      </p:pic>
    </p:spTree>
    <p:extLst>
      <p:ext uri="{BB962C8B-B14F-4D97-AF65-F5344CB8AC3E}">
        <p14:creationId xmlns:p14="http://schemas.microsoft.com/office/powerpoint/2010/main" val="10272139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Break - Blue 04">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C0865AB1-8472-4803-B90A-90F4CA896422}"/>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rcRect/>
          <a:stretch/>
        </p:blipFill>
        <p:spPr>
          <a:xfrm>
            <a:off x="0" y="2078183"/>
            <a:ext cx="12192000" cy="2527968"/>
          </a:xfrm>
          <a:prstGeom prst="rect">
            <a:avLst/>
          </a:prstGeom>
        </p:spPr>
      </p:pic>
      <p:sp>
        <p:nvSpPr>
          <p:cNvPr id="5" name="Rectangle 4"/>
          <p:cNvSpPr/>
          <p:nvPr userDrawn="1"/>
        </p:nvSpPr>
        <p:spPr>
          <a:xfrm>
            <a:off x="0" y="2078182"/>
            <a:ext cx="12192000" cy="2514600"/>
          </a:xfrm>
          <a:prstGeom prst="rect">
            <a:avLst/>
          </a:prstGeom>
          <a:gradFill flip="none" rotWithShape="1">
            <a:gsLst>
              <a:gs pos="0">
                <a:srgbClr val="0E6BB9">
                  <a:alpha val="85000"/>
                </a:srgbClr>
              </a:gs>
              <a:gs pos="100000">
                <a:srgbClr val="1055AA"/>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0" name="Rectangle 9"/>
          <p:cNvSpPr/>
          <p:nvPr userDrawn="1"/>
        </p:nvSpPr>
        <p:spPr>
          <a:xfrm>
            <a:off x="0" y="4532998"/>
            <a:ext cx="12192000" cy="73152"/>
          </a:xfrm>
          <a:prstGeom prst="rect">
            <a:avLst/>
          </a:prstGeom>
          <a:solidFill>
            <a:srgbClr val="1843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cxnSp>
        <p:nvCxnSpPr>
          <p:cNvPr id="7" name="Straight Connector 6"/>
          <p:cNvCxnSpPr/>
          <p:nvPr userDrawn="1"/>
        </p:nvCxnSpPr>
        <p:spPr>
          <a:xfrm>
            <a:off x="472791" y="2753758"/>
            <a:ext cx="4174448"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Slide Number Placeholder 6"/>
          <p:cNvSpPr>
            <a:spLocks noGrp="1"/>
          </p:cNvSpPr>
          <p:nvPr>
            <p:ph type="sldNum" sz="quarter" idx="12"/>
          </p:nvPr>
        </p:nvSpPr>
        <p:spPr>
          <a:xfrm>
            <a:off x="342240" y="6356358"/>
            <a:ext cx="2844800" cy="365125"/>
          </a:xfrm>
        </p:spPr>
        <p:txBody>
          <a:bodyPr/>
          <a:lstStyle/>
          <a:p>
            <a:fld id="{BEEE3D23-30C1-F34A-B827-52BBC0B19443}" type="slidenum">
              <a:rPr lang="en-US" smtClean="0"/>
              <a:t>‹#›</a:t>
            </a:fld>
            <a:endParaRPr lang="en-US"/>
          </a:p>
        </p:txBody>
      </p:sp>
      <p:sp>
        <p:nvSpPr>
          <p:cNvPr id="13" name="Title 1"/>
          <p:cNvSpPr>
            <a:spLocks noGrp="1"/>
          </p:cNvSpPr>
          <p:nvPr>
            <p:ph type="title"/>
          </p:nvPr>
        </p:nvSpPr>
        <p:spPr>
          <a:xfrm>
            <a:off x="324851" y="2824376"/>
            <a:ext cx="5949402" cy="1346575"/>
          </a:xfrm>
        </p:spPr>
        <p:txBody>
          <a:bodyPr>
            <a:noAutofit/>
          </a:bodyPr>
          <a:lstStyle>
            <a:lvl1pPr>
              <a:defRPr sz="3939">
                <a:solidFill>
                  <a:schemeClr val="bg1"/>
                </a:solidFill>
              </a:defRPr>
            </a:lvl1pPr>
          </a:lstStyle>
          <a:p>
            <a:r>
              <a:rPr lang="en-US"/>
              <a:t>Click to edit Master title style</a:t>
            </a:r>
          </a:p>
        </p:txBody>
      </p:sp>
      <p:pic>
        <p:nvPicPr>
          <p:cNvPr id="11" name="Picture 10">
            <a:extLst>
              <a:ext uri="{FF2B5EF4-FFF2-40B4-BE49-F238E27FC236}">
                <a16:creationId xmlns:a16="http://schemas.microsoft.com/office/drawing/2014/main" id="{80E8B67A-C57D-425D-B487-46F5553FC644}"/>
              </a:ext>
            </a:extLst>
          </p:cNvPr>
          <p:cNvPicPr>
            <a:picLocks noChangeAspect="1"/>
          </p:cNvPicPr>
          <p:nvPr userDrawn="1"/>
        </p:nvPicPr>
        <p:blipFill>
          <a:blip r:embed="rId4" cstate="screen">
            <a:alphaModFix amt="35000"/>
            <a:extLst>
              <a:ext uri="{28A0092B-C50C-407E-A947-70E740481C1C}">
                <a14:useLocalDpi xmlns:a14="http://schemas.microsoft.com/office/drawing/2010/main"/>
              </a:ext>
            </a:extLst>
          </a:blip>
          <a:stretch>
            <a:fillRect/>
          </a:stretch>
        </p:blipFill>
        <p:spPr>
          <a:xfrm>
            <a:off x="7374239" y="1937050"/>
            <a:ext cx="4492910" cy="3324425"/>
          </a:xfrm>
          <a:prstGeom prst="rect">
            <a:avLst/>
          </a:prstGeom>
        </p:spPr>
      </p:pic>
    </p:spTree>
    <p:extLst>
      <p:ext uri="{BB962C8B-B14F-4D97-AF65-F5344CB8AC3E}">
        <p14:creationId xmlns:p14="http://schemas.microsoft.com/office/powerpoint/2010/main" val="10272139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Break - Blue 05">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47CEEDB-D286-4C15-8213-CD79C06A1A5F}"/>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rcRect/>
          <a:stretch/>
        </p:blipFill>
        <p:spPr>
          <a:xfrm>
            <a:off x="0" y="2078183"/>
            <a:ext cx="12192000" cy="2527968"/>
          </a:xfrm>
          <a:prstGeom prst="rect">
            <a:avLst/>
          </a:prstGeom>
        </p:spPr>
      </p:pic>
      <p:sp>
        <p:nvSpPr>
          <p:cNvPr id="5" name="Rectangle 4"/>
          <p:cNvSpPr/>
          <p:nvPr userDrawn="1"/>
        </p:nvSpPr>
        <p:spPr>
          <a:xfrm>
            <a:off x="0" y="2078182"/>
            <a:ext cx="12192000" cy="2514600"/>
          </a:xfrm>
          <a:prstGeom prst="rect">
            <a:avLst/>
          </a:prstGeom>
          <a:gradFill flip="none" rotWithShape="1">
            <a:gsLst>
              <a:gs pos="0">
                <a:srgbClr val="0E6BB9">
                  <a:alpha val="85000"/>
                </a:srgbClr>
              </a:gs>
              <a:gs pos="100000">
                <a:srgbClr val="1055AA"/>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0" name="Rectangle 9"/>
          <p:cNvSpPr/>
          <p:nvPr userDrawn="1"/>
        </p:nvSpPr>
        <p:spPr>
          <a:xfrm>
            <a:off x="0" y="4532998"/>
            <a:ext cx="12192000" cy="73152"/>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cxnSp>
        <p:nvCxnSpPr>
          <p:cNvPr id="7" name="Straight Connector 6"/>
          <p:cNvCxnSpPr/>
          <p:nvPr userDrawn="1"/>
        </p:nvCxnSpPr>
        <p:spPr>
          <a:xfrm>
            <a:off x="472791" y="2753758"/>
            <a:ext cx="4174448"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Slide Number Placeholder 6"/>
          <p:cNvSpPr>
            <a:spLocks noGrp="1"/>
          </p:cNvSpPr>
          <p:nvPr>
            <p:ph type="sldNum" sz="quarter" idx="12"/>
          </p:nvPr>
        </p:nvSpPr>
        <p:spPr>
          <a:xfrm>
            <a:off x="342240" y="6356358"/>
            <a:ext cx="2844800" cy="365125"/>
          </a:xfrm>
        </p:spPr>
        <p:txBody>
          <a:bodyPr/>
          <a:lstStyle/>
          <a:p>
            <a:fld id="{BEEE3D23-30C1-F34A-B827-52BBC0B19443}" type="slidenum">
              <a:rPr lang="en-US" smtClean="0"/>
              <a:t>‹#›</a:t>
            </a:fld>
            <a:endParaRPr lang="en-US"/>
          </a:p>
        </p:txBody>
      </p:sp>
      <p:sp>
        <p:nvSpPr>
          <p:cNvPr id="13" name="Title 1"/>
          <p:cNvSpPr>
            <a:spLocks noGrp="1"/>
          </p:cNvSpPr>
          <p:nvPr>
            <p:ph type="title"/>
          </p:nvPr>
        </p:nvSpPr>
        <p:spPr>
          <a:xfrm>
            <a:off x="324851" y="2824376"/>
            <a:ext cx="5949402" cy="1346575"/>
          </a:xfrm>
        </p:spPr>
        <p:txBody>
          <a:bodyPr>
            <a:noAutofit/>
          </a:bodyPr>
          <a:lstStyle>
            <a:lvl1pPr>
              <a:defRPr sz="3939">
                <a:solidFill>
                  <a:schemeClr val="bg1"/>
                </a:solidFill>
              </a:defRPr>
            </a:lvl1pPr>
          </a:lstStyle>
          <a:p>
            <a:r>
              <a:rPr lang="en-US"/>
              <a:t>Click to edit Master title style</a:t>
            </a:r>
          </a:p>
        </p:txBody>
      </p:sp>
      <p:pic>
        <p:nvPicPr>
          <p:cNvPr id="11" name="Picture 10">
            <a:extLst>
              <a:ext uri="{FF2B5EF4-FFF2-40B4-BE49-F238E27FC236}">
                <a16:creationId xmlns:a16="http://schemas.microsoft.com/office/drawing/2014/main" id="{77294B00-FF46-410F-8192-50EC20CA3576}"/>
              </a:ext>
            </a:extLst>
          </p:cNvPr>
          <p:cNvPicPr>
            <a:picLocks noChangeAspect="1"/>
          </p:cNvPicPr>
          <p:nvPr userDrawn="1"/>
        </p:nvPicPr>
        <p:blipFill>
          <a:blip r:embed="rId4" cstate="screen">
            <a:alphaModFix amt="35000"/>
            <a:extLst>
              <a:ext uri="{28A0092B-C50C-407E-A947-70E740481C1C}">
                <a14:useLocalDpi xmlns:a14="http://schemas.microsoft.com/office/drawing/2010/main"/>
              </a:ext>
            </a:extLst>
          </a:blip>
          <a:stretch>
            <a:fillRect/>
          </a:stretch>
        </p:blipFill>
        <p:spPr>
          <a:xfrm>
            <a:off x="7374239" y="1937050"/>
            <a:ext cx="4492910" cy="3324425"/>
          </a:xfrm>
          <a:prstGeom prst="rect">
            <a:avLst/>
          </a:prstGeom>
        </p:spPr>
      </p:pic>
    </p:spTree>
    <p:extLst>
      <p:ext uri="{BB962C8B-B14F-4D97-AF65-F5344CB8AC3E}">
        <p14:creationId xmlns:p14="http://schemas.microsoft.com/office/powerpoint/2010/main" val="102721395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Break - Accent Color 01">
    <p:spTree>
      <p:nvGrpSpPr>
        <p:cNvPr id="1" name=""/>
        <p:cNvGrpSpPr/>
        <p:nvPr/>
      </p:nvGrpSpPr>
      <p:grpSpPr>
        <a:xfrm>
          <a:off x="0" y="0"/>
          <a:ext cx="0" cy="0"/>
          <a:chOff x="0" y="0"/>
          <a:chExt cx="0" cy="0"/>
        </a:xfrm>
      </p:grpSpPr>
      <p:sp>
        <p:nvSpPr>
          <p:cNvPr id="4" name="Rectangle 3"/>
          <p:cNvSpPr/>
          <p:nvPr userDrawn="1"/>
        </p:nvSpPr>
        <p:spPr>
          <a:xfrm>
            <a:off x="0" y="2078182"/>
            <a:ext cx="12192000" cy="2514600"/>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5" name="Rectangle 4"/>
          <p:cNvSpPr/>
          <p:nvPr userDrawn="1"/>
        </p:nvSpPr>
        <p:spPr>
          <a:xfrm>
            <a:off x="0" y="4532998"/>
            <a:ext cx="12192000" cy="73152"/>
          </a:xfrm>
          <a:prstGeom prst="rect">
            <a:avLst/>
          </a:prstGeom>
          <a:solidFill>
            <a:srgbClr val="1573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cxnSp>
        <p:nvCxnSpPr>
          <p:cNvPr id="6" name="Straight Connector 5"/>
          <p:cNvCxnSpPr/>
          <p:nvPr userDrawn="1"/>
        </p:nvCxnSpPr>
        <p:spPr>
          <a:xfrm>
            <a:off x="472791" y="2753758"/>
            <a:ext cx="4174448"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0" name="Slide Number Placeholder 6"/>
          <p:cNvSpPr>
            <a:spLocks noGrp="1"/>
          </p:cNvSpPr>
          <p:nvPr>
            <p:ph type="sldNum" sz="quarter" idx="12"/>
          </p:nvPr>
        </p:nvSpPr>
        <p:spPr>
          <a:xfrm>
            <a:off x="342240" y="6356358"/>
            <a:ext cx="2844800" cy="365125"/>
          </a:xfrm>
        </p:spPr>
        <p:txBody>
          <a:bodyPr/>
          <a:lstStyle/>
          <a:p>
            <a:fld id="{BEEE3D23-30C1-F34A-B827-52BBC0B19443}" type="slidenum">
              <a:rPr lang="en-US" smtClean="0"/>
              <a:t>‹#›</a:t>
            </a:fld>
            <a:endParaRPr lang="en-US"/>
          </a:p>
        </p:txBody>
      </p:sp>
      <p:sp>
        <p:nvSpPr>
          <p:cNvPr id="12" name="Title 1"/>
          <p:cNvSpPr>
            <a:spLocks noGrp="1"/>
          </p:cNvSpPr>
          <p:nvPr>
            <p:ph type="title"/>
          </p:nvPr>
        </p:nvSpPr>
        <p:spPr>
          <a:xfrm>
            <a:off x="324851" y="2824376"/>
            <a:ext cx="5949402" cy="1346575"/>
          </a:xfrm>
        </p:spPr>
        <p:txBody>
          <a:bodyPr>
            <a:noAutofit/>
          </a:bodyPr>
          <a:lstStyle>
            <a:lvl1pPr>
              <a:defRPr sz="3939">
                <a:solidFill>
                  <a:schemeClr val="bg1"/>
                </a:solidFill>
              </a:defRPr>
            </a:lvl1pPr>
          </a:lstStyle>
          <a:p>
            <a:r>
              <a:rPr lang="en-US"/>
              <a:t>Click to edit Master title style</a:t>
            </a:r>
          </a:p>
        </p:txBody>
      </p:sp>
      <p:pic>
        <p:nvPicPr>
          <p:cNvPr id="8" name="Picture 7">
            <a:extLst>
              <a:ext uri="{FF2B5EF4-FFF2-40B4-BE49-F238E27FC236}">
                <a16:creationId xmlns:a16="http://schemas.microsoft.com/office/drawing/2014/main" id="{DEB85114-7622-419D-B1AC-F15A45CA6BF5}"/>
              </a:ext>
            </a:extLst>
          </p:cNvPr>
          <p:cNvPicPr>
            <a:picLocks noChangeAspect="1"/>
          </p:cNvPicPr>
          <p:nvPr userDrawn="1"/>
        </p:nvPicPr>
        <p:blipFill>
          <a:blip r:embed="rId2" cstate="screen">
            <a:alphaModFix amt="35000"/>
            <a:extLst>
              <a:ext uri="{28A0092B-C50C-407E-A947-70E740481C1C}">
                <a14:useLocalDpi xmlns:a14="http://schemas.microsoft.com/office/drawing/2010/main"/>
              </a:ext>
            </a:extLst>
          </a:blip>
          <a:stretch>
            <a:fillRect/>
          </a:stretch>
        </p:blipFill>
        <p:spPr>
          <a:xfrm>
            <a:off x="7374239" y="1937050"/>
            <a:ext cx="4492910" cy="3324425"/>
          </a:xfrm>
          <a:prstGeom prst="rect">
            <a:avLst/>
          </a:prstGeom>
        </p:spPr>
      </p:pic>
    </p:spTree>
    <p:extLst>
      <p:ext uri="{BB962C8B-B14F-4D97-AF65-F5344CB8AC3E}">
        <p14:creationId xmlns:p14="http://schemas.microsoft.com/office/powerpoint/2010/main" val="309371823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Break - Accent Color 02">
    <p:spTree>
      <p:nvGrpSpPr>
        <p:cNvPr id="1" name=""/>
        <p:cNvGrpSpPr/>
        <p:nvPr/>
      </p:nvGrpSpPr>
      <p:grpSpPr>
        <a:xfrm>
          <a:off x="0" y="0"/>
          <a:ext cx="0" cy="0"/>
          <a:chOff x="0" y="0"/>
          <a:chExt cx="0" cy="0"/>
        </a:xfrm>
      </p:grpSpPr>
      <p:sp>
        <p:nvSpPr>
          <p:cNvPr id="18" name="Rectangle 17"/>
          <p:cNvSpPr/>
          <p:nvPr userDrawn="1"/>
        </p:nvSpPr>
        <p:spPr>
          <a:xfrm>
            <a:off x="0" y="2078182"/>
            <a:ext cx="12192000" cy="2514600"/>
          </a:xfrm>
          <a:prstGeom prst="rect">
            <a:avLst/>
          </a:prstGeom>
          <a:solidFill>
            <a:srgbClr val="2A346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24" name="Rectangle 23"/>
          <p:cNvSpPr/>
          <p:nvPr userDrawn="1"/>
        </p:nvSpPr>
        <p:spPr>
          <a:xfrm>
            <a:off x="0" y="4546366"/>
            <a:ext cx="12192000" cy="73152"/>
          </a:xfrm>
          <a:prstGeom prst="rect">
            <a:avLst/>
          </a:prstGeom>
          <a:solidFill>
            <a:srgbClr val="1573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cxnSp>
        <p:nvCxnSpPr>
          <p:cNvPr id="20" name="Straight Connector 19"/>
          <p:cNvCxnSpPr/>
          <p:nvPr userDrawn="1"/>
        </p:nvCxnSpPr>
        <p:spPr>
          <a:xfrm>
            <a:off x="472791" y="2753758"/>
            <a:ext cx="4174448"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userDrawn="1"/>
        </p:nvCxnSpPr>
        <p:spPr>
          <a:xfrm>
            <a:off x="472791" y="2753758"/>
            <a:ext cx="4174448"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Slide Number Placeholder 6"/>
          <p:cNvSpPr>
            <a:spLocks noGrp="1"/>
          </p:cNvSpPr>
          <p:nvPr>
            <p:ph type="sldNum" sz="quarter" idx="12"/>
          </p:nvPr>
        </p:nvSpPr>
        <p:spPr>
          <a:xfrm>
            <a:off x="342240" y="6356358"/>
            <a:ext cx="2844800" cy="365125"/>
          </a:xfrm>
        </p:spPr>
        <p:txBody>
          <a:bodyPr/>
          <a:lstStyle/>
          <a:p>
            <a:fld id="{BEEE3D23-30C1-F34A-B827-52BBC0B19443}" type="slidenum">
              <a:rPr lang="en-US" smtClean="0"/>
              <a:t>‹#›</a:t>
            </a:fld>
            <a:endParaRPr lang="en-US"/>
          </a:p>
        </p:txBody>
      </p:sp>
      <p:sp>
        <p:nvSpPr>
          <p:cNvPr id="26" name="Title 1"/>
          <p:cNvSpPr>
            <a:spLocks noGrp="1"/>
          </p:cNvSpPr>
          <p:nvPr>
            <p:ph type="title"/>
          </p:nvPr>
        </p:nvSpPr>
        <p:spPr>
          <a:xfrm>
            <a:off x="324851" y="2824376"/>
            <a:ext cx="5949402" cy="1346575"/>
          </a:xfrm>
        </p:spPr>
        <p:txBody>
          <a:bodyPr>
            <a:noAutofit/>
          </a:bodyPr>
          <a:lstStyle>
            <a:lvl1pPr>
              <a:defRPr sz="3939">
                <a:solidFill>
                  <a:schemeClr val="bg1"/>
                </a:solidFill>
              </a:defRPr>
            </a:lvl1pPr>
          </a:lstStyle>
          <a:p>
            <a:r>
              <a:rPr lang="en-US"/>
              <a:t>Click to edit Master title style</a:t>
            </a:r>
          </a:p>
        </p:txBody>
      </p:sp>
      <p:pic>
        <p:nvPicPr>
          <p:cNvPr id="10" name="Picture 9">
            <a:extLst>
              <a:ext uri="{FF2B5EF4-FFF2-40B4-BE49-F238E27FC236}">
                <a16:creationId xmlns:a16="http://schemas.microsoft.com/office/drawing/2014/main" id="{8196C54B-284A-41BD-A378-60BCF994C283}"/>
              </a:ext>
            </a:extLst>
          </p:cNvPr>
          <p:cNvPicPr>
            <a:picLocks noChangeAspect="1"/>
          </p:cNvPicPr>
          <p:nvPr userDrawn="1"/>
        </p:nvPicPr>
        <p:blipFill>
          <a:blip r:embed="rId2" cstate="screen">
            <a:alphaModFix amt="35000"/>
            <a:extLst>
              <a:ext uri="{28A0092B-C50C-407E-A947-70E740481C1C}">
                <a14:useLocalDpi xmlns:a14="http://schemas.microsoft.com/office/drawing/2010/main"/>
              </a:ext>
            </a:extLst>
          </a:blip>
          <a:stretch>
            <a:fillRect/>
          </a:stretch>
        </p:blipFill>
        <p:spPr>
          <a:xfrm>
            <a:off x="7374239" y="1937050"/>
            <a:ext cx="4492910" cy="3324425"/>
          </a:xfrm>
          <a:prstGeom prst="rect">
            <a:avLst/>
          </a:prstGeom>
        </p:spPr>
      </p:pic>
    </p:spTree>
    <p:extLst>
      <p:ext uri="{BB962C8B-B14F-4D97-AF65-F5344CB8AC3E}">
        <p14:creationId xmlns:p14="http://schemas.microsoft.com/office/powerpoint/2010/main" val="31325382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B653680-D897-444C-9CBA-40DF2BC795FA}"/>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cxnSp>
        <p:nvCxnSpPr>
          <p:cNvPr id="9" name="Straight Connector 8"/>
          <p:cNvCxnSpPr/>
          <p:nvPr userDrawn="1"/>
        </p:nvCxnSpPr>
        <p:spPr>
          <a:xfrm>
            <a:off x="595729" y="1288310"/>
            <a:ext cx="4174448" cy="0"/>
          </a:xfrm>
          <a:prstGeom prst="line">
            <a:avLst/>
          </a:prstGeom>
          <a:ln w="28575" cmpd="sng">
            <a:solidFill>
              <a:srgbClr val="1562AF"/>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ctrTitle"/>
          </p:nvPr>
        </p:nvSpPr>
        <p:spPr>
          <a:xfrm>
            <a:off x="595730" y="1345036"/>
            <a:ext cx="10971428" cy="602536"/>
          </a:xfrm>
        </p:spPr>
        <p:txBody>
          <a:bodyPr lIns="0" tIns="0" rIns="0" bIns="0" anchor="t">
            <a:noAutofit/>
          </a:bodyPr>
          <a:lstStyle>
            <a:lvl1pPr algn="l">
              <a:defRPr sz="3939">
                <a:latin typeface="Arial"/>
                <a:cs typeface="Arial"/>
              </a:defRPr>
            </a:lvl1pPr>
          </a:lstStyle>
          <a:p>
            <a:endParaRPr lang="en-US" b="1">
              <a:solidFill>
                <a:srgbClr val="1573C5"/>
              </a:solidFill>
              <a:latin typeface="Arial"/>
              <a:cs typeface="Arial"/>
            </a:endParaRPr>
          </a:p>
        </p:txBody>
      </p:sp>
      <p:sp>
        <p:nvSpPr>
          <p:cNvPr id="3" name="Subtitle 2"/>
          <p:cNvSpPr>
            <a:spLocks noGrp="1"/>
          </p:cNvSpPr>
          <p:nvPr>
            <p:ph type="subTitle" idx="1"/>
          </p:nvPr>
        </p:nvSpPr>
        <p:spPr>
          <a:xfrm>
            <a:off x="595730" y="2654592"/>
            <a:ext cx="10971428" cy="649843"/>
          </a:xfrm>
        </p:spPr>
        <p:txBody>
          <a:bodyPr lIns="0" tIns="0" rIns="0" bIns="0">
            <a:noAutofit/>
          </a:bodyPr>
          <a:lstStyle>
            <a:lvl1pPr marL="0" indent="0" algn="l">
              <a:buNone/>
              <a:defRPr sz="1969" b="1">
                <a:solidFill>
                  <a:schemeClr val="tx1">
                    <a:tint val="75000"/>
                  </a:schemeClr>
                </a:solidFill>
                <a:latin typeface="Arial"/>
                <a:cs typeface="Arial"/>
              </a:defRPr>
            </a:lvl1pPr>
            <a:lvl2pPr marL="562733" indent="0" algn="ctr">
              <a:buNone/>
              <a:defRPr>
                <a:solidFill>
                  <a:schemeClr val="tx1">
                    <a:tint val="75000"/>
                  </a:schemeClr>
                </a:solidFill>
              </a:defRPr>
            </a:lvl2pPr>
            <a:lvl3pPr marL="1125466" indent="0" algn="ctr">
              <a:buNone/>
              <a:defRPr>
                <a:solidFill>
                  <a:schemeClr val="tx1">
                    <a:tint val="75000"/>
                  </a:schemeClr>
                </a:solidFill>
              </a:defRPr>
            </a:lvl3pPr>
            <a:lvl4pPr marL="1688197" indent="0" algn="ctr">
              <a:buNone/>
              <a:defRPr>
                <a:solidFill>
                  <a:schemeClr val="tx1">
                    <a:tint val="75000"/>
                  </a:schemeClr>
                </a:solidFill>
              </a:defRPr>
            </a:lvl4pPr>
            <a:lvl5pPr marL="2250930" indent="0" algn="ctr">
              <a:buNone/>
              <a:defRPr>
                <a:solidFill>
                  <a:schemeClr val="tx1">
                    <a:tint val="75000"/>
                  </a:schemeClr>
                </a:solidFill>
              </a:defRPr>
            </a:lvl5pPr>
            <a:lvl6pPr marL="2813663" indent="0" algn="ctr">
              <a:buNone/>
              <a:defRPr>
                <a:solidFill>
                  <a:schemeClr val="tx1">
                    <a:tint val="75000"/>
                  </a:schemeClr>
                </a:solidFill>
              </a:defRPr>
            </a:lvl6pPr>
            <a:lvl7pPr marL="3376397" indent="0" algn="ctr">
              <a:buNone/>
              <a:defRPr>
                <a:solidFill>
                  <a:schemeClr val="tx1">
                    <a:tint val="75000"/>
                  </a:schemeClr>
                </a:solidFill>
              </a:defRPr>
            </a:lvl7pPr>
            <a:lvl8pPr marL="3939127" indent="0" algn="ctr">
              <a:buNone/>
              <a:defRPr>
                <a:solidFill>
                  <a:schemeClr val="tx1">
                    <a:tint val="75000"/>
                  </a:schemeClr>
                </a:solidFill>
              </a:defRPr>
            </a:lvl8pPr>
            <a:lvl9pPr marL="4501860" indent="0" algn="ctr">
              <a:buNone/>
              <a:defRPr>
                <a:solidFill>
                  <a:schemeClr val="tx1">
                    <a:tint val="75000"/>
                  </a:schemeClr>
                </a:solidFill>
              </a:defRPr>
            </a:lvl9pPr>
          </a:lstStyle>
          <a:p>
            <a:endParaRPr lang="en-US"/>
          </a:p>
        </p:txBody>
      </p:sp>
      <p:grpSp>
        <p:nvGrpSpPr>
          <p:cNvPr id="10" name="Group 9"/>
          <p:cNvGrpSpPr/>
          <p:nvPr userDrawn="1"/>
        </p:nvGrpSpPr>
        <p:grpSpPr>
          <a:xfrm>
            <a:off x="5" y="6792455"/>
            <a:ext cx="12191999" cy="73745"/>
            <a:chOff x="1" y="6792449"/>
            <a:chExt cx="9143999" cy="73745"/>
          </a:xfrm>
        </p:grpSpPr>
        <p:sp>
          <p:nvSpPr>
            <p:cNvPr id="11" name="Rectangle 10"/>
            <p:cNvSpPr/>
            <p:nvPr/>
          </p:nvSpPr>
          <p:spPr>
            <a:xfrm>
              <a:off x="5486400" y="6792449"/>
              <a:ext cx="1828800" cy="73745"/>
            </a:xfrm>
            <a:prstGeom prst="rect">
              <a:avLst/>
            </a:prstGeom>
            <a:solidFill>
              <a:srgbClr val="1740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2" name="Rectangle 11"/>
            <p:cNvSpPr/>
            <p:nvPr/>
          </p:nvSpPr>
          <p:spPr>
            <a:xfrm>
              <a:off x="1" y="6792449"/>
              <a:ext cx="1828800" cy="73745"/>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3" name="Rectangle 12"/>
            <p:cNvSpPr/>
            <p:nvPr/>
          </p:nvSpPr>
          <p:spPr>
            <a:xfrm>
              <a:off x="1828801" y="6792449"/>
              <a:ext cx="1828800" cy="73745"/>
            </a:xfrm>
            <a:prstGeom prst="rect">
              <a:avLst/>
            </a:prstGeom>
            <a:solidFill>
              <a:srgbClr val="2428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4" name="Rectangle 13"/>
            <p:cNvSpPr/>
            <p:nvPr/>
          </p:nvSpPr>
          <p:spPr>
            <a:xfrm>
              <a:off x="3657601" y="6792450"/>
              <a:ext cx="1828800" cy="73743"/>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5" name="Rectangle 14"/>
            <p:cNvSpPr/>
            <p:nvPr/>
          </p:nvSpPr>
          <p:spPr>
            <a:xfrm>
              <a:off x="7315200" y="6792450"/>
              <a:ext cx="1828800" cy="73743"/>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grpSp>
      <p:pic>
        <p:nvPicPr>
          <p:cNvPr id="5" name="Picture 4" descr="Logo&#10;&#10;Description automatically generated with medium confidence">
            <a:extLst>
              <a:ext uri="{FF2B5EF4-FFF2-40B4-BE49-F238E27FC236}">
                <a16:creationId xmlns:a16="http://schemas.microsoft.com/office/drawing/2014/main" id="{79750A60-D018-4E95-BB28-8BECE38605BD}"/>
              </a:ext>
            </a:extLst>
          </p:cNvPr>
          <p:cNvPicPr>
            <a:picLocks noChangeAspect="1"/>
          </p:cNvPicPr>
          <p:nvPr userDrawn="1"/>
        </p:nvPicPr>
        <p:blipFill>
          <a:blip r:embed="rId4"/>
          <a:stretch>
            <a:fillRect/>
          </a:stretch>
        </p:blipFill>
        <p:spPr>
          <a:xfrm>
            <a:off x="648375" y="399679"/>
            <a:ext cx="2973711" cy="597848"/>
          </a:xfrm>
          <a:prstGeom prst="rect">
            <a:avLst/>
          </a:prstGeom>
        </p:spPr>
      </p:pic>
    </p:spTree>
    <p:extLst>
      <p:ext uri="{BB962C8B-B14F-4D97-AF65-F5344CB8AC3E}">
        <p14:creationId xmlns:p14="http://schemas.microsoft.com/office/powerpoint/2010/main" val="322371246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Break - Accent Color 03">
    <p:spTree>
      <p:nvGrpSpPr>
        <p:cNvPr id="1" name=""/>
        <p:cNvGrpSpPr/>
        <p:nvPr/>
      </p:nvGrpSpPr>
      <p:grpSpPr>
        <a:xfrm>
          <a:off x="0" y="0"/>
          <a:ext cx="0" cy="0"/>
          <a:chOff x="0" y="0"/>
          <a:chExt cx="0" cy="0"/>
        </a:xfrm>
      </p:grpSpPr>
      <p:sp>
        <p:nvSpPr>
          <p:cNvPr id="5" name="Rectangle 4"/>
          <p:cNvSpPr/>
          <p:nvPr userDrawn="1"/>
        </p:nvSpPr>
        <p:spPr>
          <a:xfrm>
            <a:off x="0" y="2078182"/>
            <a:ext cx="12192000" cy="2514600"/>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6" name="Rectangle 15"/>
          <p:cNvSpPr/>
          <p:nvPr userDrawn="1"/>
        </p:nvSpPr>
        <p:spPr>
          <a:xfrm>
            <a:off x="0" y="4546366"/>
            <a:ext cx="12192000" cy="73152"/>
          </a:xfrm>
          <a:prstGeom prst="rect">
            <a:avLst/>
          </a:prstGeom>
          <a:solidFill>
            <a:srgbClr val="1573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cxnSp>
        <p:nvCxnSpPr>
          <p:cNvPr id="7" name="Straight Connector 6"/>
          <p:cNvCxnSpPr/>
          <p:nvPr userDrawn="1"/>
        </p:nvCxnSpPr>
        <p:spPr>
          <a:xfrm>
            <a:off x="472791" y="2753758"/>
            <a:ext cx="4174448"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Slide Number Placeholder 6"/>
          <p:cNvSpPr>
            <a:spLocks noGrp="1"/>
          </p:cNvSpPr>
          <p:nvPr>
            <p:ph type="sldNum" sz="quarter" idx="12"/>
          </p:nvPr>
        </p:nvSpPr>
        <p:spPr>
          <a:xfrm>
            <a:off x="342240" y="6356358"/>
            <a:ext cx="2844800" cy="365125"/>
          </a:xfrm>
        </p:spPr>
        <p:txBody>
          <a:bodyPr/>
          <a:lstStyle/>
          <a:p>
            <a:fld id="{BEEE3D23-30C1-F34A-B827-52BBC0B19443}" type="slidenum">
              <a:rPr lang="en-US" smtClean="0"/>
              <a:t>‹#›</a:t>
            </a:fld>
            <a:endParaRPr lang="en-US"/>
          </a:p>
        </p:txBody>
      </p:sp>
      <p:sp>
        <p:nvSpPr>
          <p:cNvPr id="17" name="Title 1"/>
          <p:cNvSpPr>
            <a:spLocks noGrp="1"/>
          </p:cNvSpPr>
          <p:nvPr>
            <p:ph type="title"/>
          </p:nvPr>
        </p:nvSpPr>
        <p:spPr>
          <a:xfrm>
            <a:off x="324851" y="2824376"/>
            <a:ext cx="5949402" cy="1346575"/>
          </a:xfrm>
        </p:spPr>
        <p:txBody>
          <a:bodyPr>
            <a:noAutofit/>
          </a:bodyPr>
          <a:lstStyle>
            <a:lvl1pPr>
              <a:defRPr sz="3939">
                <a:solidFill>
                  <a:schemeClr val="bg1"/>
                </a:solidFill>
              </a:defRPr>
            </a:lvl1pPr>
          </a:lstStyle>
          <a:p>
            <a:r>
              <a:rPr lang="en-US"/>
              <a:t>Click to edit Master title style</a:t>
            </a:r>
          </a:p>
        </p:txBody>
      </p:sp>
      <p:pic>
        <p:nvPicPr>
          <p:cNvPr id="10" name="Picture 9">
            <a:extLst>
              <a:ext uri="{FF2B5EF4-FFF2-40B4-BE49-F238E27FC236}">
                <a16:creationId xmlns:a16="http://schemas.microsoft.com/office/drawing/2014/main" id="{B2A739F8-C651-4461-BE32-FBAFE9FF2EEF}"/>
              </a:ext>
            </a:extLst>
          </p:cNvPr>
          <p:cNvPicPr>
            <a:picLocks noChangeAspect="1"/>
          </p:cNvPicPr>
          <p:nvPr userDrawn="1"/>
        </p:nvPicPr>
        <p:blipFill>
          <a:blip r:embed="rId2" cstate="screen">
            <a:alphaModFix amt="35000"/>
            <a:extLst>
              <a:ext uri="{28A0092B-C50C-407E-A947-70E740481C1C}">
                <a14:useLocalDpi xmlns:a14="http://schemas.microsoft.com/office/drawing/2010/main"/>
              </a:ext>
            </a:extLst>
          </a:blip>
          <a:stretch>
            <a:fillRect/>
          </a:stretch>
        </p:blipFill>
        <p:spPr>
          <a:xfrm>
            <a:off x="7374239" y="1937050"/>
            <a:ext cx="4492910" cy="3324425"/>
          </a:xfrm>
          <a:prstGeom prst="rect">
            <a:avLst/>
          </a:prstGeom>
        </p:spPr>
      </p:pic>
    </p:spTree>
    <p:extLst>
      <p:ext uri="{BB962C8B-B14F-4D97-AF65-F5344CB8AC3E}">
        <p14:creationId xmlns:p14="http://schemas.microsoft.com/office/powerpoint/2010/main" val="313253822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Break - Accent Color 04">
    <p:spTree>
      <p:nvGrpSpPr>
        <p:cNvPr id="1" name=""/>
        <p:cNvGrpSpPr/>
        <p:nvPr/>
      </p:nvGrpSpPr>
      <p:grpSpPr>
        <a:xfrm>
          <a:off x="0" y="0"/>
          <a:ext cx="0" cy="0"/>
          <a:chOff x="0" y="0"/>
          <a:chExt cx="0" cy="0"/>
        </a:xfrm>
      </p:grpSpPr>
      <p:sp>
        <p:nvSpPr>
          <p:cNvPr id="5" name="Rectangle 4"/>
          <p:cNvSpPr/>
          <p:nvPr userDrawn="1"/>
        </p:nvSpPr>
        <p:spPr>
          <a:xfrm>
            <a:off x="0" y="2078182"/>
            <a:ext cx="12192000" cy="2514600"/>
          </a:xfrm>
          <a:prstGeom prst="rect">
            <a:avLst/>
          </a:prstGeom>
          <a:solidFill>
            <a:srgbClr val="1740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1" name="Rectangle 10"/>
          <p:cNvSpPr/>
          <p:nvPr userDrawn="1"/>
        </p:nvSpPr>
        <p:spPr>
          <a:xfrm>
            <a:off x="0" y="4546366"/>
            <a:ext cx="12192000" cy="73152"/>
          </a:xfrm>
          <a:prstGeom prst="rect">
            <a:avLst/>
          </a:prstGeom>
          <a:solidFill>
            <a:srgbClr val="1573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3" name="Slide Number Placeholder 2"/>
          <p:cNvSpPr>
            <a:spLocks noGrp="1"/>
          </p:cNvSpPr>
          <p:nvPr>
            <p:ph type="sldNum" sz="quarter" idx="10"/>
          </p:nvPr>
        </p:nvSpPr>
        <p:spPr/>
        <p:txBody>
          <a:bodyPr/>
          <a:lstStyle/>
          <a:p>
            <a:fld id="{BEEE3D23-30C1-F34A-B827-52BBC0B19443}" type="slidenum">
              <a:rPr lang="en-US" smtClean="0"/>
              <a:pPr/>
              <a:t>‹#›</a:t>
            </a:fld>
            <a:endParaRPr lang="en-US"/>
          </a:p>
        </p:txBody>
      </p:sp>
      <p:cxnSp>
        <p:nvCxnSpPr>
          <p:cNvPr id="7" name="Straight Connector 6"/>
          <p:cNvCxnSpPr/>
          <p:nvPr userDrawn="1"/>
        </p:nvCxnSpPr>
        <p:spPr>
          <a:xfrm>
            <a:off x="472791" y="2753758"/>
            <a:ext cx="4174448"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Title 1"/>
          <p:cNvSpPr>
            <a:spLocks noGrp="1"/>
          </p:cNvSpPr>
          <p:nvPr>
            <p:ph type="title"/>
          </p:nvPr>
        </p:nvSpPr>
        <p:spPr>
          <a:xfrm>
            <a:off x="324851" y="2824376"/>
            <a:ext cx="5949402" cy="1346575"/>
          </a:xfrm>
        </p:spPr>
        <p:txBody>
          <a:bodyPr>
            <a:noAutofit/>
          </a:bodyPr>
          <a:lstStyle>
            <a:lvl1pPr>
              <a:defRPr sz="3939">
                <a:solidFill>
                  <a:schemeClr val="bg1"/>
                </a:solidFill>
              </a:defRPr>
            </a:lvl1pPr>
          </a:lstStyle>
          <a:p>
            <a:r>
              <a:rPr lang="en-US"/>
              <a:t>Click to edit Master title style</a:t>
            </a:r>
          </a:p>
        </p:txBody>
      </p:sp>
      <p:pic>
        <p:nvPicPr>
          <p:cNvPr id="9" name="Picture 8">
            <a:extLst>
              <a:ext uri="{FF2B5EF4-FFF2-40B4-BE49-F238E27FC236}">
                <a16:creationId xmlns:a16="http://schemas.microsoft.com/office/drawing/2014/main" id="{0B3F1FDD-C682-40F5-A4F0-9A55A4C6B0F2}"/>
              </a:ext>
            </a:extLst>
          </p:cNvPr>
          <p:cNvPicPr>
            <a:picLocks noChangeAspect="1"/>
          </p:cNvPicPr>
          <p:nvPr userDrawn="1"/>
        </p:nvPicPr>
        <p:blipFill>
          <a:blip r:embed="rId2" cstate="screen">
            <a:alphaModFix amt="35000"/>
            <a:extLst>
              <a:ext uri="{28A0092B-C50C-407E-A947-70E740481C1C}">
                <a14:useLocalDpi xmlns:a14="http://schemas.microsoft.com/office/drawing/2010/main"/>
              </a:ext>
            </a:extLst>
          </a:blip>
          <a:stretch>
            <a:fillRect/>
          </a:stretch>
        </p:blipFill>
        <p:spPr>
          <a:xfrm>
            <a:off x="7374239" y="1937050"/>
            <a:ext cx="4492910" cy="3324425"/>
          </a:xfrm>
          <a:prstGeom prst="rect">
            <a:avLst/>
          </a:prstGeom>
        </p:spPr>
      </p:pic>
    </p:spTree>
    <p:extLst>
      <p:ext uri="{BB962C8B-B14F-4D97-AF65-F5344CB8AC3E}">
        <p14:creationId xmlns:p14="http://schemas.microsoft.com/office/powerpoint/2010/main" val="179298640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Break - Accent Color 05">
    <p:spTree>
      <p:nvGrpSpPr>
        <p:cNvPr id="1" name=""/>
        <p:cNvGrpSpPr/>
        <p:nvPr/>
      </p:nvGrpSpPr>
      <p:grpSpPr>
        <a:xfrm>
          <a:off x="0" y="0"/>
          <a:ext cx="0" cy="0"/>
          <a:chOff x="0" y="0"/>
          <a:chExt cx="0" cy="0"/>
        </a:xfrm>
      </p:grpSpPr>
      <p:sp>
        <p:nvSpPr>
          <p:cNvPr id="5" name="Rectangle 4"/>
          <p:cNvSpPr/>
          <p:nvPr userDrawn="1"/>
        </p:nvSpPr>
        <p:spPr>
          <a:xfrm>
            <a:off x="0" y="2078182"/>
            <a:ext cx="12192000" cy="2514600"/>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1" name="Rectangle 10"/>
          <p:cNvSpPr/>
          <p:nvPr userDrawn="1"/>
        </p:nvSpPr>
        <p:spPr>
          <a:xfrm>
            <a:off x="0" y="4546366"/>
            <a:ext cx="12192000" cy="73152"/>
          </a:xfrm>
          <a:prstGeom prst="rect">
            <a:avLst/>
          </a:prstGeom>
          <a:solidFill>
            <a:srgbClr val="1573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3" name="Slide Number Placeholder 2"/>
          <p:cNvSpPr>
            <a:spLocks noGrp="1"/>
          </p:cNvSpPr>
          <p:nvPr>
            <p:ph type="sldNum" sz="quarter" idx="10"/>
          </p:nvPr>
        </p:nvSpPr>
        <p:spPr/>
        <p:txBody>
          <a:bodyPr/>
          <a:lstStyle/>
          <a:p>
            <a:fld id="{BEEE3D23-30C1-F34A-B827-52BBC0B19443}" type="slidenum">
              <a:rPr lang="en-US" smtClean="0"/>
              <a:pPr/>
              <a:t>‹#›</a:t>
            </a:fld>
            <a:endParaRPr lang="en-US"/>
          </a:p>
        </p:txBody>
      </p:sp>
      <p:cxnSp>
        <p:nvCxnSpPr>
          <p:cNvPr id="7" name="Straight Connector 6"/>
          <p:cNvCxnSpPr/>
          <p:nvPr userDrawn="1"/>
        </p:nvCxnSpPr>
        <p:spPr>
          <a:xfrm>
            <a:off x="472791" y="2753758"/>
            <a:ext cx="4174448"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Title 1"/>
          <p:cNvSpPr>
            <a:spLocks noGrp="1"/>
          </p:cNvSpPr>
          <p:nvPr>
            <p:ph type="title"/>
          </p:nvPr>
        </p:nvSpPr>
        <p:spPr>
          <a:xfrm>
            <a:off x="324851" y="2824376"/>
            <a:ext cx="5949402" cy="1346575"/>
          </a:xfrm>
        </p:spPr>
        <p:txBody>
          <a:bodyPr>
            <a:noAutofit/>
          </a:bodyPr>
          <a:lstStyle>
            <a:lvl1pPr>
              <a:defRPr sz="3939">
                <a:solidFill>
                  <a:schemeClr val="bg1"/>
                </a:solidFill>
              </a:defRPr>
            </a:lvl1pPr>
          </a:lstStyle>
          <a:p>
            <a:r>
              <a:rPr lang="en-US"/>
              <a:t>Click to edit Master title style</a:t>
            </a:r>
          </a:p>
        </p:txBody>
      </p:sp>
      <p:pic>
        <p:nvPicPr>
          <p:cNvPr id="9" name="Picture 8">
            <a:extLst>
              <a:ext uri="{FF2B5EF4-FFF2-40B4-BE49-F238E27FC236}">
                <a16:creationId xmlns:a16="http://schemas.microsoft.com/office/drawing/2014/main" id="{35232120-72FA-41D4-88AB-D6AA1F9BE48C}"/>
              </a:ext>
            </a:extLst>
          </p:cNvPr>
          <p:cNvPicPr>
            <a:picLocks noChangeAspect="1"/>
          </p:cNvPicPr>
          <p:nvPr userDrawn="1"/>
        </p:nvPicPr>
        <p:blipFill>
          <a:blip r:embed="rId2" cstate="screen">
            <a:alphaModFix amt="35000"/>
            <a:extLst>
              <a:ext uri="{28A0092B-C50C-407E-A947-70E740481C1C}">
                <a14:useLocalDpi xmlns:a14="http://schemas.microsoft.com/office/drawing/2010/main"/>
              </a:ext>
            </a:extLst>
          </a:blip>
          <a:stretch>
            <a:fillRect/>
          </a:stretch>
        </p:blipFill>
        <p:spPr>
          <a:xfrm>
            <a:off x="7374239" y="1937050"/>
            <a:ext cx="4492910" cy="3324425"/>
          </a:xfrm>
          <a:prstGeom prst="rect">
            <a:avLst/>
          </a:prstGeom>
        </p:spPr>
      </p:pic>
    </p:spTree>
    <p:extLst>
      <p:ext uri="{BB962C8B-B14F-4D97-AF65-F5344CB8AC3E}">
        <p14:creationId xmlns:p14="http://schemas.microsoft.com/office/powerpoint/2010/main" val="398312855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Body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Slide Number Placeholder 5"/>
          <p:cNvSpPr>
            <a:spLocks noGrp="1"/>
          </p:cNvSpPr>
          <p:nvPr>
            <p:ph type="sldNum" sz="quarter" idx="12"/>
          </p:nvPr>
        </p:nvSpPr>
        <p:spPr/>
        <p:txBody>
          <a:bodyPr/>
          <a:lstStyle/>
          <a:p>
            <a:fld id="{2066355A-084C-D24E-9AD2-7E4FC41EA627}" type="slidenum">
              <a:rPr lang="en-US" smtClean="0"/>
              <a:pPr/>
              <a:t>‹#›</a:t>
            </a:fld>
            <a:endParaRPr lang="en-US"/>
          </a:p>
        </p:txBody>
      </p:sp>
    </p:spTree>
    <p:extLst>
      <p:ext uri="{BB962C8B-B14F-4D97-AF65-F5344CB8AC3E}">
        <p14:creationId xmlns:p14="http://schemas.microsoft.com/office/powerpoint/2010/main" val="6218498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69EE29D-97E5-4EAE-BA26-C4FCAA049970}"/>
              </a:ext>
            </a:extLst>
          </p:cNvPr>
          <p:cNvSpPr>
            <a:spLocks noGrp="1"/>
          </p:cNvSpPr>
          <p:nvPr>
            <p:ph type="sldNum" sz="quarter" idx="10"/>
          </p:nvPr>
        </p:nvSpPr>
        <p:spPr/>
        <p:txBody>
          <a:bodyPr/>
          <a:lstStyle/>
          <a:p>
            <a:fld id="{4F1FA912-FC24-3D46-8310-EAE10B51E2A1}" type="slidenum">
              <a:rPr lang="en-US" smtClean="0"/>
              <a:t>‹#›</a:t>
            </a:fld>
            <a:endParaRPr lang="en-US"/>
          </a:p>
        </p:txBody>
      </p:sp>
    </p:spTree>
    <p:extLst>
      <p:ext uri="{BB962C8B-B14F-4D97-AF65-F5344CB8AC3E}">
        <p14:creationId xmlns:p14="http://schemas.microsoft.com/office/powerpoint/2010/main" val="294177844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9186C554-4180-440F-95DD-93ED44D18809}"/>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cxnSp>
        <p:nvCxnSpPr>
          <p:cNvPr id="9" name="Straight Connector 8"/>
          <p:cNvCxnSpPr/>
          <p:nvPr userDrawn="1"/>
        </p:nvCxnSpPr>
        <p:spPr>
          <a:xfrm>
            <a:off x="595729" y="1288310"/>
            <a:ext cx="4174448" cy="0"/>
          </a:xfrm>
          <a:prstGeom prst="line">
            <a:avLst/>
          </a:prstGeom>
          <a:ln w="28575" cmpd="sng">
            <a:solidFill>
              <a:srgbClr val="1562AF"/>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ctrTitle"/>
          </p:nvPr>
        </p:nvSpPr>
        <p:spPr>
          <a:xfrm>
            <a:off x="595730" y="1345036"/>
            <a:ext cx="10971428" cy="602536"/>
          </a:xfrm>
        </p:spPr>
        <p:txBody>
          <a:bodyPr lIns="0" tIns="0" rIns="0" bIns="0" anchor="t">
            <a:noAutofit/>
          </a:bodyPr>
          <a:lstStyle>
            <a:lvl1pPr algn="l">
              <a:defRPr sz="3939">
                <a:latin typeface="Arial"/>
                <a:cs typeface="Arial"/>
              </a:defRPr>
            </a:lvl1pPr>
          </a:lstStyle>
          <a:p>
            <a:r>
              <a:rPr lang="en-US" b="1">
                <a:solidFill>
                  <a:srgbClr val="1573C5"/>
                </a:solidFill>
                <a:latin typeface="Arial"/>
                <a:cs typeface="Arial"/>
              </a:rPr>
              <a:t>Click to edit Master title style</a:t>
            </a:r>
          </a:p>
        </p:txBody>
      </p:sp>
      <p:sp>
        <p:nvSpPr>
          <p:cNvPr id="3" name="Subtitle 2"/>
          <p:cNvSpPr>
            <a:spLocks noGrp="1"/>
          </p:cNvSpPr>
          <p:nvPr>
            <p:ph type="subTitle" idx="1"/>
          </p:nvPr>
        </p:nvSpPr>
        <p:spPr>
          <a:xfrm>
            <a:off x="595730" y="2616881"/>
            <a:ext cx="10971428" cy="649843"/>
          </a:xfrm>
        </p:spPr>
        <p:txBody>
          <a:bodyPr lIns="0" rIns="0">
            <a:noAutofit/>
          </a:bodyPr>
          <a:lstStyle>
            <a:lvl1pPr marL="0" indent="0" algn="l">
              <a:buNone/>
              <a:defRPr sz="1969" b="1">
                <a:solidFill>
                  <a:schemeClr val="tx1">
                    <a:tint val="75000"/>
                  </a:schemeClr>
                </a:solidFill>
                <a:latin typeface="Arial"/>
                <a:cs typeface="Arial"/>
              </a:defRPr>
            </a:lvl1pPr>
            <a:lvl2pPr marL="562733" indent="0" algn="ctr">
              <a:buNone/>
              <a:defRPr>
                <a:solidFill>
                  <a:schemeClr val="tx1">
                    <a:tint val="75000"/>
                  </a:schemeClr>
                </a:solidFill>
              </a:defRPr>
            </a:lvl2pPr>
            <a:lvl3pPr marL="1125466" indent="0" algn="ctr">
              <a:buNone/>
              <a:defRPr>
                <a:solidFill>
                  <a:schemeClr val="tx1">
                    <a:tint val="75000"/>
                  </a:schemeClr>
                </a:solidFill>
              </a:defRPr>
            </a:lvl3pPr>
            <a:lvl4pPr marL="1688197" indent="0" algn="ctr">
              <a:buNone/>
              <a:defRPr>
                <a:solidFill>
                  <a:schemeClr val="tx1">
                    <a:tint val="75000"/>
                  </a:schemeClr>
                </a:solidFill>
              </a:defRPr>
            </a:lvl4pPr>
            <a:lvl5pPr marL="2250930" indent="0" algn="ctr">
              <a:buNone/>
              <a:defRPr>
                <a:solidFill>
                  <a:schemeClr val="tx1">
                    <a:tint val="75000"/>
                  </a:schemeClr>
                </a:solidFill>
              </a:defRPr>
            </a:lvl5pPr>
            <a:lvl6pPr marL="2813663" indent="0" algn="ctr">
              <a:buNone/>
              <a:defRPr>
                <a:solidFill>
                  <a:schemeClr val="tx1">
                    <a:tint val="75000"/>
                  </a:schemeClr>
                </a:solidFill>
              </a:defRPr>
            </a:lvl6pPr>
            <a:lvl7pPr marL="3376397" indent="0" algn="ctr">
              <a:buNone/>
              <a:defRPr>
                <a:solidFill>
                  <a:schemeClr val="tx1">
                    <a:tint val="75000"/>
                  </a:schemeClr>
                </a:solidFill>
              </a:defRPr>
            </a:lvl7pPr>
            <a:lvl8pPr marL="3939127" indent="0" algn="ctr">
              <a:buNone/>
              <a:defRPr>
                <a:solidFill>
                  <a:schemeClr val="tx1">
                    <a:tint val="75000"/>
                  </a:schemeClr>
                </a:solidFill>
              </a:defRPr>
            </a:lvl8pPr>
            <a:lvl9pPr marL="4501860" indent="0" algn="ctr">
              <a:buNone/>
              <a:defRPr>
                <a:solidFill>
                  <a:schemeClr val="tx1">
                    <a:tint val="75000"/>
                  </a:schemeClr>
                </a:solidFill>
              </a:defRPr>
            </a:lvl9pPr>
          </a:lstStyle>
          <a:p>
            <a:r>
              <a:rPr lang="en-US"/>
              <a:t>Click to edit Master subtitle style</a:t>
            </a:r>
          </a:p>
        </p:txBody>
      </p:sp>
      <p:grpSp>
        <p:nvGrpSpPr>
          <p:cNvPr id="10" name="Group 9"/>
          <p:cNvGrpSpPr/>
          <p:nvPr userDrawn="1"/>
        </p:nvGrpSpPr>
        <p:grpSpPr>
          <a:xfrm>
            <a:off x="5" y="6792455"/>
            <a:ext cx="12191999" cy="73745"/>
            <a:chOff x="1" y="6792449"/>
            <a:chExt cx="9143999" cy="73745"/>
          </a:xfrm>
        </p:grpSpPr>
        <p:sp>
          <p:nvSpPr>
            <p:cNvPr id="11" name="Rectangle 10"/>
            <p:cNvSpPr/>
            <p:nvPr/>
          </p:nvSpPr>
          <p:spPr>
            <a:xfrm>
              <a:off x="5486400" y="6792449"/>
              <a:ext cx="1828800" cy="73745"/>
            </a:xfrm>
            <a:prstGeom prst="rect">
              <a:avLst/>
            </a:prstGeom>
            <a:solidFill>
              <a:srgbClr val="1740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2" name="Rectangle 11"/>
            <p:cNvSpPr/>
            <p:nvPr/>
          </p:nvSpPr>
          <p:spPr>
            <a:xfrm>
              <a:off x="1" y="6792449"/>
              <a:ext cx="1828800" cy="73745"/>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3" name="Rectangle 12"/>
            <p:cNvSpPr/>
            <p:nvPr/>
          </p:nvSpPr>
          <p:spPr>
            <a:xfrm>
              <a:off x="1828801" y="6792449"/>
              <a:ext cx="1828800" cy="73745"/>
            </a:xfrm>
            <a:prstGeom prst="rect">
              <a:avLst/>
            </a:prstGeom>
            <a:solidFill>
              <a:srgbClr val="2428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4" name="Rectangle 13"/>
            <p:cNvSpPr/>
            <p:nvPr/>
          </p:nvSpPr>
          <p:spPr>
            <a:xfrm>
              <a:off x="3657601" y="6792450"/>
              <a:ext cx="1828800" cy="73743"/>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5" name="Rectangle 14"/>
            <p:cNvSpPr/>
            <p:nvPr/>
          </p:nvSpPr>
          <p:spPr>
            <a:xfrm>
              <a:off x="7315200" y="6792450"/>
              <a:ext cx="1828800" cy="73743"/>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grpSp>
      <p:sp>
        <p:nvSpPr>
          <p:cNvPr id="18" name="Rectangle 17">
            <a:extLst>
              <a:ext uri="{FF2B5EF4-FFF2-40B4-BE49-F238E27FC236}">
                <a16:creationId xmlns:a16="http://schemas.microsoft.com/office/drawing/2014/main" id="{E5173B9B-BE72-42C7-A148-B67DB546D627}"/>
              </a:ext>
            </a:extLst>
          </p:cNvPr>
          <p:cNvSpPr/>
          <p:nvPr userDrawn="1"/>
        </p:nvSpPr>
        <p:spPr>
          <a:xfrm>
            <a:off x="0" y="5708317"/>
            <a:ext cx="12192000" cy="1149684"/>
          </a:xfrm>
          <a:prstGeom prst="rect">
            <a:avLst/>
          </a:prstGeom>
          <a:solidFill>
            <a:srgbClr val="1573C5"/>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9" name="Text Placeholder 25">
            <a:extLst>
              <a:ext uri="{FF2B5EF4-FFF2-40B4-BE49-F238E27FC236}">
                <a16:creationId xmlns:a16="http://schemas.microsoft.com/office/drawing/2014/main" id="{25BB2BCF-2931-415B-8CD9-7AC14691D010}"/>
              </a:ext>
            </a:extLst>
          </p:cNvPr>
          <p:cNvSpPr>
            <a:spLocks noGrp="1"/>
          </p:cNvSpPr>
          <p:nvPr>
            <p:ph type="body" sz="quarter" idx="11" hasCustomPrompt="1"/>
          </p:nvPr>
        </p:nvSpPr>
        <p:spPr>
          <a:xfrm>
            <a:off x="758197" y="5882105"/>
            <a:ext cx="10971428" cy="735264"/>
          </a:xfrm>
        </p:spPr>
        <p:txBody>
          <a:bodyPr/>
          <a:lstStyle>
            <a:lvl1pPr marL="0" indent="0">
              <a:buNone/>
              <a:defRPr sz="1477">
                <a:solidFill>
                  <a:schemeClr val="bg1"/>
                </a:solidFill>
              </a:defRPr>
            </a:lvl1pPr>
            <a:lvl2pPr>
              <a:defRPr sz="1477">
                <a:solidFill>
                  <a:schemeClr val="bg1"/>
                </a:solidFill>
              </a:defRPr>
            </a:lvl2pPr>
            <a:lvl3pPr>
              <a:defRPr sz="1477">
                <a:solidFill>
                  <a:schemeClr val="bg1"/>
                </a:solidFill>
              </a:defRPr>
            </a:lvl3pPr>
            <a:lvl4pPr>
              <a:defRPr sz="1477">
                <a:solidFill>
                  <a:schemeClr val="bg1"/>
                </a:solidFill>
              </a:defRPr>
            </a:lvl4pPr>
            <a:lvl5pPr>
              <a:defRPr sz="1477">
                <a:solidFill>
                  <a:schemeClr val="bg1"/>
                </a:solidFill>
              </a:defRPr>
            </a:lvl5pPr>
          </a:lstStyle>
          <a:p>
            <a:pPr lvl="0"/>
            <a:r>
              <a:rPr lang="en-US"/>
              <a:t>PARTICIPANTS:</a:t>
            </a:r>
          </a:p>
        </p:txBody>
      </p:sp>
      <p:pic>
        <p:nvPicPr>
          <p:cNvPr id="17" name="Picture 16" descr="A picture containing logo&#10;&#10;Description automatically generated">
            <a:extLst>
              <a:ext uri="{FF2B5EF4-FFF2-40B4-BE49-F238E27FC236}">
                <a16:creationId xmlns:a16="http://schemas.microsoft.com/office/drawing/2014/main" id="{4EF30330-270C-4B27-AD99-7C1759AE1955}"/>
              </a:ext>
            </a:extLst>
          </p:cNvPr>
          <p:cNvPicPr>
            <a:picLocks noChangeAspect="1"/>
          </p:cNvPicPr>
          <p:nvPr userDrawn="1"/>
        </p:nvPicPr>
        <p:blipFill>
          <a:blip r:embed="rId4"/>
          <a:stretch>
            <a:fillRect/>
          </a:stretch>
        </p:blipFill>
        <p:spPr>
          <a:xfrm>
            <a:off x="495300" y="356924"/>
            <a:ext cx="2636955" cy="692201"/>
          </a:xfrm>
          <a:prstGeom prst="rect">
            <a:avLst/>
          </a:prstGeom>
        </p:spPr>
      </p:pic>
    </p:spTree>
    <p:extLst>
      <p:ext uri="{BB962C8B-B14F-4D97-AF65-F5344CB8AC3E}">
        <p14:creationId xmlns:p14="http://schemas.microsoft.com/office/powerpoint/2010/main" val="383909049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B653680-D897-444C-9CBA-40DF2BC795FA}"/>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cxnSp>
        <p:nvCxnSpPr>
          <p:cNvPr id="9" name="Straight Connector 8"/>
          <p:cNvCxnSpPr/>
          <p:nvPr userDrawn="1"/>
        </p:nvCxnSpPr>
        <p:spPr>
          <a:xfrm>
            <a:off x="595729" y="1288310"/>
            <a:ext cx="4174448" cy="0"/>
          </a:xfrm>
          <a:prstGeom prst="line">
            <a:avLst/>
          </a:prstGeom>
          <a:ln w="28575" cmpd="sng">
            <a:solidFill>
              <a:srgbClr val="1562AF"/>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ctrTitle"/>
          </p:nvPr>
        </p:nvSpPr>
        <p:spPr>
          <a:xfrm>
            <a:off x="595730" y="1345036"/>
            <a:ext cx="10971428" cy="602536"/>
          </a:xfrm>
        </p:spPr>
        <p:txBody>
          <a:bodyPr lIns="0" tIns="0" rIns="0" bIns="0" anchor="t">
            <a:noAutofit/>
          </a:bodyPr>
          <a:lstStyle>
            <a:lvl1pPr algn="l">
              <a:defRPr sz="3939">
                <a:latin typeface="Arial"/>
                <a:cs typeface="Arial"/>
              </a:defRPr>
            </a:lvl1pPr>
          </a:lstStyle>
          <a:p>
            <a:r>
              <a:rPr lang="en-US" b="1">
                <a:solidFill>
                  <a:srgbClr val="1573C5"/>
                </a:solidFill>
                <a:latin typeface="Arial"/>
                <a:cs typeface="Arial"/>
              </a:rPr>
              <a:t>Click to edit Master title style</a:t>
            </a:r>
          </a:p>
        </p:txBody>
      </p:sp>
      <p:sp>
        <p:nvSpPr>
          <p:cNvPr id="3" name="Subtitle 2"/>
          <p:cNvSpPr>
            <a:spLocks noGrp="1"/>
          </p:cNvSpPr>
          <p:nvPr>
            <p:ph type="subTitle" idx="1"/>
          </p:nvPr>
        </p:nvSpPr>
        <p:spPr>
          <a:xfrm>
            <a:off x="595730" y="2654592"/>
            <a:ext cx="10971428" cy="649843"/>
          </a:xfrm>
        </p:spPr>
        <p:txBody>
          <a:bodyPr lIns="0" tIns="0" rIns="0" bIns="0">
            <a:noAutofit/>
          </a:bodyPr>
          <a:lstStyle>
            <a:lvl1pPr marL="0" indent="0" algn="l">
              <a:buNone/>
              <a:defRPr sz="1969" b="1">
                <a:solidFill>
                  <a:schemeClr val="tx1">
                    <a:tint val="75000"/>
                  </a:schemeClr>
                </a:solidFill>
                <a:latin typeface="Arial"/>
                <a:cs typeface="Arial"/>
              </a:defRPr>
            </a:lvl1pPr>
            <a:lvl2pPr marL="562733" indent="0" algn="ctr">
              <a:buNone/>
              <a:defRPr>
                <a:solidFill>
                  <a:schemeClr val="tx1">
                    <a:tint val="75000"/>
                  </a:schemeClr>
                </a:solidFill>
              </a:defRPr>
            </a:lvl2pPr>
            <a:lvl3pPr marL="1125466" indent="0" algn="ctr">
              <a:buNone/>
              <a:defRPr>
                <a:solidFill>
                  <a:schemeClr val="tx1">
                    <a:tint val="75000"/>
                  </a:schemeClr>
                </a:solidFill>
              </a:defRPr>
            </a:lvl3pPr>
            <a:lvl4pPr marL="1688197" indent="0" algn="ctr">
              <a:buNone/>
              <a:defRPr>
                <a:solidFill>
                  <a:schemeClr val="tx1">
                    <a:tint val="75000"/>
                  </a:schemeClr>
                </a:solidFill>
              </a:defRPr>
            </a:lvl4pPr>
            <a:lvl5pPr marL="2250930" indent="0" algn="ctr">
              <a:buNone/>
              <a:defRPr>
                <a:solidFill>
                  <a:schemeClr val="tx1">
                    <a:tint val="75000"/>
                  </a:schemeClr>
                </a:solidFill>
              </a:defRPr>
            </a:lvl5pPr>
            <a:lvl6pPr marL="2813663" indent="0" algn="ctr">
              <a:buNone/>
              <a:defRPr>
                <a:solidFill>
                  <a:schemeClr val="tx1">
                    <a:tint val="75000"/>
                  </a:schemeClr>
                </a:solidFill>
              </a:defRPr>
            </a:lvl6pPr>
            <a:lvl7pPr marL="3376397" indent="0" algn="ctr">
              <a:buNone/>
              <a:defRPr>
                <a:solidFill>
                  <a:schemeClr val="tx1">
                    <a:tint val="75000"/>
                  </a:schemeClr>
                </a:solidFill>
              </a:defRPr>
            </a:lvl7pPr>
            <a:lvl8pPr marL="3939127" indent="0" algn="ctr">
              <a:buNone/>
              <a:defRPr>
                <a:solidFill>
                  <a:schemeClr val="tx1">
                    <a:tint val="75000"/>
                  </a:schemeClr>
                </a:solidFill>
              </a:defRPr>
            </a:lvl8pPr>
            <a:lvl9pPr marL="4501860" indent="0" algn="ctr">
              <a:buNone/>
              <a:defRPr>
                <a:solidFill>
                  <a:schemeClr val="tx1">
                    <a:tint val="75000"/>
                  </a:schemeClr>
                </a:solidFill>
              </a:defRPr>
            </a:lvl9pPr>
          </a:lstStyle>
          <a:p>
            <a:r>
              <a:rPr lang="en-US"/>
              <a:t>Click to edit Master subtitle style</a:t>
            </a:r>
          </a:p>
        </p:txBody>
      </p:sp>
      <p:grpSp>
        <p:nvGrpSpPr>
          <p:cNvPr id="10" name="Group 9"/>
          <p:cNvGrpSpPr/>
          <p:nvPr userDrawn="1"/>
        </p:nvGrpSpPr>
        <p:grpSpPr>
          <a:xfrm>
            <a:off x="5" y="6792455"/>
            <a:ext cx="12191999" cy="73745"/>
            <a:chOff x="1" y="6792449"/>
            <a:chExt cx="9143999" cy="73745"/>
          </a:xfrm>
        </p:grpSpPr>
        <p:sp>
          <p:nvSpPr>
            <p:cNvPr id="11" name="Rectangle 10"/>
            <p:cNvSpPr/>
            <p:nvPr/>
          </p:nvSpPr>
          <p:spPr>
            <a:xfrm>
              <a:off x="5486400" y="6792449"/>
              <a:ext cx="1828800" cy="73745"/>
            </a:xfrm>
            <a:prstGeom prst="rect">
              <a:avLst/>
            </a:prstGeom>
            <a:solidFill>
              <a:srgbClr val="1740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2" name="Rectangle 11"/>
            <p:cNvSpPr/>
            <p:nvPr/>
          </p:nvSpPr>
          <p:spPr>
            <a:xfrm>
              <a:off x="1" y="6792449"/>
              <a:ext cx="1828800" cy="73745"/>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3" name="Rectangle 12"/>
            <p:cNvSpPr/>
            <p:nvPr/>
          </p:nvSpPr>
          <p:spPr>
            <a:xfrm>
              <a:off x="1828801" y="6792449"/>
              <a:ext cx="1828800" cy="73745"/>
            </a:xfrm>
            <a:prstGeom prst="rect">
              <a:avLst/>
            </a:prstGeom>
            <a:solidFill>
              <a:srgbClr val="2428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4" name="Rectangle 13"/>
            <p:cNvSpPr/>
            <p:nvPr/>
          </p:nvSpPr>
          <p:spPr>
            <a:xfrm>
              <a:off x="3657601" y="6792450"/>
              <a:ext cx="1828800" cy="73743"/>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5" name="Rectangle 14"/>
            <p:cNvSpPr/>
            <p:nvPr/>
          </p:nvSpPr>
          <p:spPr>
            <a:xfrm>
              <a:off x="7315200" y="6792450"/>
              <a:ext cx="1828800" cy="73743"/>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grpSp>
      <p:pic>
        <p:nvPicPr>
          <p:cNvPr id="5" name="Picture 4" descr="Logo&#10;&#10;Description automatically generated">
            <a:extLst>
              <a:ext uri="{FF2B5EF4-FFF2-40B4-BE49-F238E27FC236}">
                <a16:creationId xmlns:a16="http://schemas.microsoft.com/office/drawing/2014/main" id="{0779EAD2-0EFE-4108-B30C-4D5B1388A83F}"/>
              </a:ext>
            </a:extLst>
          </p:cNvPr>
          <p:cNvPicPr>
            <a:picLocks noChangeAspect="1"/>
          </p:cNvPicPr>
          <p:nvPr userDrawn="1"/>
        </p:nvPicPr>
        <p:blipFill>
          <a:blip r:embed="rId4"/>
          <a:stretch>
            <a:fillRect/>
          </a:stretch>
        </p:blipFill>
        <p:spPr>
          <a:xfrm>
            <a:off x="520914" y="474862"/>
            <a:ext cx="2903926" cy="756723"/>
          </a:xfrm>
          <a:prstGeom prst="rect">
            <a:avLst/>
          </a:prstGeom>
        </p:spPr>
      </p:pic>
    </p:spTree>
    <p:extLst>
      <p:ext uri="{BB962C8B-B14F-4D97-AF65-F5344CB8AC3E}">
        <p14:creationId xmlns:p14="http://schemas.microsoft.com/office/powerpoint/2010/main" val="322371246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8_Title Slide">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5A09E980-CDB9-4B07-982F-FE663000E762}"/>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a:extLst>
              <a:ext uri="{FF2B5EF4-FFF2-40B4-BE49-F238E27FC236}">
                <a16:creationId xmlns:a16="http://schemas.microsoft.com/office/drawing/2014/main" id="{FAB8A9DD-AB8F-4138-9EA2-044B28DCCE09}"/>
              </a:ext>
            </a:extLst>
          </p:cNvPr>
          <p:cNvSpPr/>
          <p:nvPr userDrawn="1"/>
        </p:nvSpPr>
        <p:spPr>
          <a:xfrm>
            <a:off x="-1" y="-1"/>
            <a:ext cx="12192001" cy="6866199"/>
          </a:xfrm>
          <a:prstGeom prst="rect">
            <a:avLst/>
          </a:prstGeom>
          <a:solidFill>
            <a:srgbClr val="2A3469">
              <a:alpha val="89804"/>
            </a:srgb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600"/>
          </a:p>
        </p:txBody>
      </p:sp>
      <p:cxnSp>
        <p:nvCxnSpPr>
          <p:cNvPr id="9" name="Straight Connector 8"/>
          <p:cNvCxnSpPr/>
          <p:nvPr userDrawn="1"/>
        </p:nvCxnSpPr>
        <p:spPr>
          <a:xfrm>
            <a:off x="595729" y="1288310"/>
            <a:ext cx="4174448" cy="0"/>
          </a:xfrm>
          <a:prstGeom prst="line">
            <a:avLst/>
          </a:prstGeom>
          <a:ln w="28575"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ctrTitle"/>
          </p:nvPr>
        </p:nvSpPr>
        <p:spPr>
          <a:xfrm>
            <a:off x="595730" y="1345036"/>
            <a:ext cx="10971428" cy="602536"/>
          </a:xfrm>
        </p:spPr>
        <p:txBody>
          <a:bodyPr lIns="0" tIns="0" rIns="0" bIns="0" anchor="t">
            <a:noAutofit/>
          </a:bodyPr>
          <a:lstStyle>
            <a:lvl1pPr algn="l">
              <a:defRPr sz="3939">
                <a:solidFill>
                  <a:schemeClr val="bg1"/>
                </a:solidFill>
                <a:latin typeface="Arial"/>
                <a:cs typeface="Arial"/>
              </a:defRPr>
            </a:lvl1pPr>
          </a:lstStyle>
          <a:p>
            <a:r>
              <a:rPr lang="en-US" b="1">
                <a:solidFill>
                  <a:srgbClr val="1573C5"/>
                </a:solidFill>
                <a:latin typeface="Arial"/>
                <a:cs typeface="Arial"/>
              </a:rPr>
              <a:t>Click to edit Master title style</a:t>
            </a:r>
          </a:p>
        </p:txBody>
      </p:sp>
      <p:sp>
        <p:nvSpPr>
          <p:cNvPr id="3" name="Subtitle 2"/>
          <p:cNvSpPr>
            <a:spLocks noGrp="1"/>
          </p:cNvSpPr>
          <p:nvPr>
            <p:ph type="subTitle" idx="1"/>
          </p:nvPr>
        </p:nvSpPr>
        <p:spPr>
          <a:xfrm>
            <a:off x="595730" y="2656405"/>
            <a:ext cx="10971428" cy="649843"/>
          </a:xfrm>
        </p:spPr>
        <p:txBody>
          <a:bodyPr lIns="0" tIns="0" rIns="0" bIns="0">
            <a:noAutofit/>
          </a:bodyPr>
          <a:lstStyle>
            <a:lvl1pPr marL="0" indent="0" algn="l">
              <a:buNone/>
              <a:defRPr sz="1969" b="1">
                <a:solidFill>
                  <a:schemeClr val="bg1"/>
                </a:solidFill>
                <a:latin typeface="Arial"/>
                <a:cs typeface="Arial"/>
              </a:defRPr>
            </a:lvl1pPr>
            <a:lvl2pPr marL="562733" indent="0" algn="ctr">
              <a:buNone/>
              <a:defRPr>
                <a:solidFill>
                  <a:schemeClr val="tx1">
                    <a:tint val="75000"/>
                  </a:schemeClr>
                </a:solidFill>
              </a:defRPr>
            </a:lvl2pPr>
            <a:lvl3pPr marL="1125466" indent="0" algn="ctr">
              <a:buNone/>
              <a:defRPr>
                <a:solidFill>
                  <a:schemeClr val="tx1">
                    <a:tint val="75000"/>
                  </a:schemeClr>
                </a:solidFill>
              </a:defRPr>
            </a:lvl3pPr>
            <a:lvl4pPr marL="1688197" indent="0" algn="ctr">
              <a:buNone/>
              <a:defRPr>
                <a:solidFill>
                  <a:schemeClr val="tx1">
                    <a:tint val="75000"/>
                  </a:schemeClr>
                </a:solidFill>
              </a:defRPr>
            </a:lvl4pPr>
            <a:lvl5pPr marL="2250930" indent="0" algn="ctr">
              <a:buNone/>
              <a:defRPr>
                <a:solidFill>
                  <a:schemeClr val="tx1">
                    <a:tint val="75000"/>
                  </a:schemeClr>
                </a:solidFill>
              </a:defRPr>
            </a:lvl5pPr>
            <a:lvl6pPr marL="2813663" indent="0" algn="ctr">
              <a:buNone/>
              <a:defRPr>
                <a:solidFill>
                  <a:schemeClr val="tx1">
                    <a:tint val="75000"/>
                  </a:schemeClr>
                </a:solidFill>
              </a:defRPr>
            </a:lvl6pPr>
            <a:lvl7pPr marL="3376397" indent="0" algn="ctr">
              <a:buNone/>
              <a:defRPr>
                <a:solidFill>
                  <a:schemeClr val="tx1">
                    <a:tint val="75000"/>
                  </a:schemeClr>
                </a:solidFill>
              </a:defRPr>
            </a:lvl7pPr>
            <a:lvl8pPr marL="3939127" indent="0" algn="ctr">
              <a:buNone/>
              <a:defRPr>
                <a:solidFill>
                  <a:schemeClr val="tx1">
                    <a:tint val="75000"/>
                  </a:schemeClr>
                </a:solidFill>
              </a:defRPr>
            </a:lvl8pPr>
            <a:lvl9pPr marL="4501860" indent="0" algn="ctr">
              <a:buNone/>
              <a:defRPr>
                <a:solidFill>
                  <a:schemeClr val="tx1">
                    <a:tint val="75000"/>
                  </a:schemeClr>
                </a:solidFill>
              </a:defRPr>
            </a:lvl9pPr>
          </a:lstStyle>
          <a:p>
            <a:r>
              <a:rPr lang="en-US"/>
              <a:t>Click to edit Master subtitle style</a:t>
            </a:r>
          </a:p>
        </p:txBody>
      </p:sp>
      <p:grpSp>
        <p:nvGrpSpPr>
          <p:cNvPr id="10" name="Group 9"/>
          <p:cNvGrpSpPr/>
          <p:nvPr userDrawn="1"/>
        </p:nvGrpSpPr>
        <p:grpSpPr>
          <a:xfrm>
            <a:off x="5" y="6792455"/>
            <a:ext cx="12191999" cy="73745"/>
            <a:chOff x="1" y="6792449"/>
            <a:chExt cx="9143999" cy="73745"/>
          </a:xfrm>
        </p:grpSpPr>
        <p:sp>
          <p:nvSpPr>
            <p:cNvPr id="11" name="Rectangle 10"/>
            <p:cNvSpPr/>
            <p:nvPr/>
          </p:nvSpPr>
          <p:spPr>
            <a:xfrm>
              <a:off x="5486400" y="6792449"/>
              <a:ext cx="1828800" cy="73745"/>
            </a:xfrm>
            <a:prstGeom prst="rect">
              <a:avLst/>
            </a:prstGeom>
            <a:solidFill>
              <a:srgbClr val="1740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2" name="Rectangle 11"/>
            <p:cNvSpPr/>
            <p:nvPr/>
          </p:nvSpPr>
          <p:spPr>
            <a:xfrm>
              <a:off x="1" y="6792449"/>
              <a:ext cx="1828800" cy="73745"/>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3" name="Rectangle 12"/>
            <p:cNvSpPr/>
            <p:nvPr/>
          </p:nvSpPr>
          <p:spPr>
            <a:xfrm>
              <a:off x="1828801" y="6792449"/>
              <a:ext cx="1828800" cy="73745"/>
            </a:xfrm>
            <a:prstGeom prst="rect">
              <a:avLst/>
            </a:prstGeom>
            <a:solidFill>
              <a:srgbClr val="2428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4" name="Rectangle 13"/>
            <p:cNvSpPr/>
            <p:nvPr/>
          </p:nvSpPr>
          <p:spPr>
            <a:xfrm>
              <a:off x="3657601" y="6792450"/>
              <a:ext cx="1828800" cy="73743"/>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5" name="Rectangle 14"/>
            <p:cNvSpPr/>
            <p:nvPr/>
          </p:nvSpPr>
          <p:spPr>
            <a:xfrm>
              <a:off x="7315200" y="6792450"/>
              <a:ext cx="1828800" cy="73743"/>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grpSp>
      <p:pic>
        <p:nvPicPr>
          <p:cNvPr id="19" name="Graphic 18">
            <a:extLst>
              <a:ext uri="{FF2B5EF4-FFF2-40B4-BE49-F238E27FC236}">
                <a16:creationId xmlns:a16="http://schemas.microsoft.com/office/drawing/2014/main" id="{470AC07A-5090-444A-8131-96F0B1D6BFA5}"/>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95729" y="285180"/>
            <a:ext cx="1842676" cy="614225"/>
          </a:xfrm>
          <a:prstGeom prst="rect">
            <a:avLst/>
          </a:prstGeom>
        </p:spPr>
      </p:pic>
    </p:spTree>
    <p:extLst>
      <p:ext uri="{BB962C8B-B14F-4D97-AF65-F5344CB8AC3E}">
        <p14:creationId xmlns:p14="http://schemas.microsoft.com/office/powerpoint/2010/main" val="54391665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10_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27684B8-B317-4A50-9091-A574CD74CCB1}"/>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a:extLst>
              <a:ext uri="{FF2B5EF4-FFF2-40B4-BE49-F238E27FC236}">
                <a16:creationId xmlns:a16="http://schemas.microsoft.com/office/drawing/2014/main" id="{FAB8A9DD-AB8F-4138-9EA2-044B28DCCE09}"/>
              </a:ext>
            </a:extLst>
          </p:cNvPr>
          <p:cNvSpPr/>
          <p:nvPr userDrawn="1"/>
        </p:nvSpPr>
        <p:spPr>
          <a:xfrm>
            <a:off x="0" y="-1"/>
            <a:ext cx="12192000" cy="6866199"/>
          </a:xfrm>
          <a:prstGeom prst="rect">
            <a:avLst/>
          </a:prstGeom>
          <a:solidFill>
            <a:srgbClr val="17425A">
              <a:alpha val="89804"/>
            </a:srgb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600"/>
          </a:p>
        </p:txBody>
      </p:sp>
      <p:cxnSp>
        <p:nvCxnSpPr>
          <p:cNvPr id="9" name="Straight Connector 8"/>
          <p:cNvCxnSpPr/>
          <p:nvPr userDrawn="1"/>
        </p:nvCxnSpPr>
        <p:spPr>
          <a:xfrm>
            <a:off x="595729" y="1288310"/>
            <a:ext cx="4174448" cy="0"/>
          </a:xfrm>
          <a:prstGeom prst="line">
            <a:avLst/>
          </a:prstGeom>
          <a:ln w="28575"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ctrTitle"/>
          </p:nvPr>
        </p:nvSpPr>
        <p:spPr>
          <a:xfrm>
            <a:off x="595730" y="1345036"/>
            <a:ext cx="10971428" cy="602536"/>
          </a:xfrm>
        </p:spPr>
        <p:txBody>
          <a:bodyPr lIns="0" tIns="0" rIns="0" bIns="0" anchor="t">
            <a:noAutofit/>
          </a:bodyPr>
          <a:lstStyle>
            <a:lvl1pPr algn="l">
              <a:defRPr sz="3939">
                <a:solidFill>
                  <a:schemeClr val="bg1"/>
                </a:solidFill>
                <a:latin typeface="Arial"/>
                <a:cs typeface="Arial"/>
              </a:defRPr>
            </a:lvl1pPr>
          </a:lstStyle>
          <a:p>
            <a:r>
              <a:rPr lang="en-US" b="1">
                <a:solidFill>
                  <a:srgbClr val="1573C5"/>
                </a:solidFill>
                <a:latin typeface="Arial"/>
                <a:cs typeface="Arial"/>
              </a:rPr>
              <a:t>Click to edit Master title style</a:t>
            </a:r>
          </a:p>
        </p:txBody>
      </p:sp>
      <p:sp>
        <p:nvSpPr>
          <p:cNvPr id="3" name="Subtitle 2"/>
          <p:cNvSpPr>
            <a:spLocks noGrp="1"/>
          </p:cNvSpPr>
          <p:nvPr>
            <p:ph type="subTitle" idx="1"/>
          </p:nvPr>
        </p:nvSpPr>
        <p:spPr>
          <a:xfrm>
            <a:off x="595730" y="2656405"/>
            <a:ext cx="10971428" cy="649843"/>
          </a:xfrm>
        </p:spPr>
        <p:txBody>
          <a:bodyPr lIns="0" tIns="0" rIns="0" bIns="0">
            <a:noAutofit/>
          </a:bodyPr>
          <a:lstStyle>
            <a:lvl1pPr marL="0" indent="0" algn="l">
              <a:buNone/>
              <a:defRPr sz="1969" b="1">
                <a:solidFill>
                  <a:schemeClr val="bg1"/>
                </a:solidFill>
                <a:latin typeface="Arial"/>
                <a:cs typeface="Arial"/>
              </a:defRPr>
            </a:lvl1pPr>
            <a:lvl2pPr marL="562733" indent="0" algn="ctr">
              <a:buNone/>
              <a:defRPr>
                <a:solidFill>
                  <a:schemeClr val="tx1">
                    <a:tint val="75000"/>
                  </a:schemeClr>
                </a:solidFill>
              </a:defRPr>
            </a:lvl2pPr>
            <a:lvl3pPr marL="1125466" indent="0" algn="ctr">
              <a:buNone/>
              <a:defRPr>
                <a:solidFill>
                  <a:schemeClr val="tx1">
                    <a:tint val="75000"/>
                  </a:schemeClr>
                </a:solidFill>
              </a:defRPr>
            </a:lvl3pPr>
            <a:lvl4pPr marL="1688197" indent="0" algn="ctr">
              <a:buNone/>
              <a:defRPr>
                <a:solidFill>
                  <a:schemeClr val="tx1">
                    <a:tint val="75000"/>
                  </a:schemeClr>
                </a:solidFill>
              </a:defRPr>
            </a:lvl4pPr>
            <a:lvl5pPr marL="2250930" indent="0" algn="ctr">
              <a:buNone/>
              <a:defRPr>
                <a:solidFill>
                  <a:schemeClr val="tx1">
                    <a:tint val="75000"/>
                  </a:schemeClr>
                </a:solidFill>
              </a:defRPr>
            </a:lvl5pPr>
            <a:lvl6pPr marL="2813663" indent="0" algn="ctr">
              <a:buNone/>
              <a:defRPr>
                <a:solidFill>
                  <a:schemeClr val="tx1">
                    <a:tint val="75000"/>
                  </a:schemeClr>
                </a:solidFill>
              </a:defRPr>
            </a:lvl6pPr>
            <a:lvl7pPr marL="3376397" indent="0" algn="ctr">
              <a:buNone/>
              <a:defRPr>
                <a:solidFill>
                  <a:schemeClr val="tx1">
                    <a:tint val="75000"/>
                  </a:schemeClr>
                </a:solidFill>
              </a:defRPr>
            </a:lvl7pPr>
            <a:lvl8pPr marL="3939127" indent="0" algn="ctr">
              <a:buNone/>
              <a:defRPr>
                <a:solidFill>
                  <a:schemeClr val="tx1">
                    <a:tint val="75000"/>
                  </a:schemeClr>
                </a:solidFill>
              </a:defRPr>
            </a:lvl8pPr>
            <a:lvl9pPr marL="4501860" indent="0" algn="ctr">
              <a:buNone/>
              <a:defRPr>
                <a:solidFill>
                  <a:schemeClr val="tx1">
                    <a:tint val="75000"/>
                  </a:schemeClr>
                </a:solidFill>
              </a:defRPr>
            </a:lvl9pPr>
          </a:lstStyle>
          <a:p>
            <a:r>
              <a:rPr lang="en-US"/>
              <a:t>Click to edit Master subtitle style</a:t>
            </a:r>
          </a:p>
        </p:txBody>
      </p:sp>
      <p:grpSp>
        <p:nvGrpSpPr>
          <p:cNvPr id="10" name="Group 9"/>
          <p:cNvGrpSpPr/>
          <p:nvPr userDrawn="1"/>
        </p:nvGrpSpPr>
        <p:grpSpPr>
          <a:xfrm>
            <a:off x="5" y="6792455"/>
            <a:ext cx="12191999" cy="73745"/>
            <a:chOff x="1" y="6792449"/>
            <a:chExt cx="9143999" cy="73745"/>
          </a:xfrm>
        </p:grpSpPr>
        <p:sp>
          <p:nvSpPr>
            <p:cNvPr id="11" name="Rectangle 10"/>
            <p:cNvSpPr/>
            <p:nvPr/>
          </p:nvSpPr>
          <p:spPr>
            <a:xfrm>
              <a:off x="5486400" y="6792449"/>
              <a:ext cx="1828800" cy="73745"/>
            </a:xfrm>
            <a:prstGeom prst="rect">
              <a:avLst/>
            </a:prstGeom>
            <a:solidFill>
              <a:srgbClr val="1740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2" name="Rectangle 11"/>
            <p:cNvSpPr/>
            <p:nvPr/>
          </p:nvSpPr>
          <p:spPr>
            <a:xfrm>
              <a:off x="1" y="6792449"/>
              <a:ext cx="1828800" cy="73745"/>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3" name="Rectangle 12"/>
            <p:cNvSpPr/>
            <p:nvPr/>
          </p:nvSpPr>
          <p:spPr>
            <a:xfrm>
              <a:off x="1828801" y="6792449"/>
              <a:ext cx="1828800" cy="73745"/>
            </a:xfrm>
            <a:prstGeom prst="rect">
              <a:avLst/>
            </a:prstGeom>
            <a:solidFill>
              <a:srgbClr val="2428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4" name="Rectangle 13"/>
            <p:cNvSpPr/>
            <p:nvPr/>
          </p:nvSpPr>
          <p:spPr>
            <a:xfrm>
              <a:off x="3657601" y="6792450"/>
              <a:ext cx="1828800" cy="73743"/>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5" name="Rectangle 14"/>
            <p:cNvSpPr/>
            <p:nvPr/>
          </p:nvSpPr>
          <p:spPr>
            <a:xfrm>
              <a:off x="7315200" y="6792450"/>
              <a:ext cx="1828800" cy="73743"/>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grpSp>
      <p:pic>
        <p:nvPicPr>
          <p:cNvPr id="19" name="Graphic 18">
            <a:extLst>
              <a:ext uri="{FF2B5EF4-FFF2-40B4-BE49-F238E27FC236}">
                <a16:creationId xmlns:a16="http://schemas.microsoft.com/office/drawing/2014/main" id="{470AC07A-5090-444A-8131-96F0B1D6BFA5}"/>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95729" y="285180"/>
            <a:ext cx="1842676" cy="614225"/>
          </a:xfrm>
          <a:prstGeom prst="rect">
            <a:avLst/>
          </a:prstGeom>
        </p:spPr>
      </p:pic>
    </p:spTree>
    <p:extLst>
      <p:ext uri="{BB962C8B-B14F-4D97-AF65-F5344CB8AC3E}">
        <p14:creationId xmlns:p14="http://schemas.microsoft.com/office/powerpoint/2010/main" val="420393907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able of Contets">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52A1B299-C3FC-4F91-BC27-2FBE32405CDA}"/>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15" name="Rectangle 14">
            <a:extLst>
              <a:ext uri="{FF2B5EF4-FFF2-40B4-BE49-F238E27FC236}">
                <a16:creationId xmlns:a16="http://schemas.microsoft.com/office/drawing/2014/main" id="{61B7A982-1A6D-4EB2-8AF3-C489E5006702}"/>
              </a:ext>
            </a:extLst>
          </p:cNvPr>
          <p:cNvSpPr/>
          <p:nvPr userDrawn="1"/>
        </p:nvSpPr>
        <p:spPr>
          <a:xfrm>
            <a:off x="1" y="0"/>
            <a:ext cx="12191994" cy="6858000"/>
          </a:xfrm>
          <a:prstGeom prst="rect">
            <a:avLst/>
          </a:prstGeom>
          <a:solidFill>
            <a:schemeClr val="bg1">
              <a:alpha val="89804"/>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600"/>
          </a:p>
        </p:txBody>
      </p:sp>
      <p:sp>
        <p:nvSpPr>
          <p:cNvPr id="2" name="Title 1"/>
          <p:cNvSpPr>
            <a:spLocks noGrp="1"/>
          </p:cNvSpPr>
          <p:nvPr>
            <p:ph type="title"/>
          </p:nvPr>
        </p:nvSpPr>
        <p:spPr>
          <a:xfrm>
            <a:off x="342242" y="194430"/>
            <a:ext cx="11528917" cy="594360"/>
          </a:xfrm>
        </p:spPr>
        <p:txBody>
          <a:bodyPr>
            <a:noAutofit/>
          </a:bodyPr>
          <a:lstStyle>
            <a:lvl1pPr>
              <a:defRPr sz="2585"/>
            </a:lvl1pPr>
          </a:lstStyle>
          <a:p>
            <a:r>
              <a:rPr lang="en-US"/>
              <a:t>Click to edit Master title style</a:t>
            </a:r>
          </a:p>
        </p:txBody>
      </p:sp>
      <p:sp>
        <p:nvSpPr>
          <p:cNvPr id="3" name="Content Placeholder 2"/>
          <p:cNvSpPr>
            <a:spLocks noGrp="1"/>
          </p:cNvSpPr>
          <p:nvPr>
            <p:ph idx="1"/>
          </p:nvPr>
        </p:nvSpPr>
        <p:spPr>
          <a:xfrm>
            <a:off x="342242" y="801390"/>
            <a:ext cx="11528917" cy="5227768"/>
          </a:xfrm>
        </p:spPr>
        <p:txBody>
          <a:bodyPr>
            <a:noAutofit/>
          </a:bodyPr>
          <a:lstStyle>
            <a:lvl1pPr>
              <a:spcAft>
                <a:spcPts val="738"/>
              </a:spcAft>
              <a:defRPr sz="1969"/>
            </a:lvl1pPr>
            <a:lvl2pPr marL="450186">
              <a:defRPr sz="1969"/>
            </a:lvl2pPr>
            <a:lvl3pPr marL="900372">
              <a:defRPr sz="1969"/>
            </a:lvl3pPr>
            <a:lvl4pPr marL="1350558">
              <a:defRPr sz="1969"/>
            </a:lvl4pPr>
            <a:lvl5pPr marL="1800744">
              <a:defRPr sz="196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p:cNvGrpSpPr/>
          <p:nvPr userDrawn="1"/>
        </p:nvGrpSpPr>
        <p:grpSpPr>
          <a:xfrm>
            <a:off x="5" y="6792455"/>
            <a:ext cx="12191999" cy="73745"/>
            <a:chOff x="1" y="6792449"/>
            <a:chExt cx="9143999" cy="73745"/>
          </a:xfrm>
        </p:grpSpPr>
        <p:sp>
          <p:nvSpPr>
            <p:cNvPr id="8" name="Rectangle 7"/>
            <p:cNvSpPr/>
            <p:nvPr/>
          </p:nvSpPr>
          <p:spPr>
            <a:xfrm>
              <a:off x="5486400" y="6792449"/>
              <a:ext cx="1828800" cy="73745"/>
            </a:xfrm>
            <a:prstGeom prst="rect">
              <a:avLst/>
            </a:prstGeom>
            <a:solidFill>
              <a:srgbClr val="1740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9" name="Rectangle 8"/>
            <p:cNvSpPr/>
            <p:nvPr/>
          </p:nvSpPr>
          <p:spPr>
            <a:xfrm>
              <a:off x="1" y="6792449"/>
              <a:ext cx="1828800" cy="73745"/>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0" name="Rectangle 9"/>
            <p:cNvSpPr/>
            <p:nvPr/>
          </p:nvSpPr>
          <p:spPr>
            <a:xfrm>
              <a:off x="1828801" y="6792449"/>
              <a:ext cx="1828800" cy="73745"/>
            </a:xfrm>
            <a:prstGeom prst="rect">
              <a:avLst/>
            </a:prstGeom>
            <a:solidFill>
              <a:srgbClr val="2428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1" name="Rectangle 10"/>
            <p:cNvSpPr/>
            <p:nvPr/>
          </p:nvSpPr>
          <p:spPr>
            <a:xfrm>
              <a:off x="3657601" y="6792450"/>
              <a:ext cx="1828800" cy="73743"/>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2" name="Rectangle 11"/>
            <p:cNvSpPr/>
            <p:nvPr/>
          </p:nvSpPr>
          <p:spPr>
            <a:xfrm>
              <a:off x="7315200" y="6792450"/>
              <a:ext cx="1828800" cy="73743"/>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grpSp>
      <p:sp>
        <p:nvSpPr>
          <p:cNvPr id="14" name="Slide Number Placeholder 5"/>
          <p:cNvSpPr>
            <a:spLocks noGrp="1"/>
          </p:cNvSpPr>
          <p:nvPr>
            <p:ph type="sldNum" sz="quarter" idx="4"/>
          </p:nvPr>
        </p:nvSpPr>
        <p:spPr>
          <a:xfrm>
            <a:off x="342240" y="6356358"/>
            <a:ext cx="2844800" cy="365125"/>
          </a:xfrm>
          <a:prstGeom prst="rect">
            <a:avLst/>
          </a:prstGeom>
        </p:spPr>
        <p:txBody>
          <a:bodyPr vert="horz" lIns="91440" tIns="45720" rIns="91440" bIns="45720" rtlCol="0" anchor="ctr"/>
          <a:lstStyle>
            <a:lvl1pPr algn="l">
              <a:defRPr sz="985" b="1">
                <a:solidFill>
                  <a:schemeClr val="tx1"/>
                </a:solidFill>
              </a:defRPr>
            </a:lvl1pPr>
          </a:lstStyle>
          <a:p>
            <a:fld id="{4F1FA912-FC24-3D46-8310-EAE10B51E2A1}" type="slidenum">
              <a:rPr lang="en-US" smtClean="0"/>
              <a:t>‹#›</a:t>
            </a:fld>
            <a:endParaRPr lang="en-US"/>
          </a:p>
        </p:txBody>
      </p:sp>
      <p:pic>
        <p:nvPicPr>
          <p:cNvPr id="16" name="Picture 15" descr="A picture containing logo&#10;&#10;Description automatically generated">
            <a:extLst>
              <a:ext uri="{FF2B5EF4-FFF2-40B4-BE49-F238E27FC236}">
                <a16:creationId xmlns:a16="http://schemas.microsoft.com/office/drawing/2014/main" id="{8F8A3941-CCA8-48F7-9945-08CAE3C83E47}"/>
              </a:ext>
            </a:extLst>
          </p:cNvPr>
          <p:cNvPicPr>
            <a:picLocks noChangeAspect="1"/>
          </p:cNvPicPr>
          <p:nvPr userDrawn="1"/>
        </p:nvPicPr>
        <p:blipFill>
          <a:blip r:embed="rId4"/>
          <a:stretch>
            <a:fillRect/>
          </a:stretch>
        </p:blipFill>
        <p:spPr>
          <a:xfrm>
            <a:off x="9601200" y="6069184"/>
            <a:ext cx="2489359" cy="653457"/>
          </a:xfrm>
          <a:prstGeom prst="rect">
            <a:avLst/>
          </a:prstGeom>
        </p:spPr>
      </p:pic>
    </p:spTree>
    <p:extLst>
      <p:ext uri="{BB962C8B-B14F-4D97-AF65-F5344CB8AC3E}">
        <p14:creationId xmlns:p14="http://schemas.microsoft.com/office/powerpoint/2010/main" val="7129642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8_Title Slide">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5A09E980-CDB9-4B07-982F-FE663000E762}"/>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a:extLst>
              <a:ext uri="{FF2B5EF4-FFF2-40B4-BE49-F238E27FC236}">
                <a16:creationId xmlns:a16="http://schemas.microsoft.com/office/drawing/2014/main" id="{FAB8A9DD-AB8F-4138-9EA2-044B28DCCE09}"/>
              </a:ext>
            </a:extLst>
          </p:cNvPr>
          <p:cNvSpPr/>
          <p:nvPr userDrawn="1"/>
        </p:nvSpPr>
        <p:spPr>
          <a:xfrm>
            <a:off x="-1" y="-1"/>
            <a:ext cx="12192001" cy="6866199"/>
          </a:xfrm>
          <a:prstGeom prst="rect">
            <a:avLst/>
          </a:prstGeom>
          <a:solidFill>
            <a:srgbClr val="2A3469">
              <a:alpha val="89804"/>
            </a:srgb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600"/>
          </a:p>
        </p:txBody>
      </p:sp>
      <p:cxnSp>
        <p:nvCxnSpPr>
          <p:cNvPr id="9" name="Straight Connector 8"/>
          <p:cNvCxnSpPr/>
          <p:nvPr userDrawn="1"/>
        </p:nvCxnSpPr>
        <p:spPr>
          <a:xfrm>
            <a:off x="595729" y="1288310"/>
            <a:ext cx="4174448" cy="0"/>
          </a:xfrm>
          <a:prstGeom prst="line">
            <a:avLst/>
          </a:prstGeom>
          <a:ln w="28575"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ctrTitle"/>
          </p:nvPr>
        </p:nvSpPr>
        <p:spPr>
          <a:xfrm>
            <a:off x="595730" y="1345036"/>
            <a:ext cx="10971428" cy="602536"/>
          </a:xfrm>
        </p:spPr>
        <p:txBody>
          <a:bodyPr lIns="0" tIns="0" rIns="0" bIns="0" anchor="t">
            <a:noAutofit/>
          </a:bodyPr>
          <a:lstStyle>
            <a:lvl1pPr algn="l">
              <a:defRPr sz="3939">
                <a:solidFill>
                  <a:schemeClr val="bg1"/>
                </a:solidFill>
                <a:latin typeface="Arial"/>
                <a:cs typeface="Arial"/>
              </a:defRPr>
            </a:lvl1pPr>
          </a:lstStyle>
          <a:p>
            <a:endParaRPr lang="en-US" b="1">
              <a:solidFill>
                <a:srgbClr val="1573C5"/>
              </a:solidFill>
              <a:latin typeface="Arial"/>
              <a:cs typeface="Arial"/>
            </a:endParaRPr>
          </a:p>
        </p:txBody>
      </p:sp>
      <p:sp>
        <p:nvSpPr>
          <p:cNvPr id="3" name="Subtitle 2"/>
          <p:cNvSpPr>
            <a:spLocks noGrp="1"/>
          </p:cNvSpPr>
          <p:nvPr>
            <p:ph type="subTitle" idx="1"/>
          </p:nvPr>
        </p:nvSpPr>
        <p:spPr>
          <a:xfrm>
            <a:off x="595730" y="2656405"/>
            <a:ext cx="10971428" cy="649843"/>
          </a:xfrm>
        </p:spPr>
        <p:txBody>
          <a:bodyPr lIns="0" tIns="0" rIns="0" bIns="0">
            <a:noAutofit/>
          </a:bodyPr>
          <a:lstStyle>
            <a:lvl1pPr marL="0" indent="0" algn="l">
              <a:buNone/>
              <a:defRPr sz="1969" b="1">
                <a:solidFill>
                  <a:schemeClr val="bg1"/>
                </a:solidFill>
                <a:latin typeface="Arial"/>
                <a:cs typeface="Arial"/>
              </a:defRPr>
            </a:lvl1pPr>
            <a:lvl2pPr marL="562733" indent="0" algn="ctr">
              <a:buNone/>
              <a:defRPr>
                <a:solidFill>
                  <a:schemeClr val="tx1">
                    <a:tint val="75000"/>
                  </a:schemeClr>
                </a:solidFill>
              </a:defRPr>
            </a:lvl2pPr>
            <a:lvl3pPr marL="1125466" indent="0" algn="ctr">
              <a:buNone/>
              <a:defRPr>
                <a:solidFill>
                  <a:schemeClr val="tx1">
                    <a:tint val="75000"/>
                  </a:schemeClr>
                </a:solidFill>
              </a:defRPr>
            </a:lvl3pPr>
            <a:lvl4pPr marL="1688197" indent="0" algn="ctr">
              <a:buNone/>
              <a:defRPr>
                <a:solidFill>
                  <a:schemeClr val="tx1">
                    <a:tint val="75000"/>
                  </a:schemeClr>
                </a:solidFill>
              </a:defRPr>
            </a:lvl4pPr>
            <a:lvl5pPr marL="2250930" indent="0" algn="ctr">
              <a:buNone/>
              <a:defRPr>
                <a:solidFill>
                  <a:schemeClr val="tx1">
                    <a:tint val="75000"/>
                  </a:schemeClr>
                </a:solidFill>
              </a:defRPr>
            </a:lvl5pPr>
            <a:lvl6pPr marL="2813663" indent="0" algn="ctr">
              <a:buNone/>
              <a:defRPr>
                <a:solidFill>
                  <a:schemeClr val="tx1">
                    <a:tint val="75000"/>
                  </a:schemeClr>
                </a:solidFill>
              </a:defRPr>
            </a:lvl6pPr>
            <a:lvl7pPr marL="3376397" indent="0" algn="ctr">
              <a:buNone/>
              <a:defRPr>
                <a:solidFill>
                  <a:schemeClr val="tx1">
                    <a:tint val="75000"/>
                  </a:schemeClr>
                </a:solidFill>
              </a:defRPr>
            </a:lvl7pPr>
            <a:lvl8pPr marL="3939127" indent="0" algn="ctr">
              <a:buNone/>
              <a:defRPr>
                <a:solidFill>
                  <a:schemeClr val="tx1">
                    <a:tint val="75000"/>
                  </a:schemeClr>
                </a:solidFill>
              </a:defRPr>
            </a:lvl8pPr>
            <a:lvl9pPr marL="4501860" indent="0" algn="ctr">
              <a:buNone/>
              <a:defRPr>
                <a:solidFill>
                  <a:schemeClr val="tx1">
                    <a:tint val="75000"/>
                  </a:schemeClr>
                </a:solidFill>
              </a:defRPr>
            </a:lvl9pPr>
          </a:lstStyle>
          <a:p>
            <a:endParaRPr lang="en-US"/>
          </a:p>
        </p:txBody>
      </p:sp>
      <p:grpSp>
        <p:nvGrpSpPr>
          <p:cNvPr id="10" name="Group 9"/>
          <p:cNvGrpSpPr/>
          <p:nvPr userDrawn="1"/>
        </p:nvGrpSpPr>
        <p:grpSpPr>
          <a:xfrm>
            <a:off x="5" y="6792455"/>
            <a:ext cx="12191999" cy="73745"/>
            <a:chOff x="1" y="6792449"/>
            <a:chExt cx="9143999" cy="73745"/>
          </a:xfrm>
        </p:grpSpPr>
        <p:sp>
          <p:nvSpPr>
            <p:cNvPr id="11" name="Rectangle 10"/>
            <p:cNvSpPr/>
            <p:nvPr/>
          </p:nvSpPr>
          <p:spPr>
            <a:xfrm>
              <a:off x="5486400" y="6792449"/>
              <a:ext cx="1828800" cy="73745"/>
            </a:xfrm>
            <a:prstGeom prst="rect">
              <a:avLst/>
            </a:prstGeom>
            <a:solidFill>
              <a:srgbClr val="1740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2" name="Rectangle 11"/>
            <p:cNvSpPr/>
            <p:nvPr/>
          </p:nvSpPr>
          <p:spPr>
            <a:xfrm>
              <a:off x="1" y="6792449"/>
              <a:ext cx="1828800" cy="73745"/>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3" name="Rectangle 12"/>
            <p:cNvSpPr/>
            <p:nvPr/>
          </p:nvSpPr>
          <p:spPr>
            <a:xfrm>
              <a:off x="1828801" y="6792449"/>
              <a:ext cx="1828800" cy="73745"/>
            </a:xfrm>
            <a:prstGeom prst="rect">
              <a:avLst/>
            </a:prstGeom>
            <a:solidFill>
              <a:srgbClr val="2428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4" name="Rectangle 13"/>
            <p:cNvSpPr/>
            <p:nvPr/>
          </p:nvSpPr>
          <p:spPr>
            <a:xfrm>
              <a:off x="3657601" y="6792450"/>
              <a:ext cx="1828800" cy="73743"/>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5" name="Rectangle 14"/>
            <p:cNvSpPr/>
            <p:nvPr/>
          </p:nvSpPr>
          <p:spPr>
            <a:xfrm>
              <a:off x="7315200" y="6792450"/>
              <a:ext cx="1828800" cy="73743"/>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grpSp>
      <p:pic>
        <p:nvPicPr>
          <p:cNvPr id="19" name="Graphic 18">
            <a:extLst>
              <a:ext uri="{FF2B5EF4-FFF2-40B4-BE49-F238E27FC236}">
                <a16:creationId xmlns:a16="http://schemas.microsoft.com/office/drawing/2014/main" id="{470AC07A-5090-444A-8131-96F0B1D6BFA5}"/>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95729" y="285180"/>
            <a:ext cx="1842676" cy="614225"/>
          </a:xfrm>
          <a:prstGeom prst="rect">
            <a:avLst/>
          </a:prstGeom>
        </p:spPr>
      </p:pic>
    </p:spTree>
    <p:extLst>
      <p:ext uri="{BB962C8B-B14F-4D97-AF65-F5344CB8AC3E}">
        <p14:creationId xmlns:p14="http://schemas.microsoft.com/office/powerpoint/2010/main" val="54391665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6_Table of Contets">
    <p:spTree>
      <p:nvGrpSpPr>
        <p:cNvPr id="1" name=""/>
        <p:cNvGrpSpPr/>
        <p:nvPr/>
      </p:nvGrpSpPr>
      <p:grpSpPr>
        <a:xfrm>
          <a:off x="0" y="0"/>
          <a:ext cx="0" cy="0"/>
          <a:chOff x="0" y="0"/>
          <a:chExt cx="0" cy="0"/>
        </a:xfrm>
      </p:grpSpPr>
      <p:sp>
        <p:nvSpPr>
          <p:cNvPr id="2" name="Title 1"/>
          <p:cNvSpPr>
            <a:spLocks noGrp="1"/>
          </p:cNvSpPr>
          <p:nvPr>
            <p:ph type="title"/>
          </p:nvPr>
        </p:nvSpPr>
        <p:spPr>
          <a:xfrm>
            <a:off x="342242" y="194430"/>
            <a:ext cx="11528917" cy="594360"/>
          </a:xfrm>
        </p:spPr>
        <p:txBody>
          <a:bodyPr>
            <a:noAutofit/>
          </a:bodyPr>
          <a:lstStyle>
            <a:lvl1pPr>
              <a:defRPr sz="2585"/>
            </a:lvl1pPr>
          </a:lstStyle>
          <a:p>
            <a:r>
              <a:rPr lang="en-US"/>
              <a:t>Click to edit Master title style</a:t>
            </a:r>
          </a:p>
        </p:txBody>
      </p:sp>
      <p:sp>
        <p:nvSpPr>
          <p:cNvPr id="3" name="Content Placeholder 2"/>
          <p:cNvSpPr>
            <a:spLocks noGrp="1"/>
          </p:cNvSpPr>
          <p:nvPr>
            <p:ph idx="1"/>
          </p:nvPr>
        </p:nvSpPr>
        <p:spPr>
          <a:xfrm>
            <a:off x="342242" y="801390"/>
            <a:ext cx="11528917" cy="5227768"/>
          </a:xfrm>
        </p:spPr>
        <p:txBody>
          <a:bodyPr>
            <a:noAutofit/>
          </a:bodyPr>
          <a:lstStyle>
            <a:lvl1pPr>
              <a:spcAft>
                <a:spcPts val="738"/>
              </a:spcAft>
              <a:defRPr sz="1969"/>
            </a:lvl1pPr>
            <a:lvl2pPr marL="450186">
              <a:defRPr sz="1969"/>
            </a:lvl2pPr>
            <a:lvl3pPr marL="900372">
              <a:defRPr sz="1969"/>
            </a:lvl3pPr>
            <a:lvl4pPr marL="1350558">
              <a:defRPr sz="1969"/>
            </a:lvl4pPr>
            <a:lvl5pPr marL="1800744">
              <a:defRPr sz="196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p:cNvGrpSpPr/>
          <p:nvPr userDrawn="1"/>
        </p:nvGrpSpPr>
        <p:grpSpPr>
          <a:xfrm>
            <a:off x="5" y="6765821"/>
            <a:ext cx="12191999" cy="73745"/>
            <a:chOff x="1" y="6792449"/>
            <a:chExt cx="9143999" cy="73745"/>
          </a:xfrm>
        </p:grpSpPr>
        <p:sp>
          <p:nvSpPr>
            <p:cNvPr id="8" name="Rectangle 7"/>
            <p:cNvSpPr/>
            <p:nvPr/>
          </p:nvSpPr>
          <p:spPr>
            <a:xfrm>
              <a:off x="5486400" y="6792449"/>
              <a:ext cx="1828800" cy="73745"/>
            </a:xfrm>
            <a:prstGeom prst="rect">
              <a:avLst/>
            </a:prstGeom>
            <a:solidFill>
              <a:srgbClr val="1740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9" name="Rectangle 8"/>
            <p:cNvSpPr/>
            <p:nvPr/>
          </p:nvSpPr>
          <p:spPr>
            <a:xfrm>
              <a:off x="1" y="6792449"/>
              <a:ext cx="1828800" cy="73745"/>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0" name="Rectangle 9"/>
            <p:cNvSpPr/>
            <p:nvPr/>
          </p:nvSpPr>
          <p:spPr>
            <a:xfrm>
              <a:off x="1828801" y="6792449"/>
              <a:ext cx="1828800" cy="73745"/>
            </a:xfrm>
            <a:prstGeom prst="rect">
              <a:avLst/>
            </a:prstGeom>
            <a:solidFill>
              <a:srgbClr val="2428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1" name="Rectangle 10"/>
            <p:cNvSpPr/>
            <p:nvPr/>
          </p:nvSpPr>
          <p:spPr>
            <a:xfrm>
              <a:off x="3657601" y="6792450"/>
              <a:ext cx="1828800" cy="73743"/>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2" name="Rectangle 11"/>
            <p:cNvSpPr/>
            <p:nvPr/>
          </p:nvSpPr>
          <p:spPr>
            <a:xfrm>
              <a:off x="7315200" y="6792450"/>
              <a:ext cx="1828800" cy="73743"/>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grpSp>
    </p:spTree>
    <p:extLst>
      <p:ext uri="{BB962C8B-B14F-4D97-AF65-F5344CB8AC3E}">
        <p14:creationId xmlns:p14="http://schemas.microsoft.com/office/powerpoint/2010/main" val="273902876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_Table of Contet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435A095-F4D2-46B5-A433-148E542CB892}"/>
              </a:ext>
            </a:extLst>
          </p:cNvPr>
          <p:cNvSpPr/>
          <p:nvPr userDrawn="1"/>
        </p:nvSpPr>
        <p:spPr>
          <a:xfrm>
            <a:off x="0" y="0"/>
            <a:ext cx="12191999" cy="6858000"/>
          </a:xfrm>
          <a:prstGeom prst="rect">
            <a:avLst/>
          </a:prstGeom>
          <a:solidFill>
            <a:srgbClr val="1573C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600"/>
          </a:p>
        </p:txBody>
      </p:sp>
      <p:sp>
        <p:nvSpPr>
          <p:cNvPr id="2" name="Title 1"/>
          <p:cNvSpPr>
            <a:spLocks noGrp="1"/>
          </p:cNvSpPr>
          <p:nvPr>
            <p:ph type="title"/>
          </p:nvPr>
        </p:nvSpPr>
        <p:spPr>
          <a:xfrm>
            <a:off x="342242" y="194430"/>
            <a:ext cx="11528917" cy="594360"/>
          </a:xfrm>
        </p:spPr>
        <p:txBody>
          <a:bodyPr>
            <a:noAutofit/>
          </a:bodyPr>
          <a:lstStyle>
            <a:lvl1pPr>
              <a:defRPr sz="2585">
                <a:solidFill>
                  <a:schemeClr val="bg1"/>
                </a:solidFill>
              </a:defRPr>
            </a:lvl1pPr>
          </a:lstStyle>
          <a:p>
            <a:r>
              <a:rPr lang="en-US"/>
              <a:t>Click to edit Master title style</a:t>
            </a:r>
          </a:p>
        </p:txBody>
      </p:sp>
      <p:sp>
        <p:nvSpPr>
          <p:cNvPr id="3" name="Content Placeholder 2"/>
          <p:cNvSpPr>
            <a:spLocks noGrp="1"/>
          </p:cNvSpPr>
          <p:nvPr>
            <p:ph idx="1"/>
          </p:nvPr>
        </p:nvSpPr>
        <p:spPr>
          <a:xfrm>
            <a:off x="342242" y="801390"/>
            <a:ext cx="11528917" cy="5227768"/>
          </a:xfrm>
        </p:spPr>
        <p:txBody>
          <a:bodyPr>
            <a:noAutofit/>
          </a:bodyPr>
          <a:lstStyle>
            <a:lvl1pPr>
              <a:spcAft>
                <a:spcPts val="738"/>
              </a:spcAft>
              <a:defRPr sz="1969"/>
            </a:lvl1pPr>
            <a:lvl2pPr marL="450186">
              <a:defRPr sz="1969"/>
            </a:lvl2pPr>
            <a:lvl3pPr marL="900372">
              <a:defRPr sz="1969"/>
            </a:lvl3pPr>
            <a:lvl4pPr marL="1350558">
              <a:defRPr sz="1969"/>
            </a:lvl4pPr>
            <a:lvl5pPr marL="1800744">
              <a:defRPr sz="196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p:cNvGrpSpPr/>
          <p:nvPr userDrawn="1"/>
        </p:nvGrpSpPr>
        <p:grpSpPr>
          <a:xfrm>
            <a:off x="5" y="6792455"/>
            <a:ext cx="12191999" cy="73745"/>
            <a:chOff x="1" y="6792449"/>
            <a:chExt cx="9143999" cy="73745"/>
          </a:xfrm>
        </p:grpSpPr>
        <p:sp>
          <p:nvSpPr>
            <p:cNvPr id="8" name="Rectangle 7"/>
            <p:cNvSpPr/>
            <p:nvPr/>
          </p:nvSpPr>
          <p:spPr>
            <a:xfrm>
              <a:off x="5486400" y="6792449"/>
              <a:ext cx="1828800" cy="73745"/>
            </a:xfrm>
            <a:prstGeom prst="rect">
              <a:avLst/>
            </a:prstGeom>
            <a:solidFill>
              <a:srgbClr val="1740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9" name="Rectangle 8"/>
            <p:cNvSpPr/>
            <p:nvPr/>
          </p:nvSpPr>
          <p:spPr>
            <a:xfrm>
              <a:off x="1" y="6792449"/>
              <a:ext cx="1828800" cy="73745"/>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0" name="Rectangle 9"/>
            <p:cNvSpPr/>
            <p:nvPr/>
          </p:nvSpPr>
          <p:spPr>
            <a:xfrm>
              <a:off x="1828801" y="6792449"/>
              <a:ext cx="1828800" cy="73745"/>
            </a:xfrm>
            <a:prstGeom prst="rect">
              <a:avLst/>
            </a:prstGeom>
            <a:solidFill>
              <a:srgbClr val="2428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1" name="Rectangle 10"/>
            <p:cNvSpPr/>
            <p:nvPr/>
          </p:nvSpPr>
          <p:spPr>
            <a:xfrm>
              <a:off x="3657601" y="6792450"/>
              <a:ext cx="1828800" cy="73743"/>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2" name="Rectangle 11"/>
            <p:cNvSpPr/>
            <p:nvPr/>
          </p:nvSpPr>
          <p:spPr>
            <a:xfrm>
              <a:off x="7315200" y="6792450"/>
              <a:ext cx="1828800" cy="73743"/>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grpSp>
      <p:sp>
        <p:nvSpPr>
          <p:cNvPr id="14" name="Slide Number Placeholder 5"/>
          <p:cNvSpPr>
            <a:spLocks noGrp="1"/>
          </p:cNvSpPr>
          <p:nvPr>
            <p:ph type="sldNum" sz="quarter" idx="4"/>
          </p:nvPr>
        </p:nvSpPr>
        <p:spPr>
          <a:xfrm>
            <a:off x="342240" y="6356358"/>
            <a:ext cx="2844800" cy="365125"/>
          </a:xfrm>
          <a:prstGeom prst="rect">
            <a:avLst/>
          </a:prstGeom>
        </p:spPr>
        <p:txBody>
          <a:bodyPr vert="horz" lIns="91440" tIns="45720" rIns="91440" bIns="45720" rtlCol="0" anchor="ctr"/>
          <a:lstStyle>
            <a:lvl1pPr algn="l">
              <a:defRPr sz="985" b="1">
                <a:solidFill>
                  <a:schemeClr val="tx1"/>
                </a:solidFill>
              </a:defRPr>
            </a:lvl1pPr>
          </a:lstStyle>
          <a:p>
            <a:fld id="{4F1FA912-FC24-3D46-8310-EAE10B51E2A1}" type="slidenum">
              <a:rPr lang="en-US" smtClean="0"/>
              <a:t>‹#›</a:t>
            </a:fld>
            <a:endParaRPr lang="en-US"/>
          </a:p>
        </p:txBody>
      </p:sp>
    </p:spTree>
    <p:extLst>
      <p:ext uri="{BB962C8B-B14F-4D97-AF65-F5344CB8AC3E}">
        <p14:creationId xmlns:p14="http://schemas.microsoft.com/office/powerpoint/2010/main" val="27873586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_Table of Contets">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52A1B299-C3FC-4F91-BC27-2FBE32405CDA}"/>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15" name="Rectangle 14">
            <a:extLst>
              <a:ext uri="{FF2B5EF4-FFF2-40B4-BE49-F238E27FC236}">
                <a16:creationId xmlns:a16="http://schemas.microsoft.com/office/drawing/2014/main" id="{61B7A982-1A6D-4EB2-8AF3-C489E5006702}"/>
              </a:ext>
            </a:extLst>
          </p:cNvPr>
          <p:cNvSpPr/>
          <p:nvPr userDrawn="1"/>
        </p:nvSpPr>
        <p:spPr>
          <a:xfrm>
            <a:off x="1" y="0"/>
            <a:ext cx="12191994" cy="6858000"/>
          </a:xfrm>
          <a:prstGeom prst="rect">
            <a:avLst/>
          </a:prstGeom>
          <a:solidFill>
            <a:srgbClr val="1573C5">
              <a:alpha val="89804"/>
            </a:srgb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600"/>
          </a:p>
        </p:txBody>
      </p:sp>
      <p:sp>
        <p:nvSpPr>
          <p:cNvPr id="2" name="Title 1"/>
          <p:cNvSpPr>
            <a:spLocks noGrp="1"/>
          </p:cNvSpPr>
          <p:nvPr>
            <p:ph type="title"/>
          </p:nvPr>
        </p:nvSpPr>
        <p:spPr>
          <a:xfrm>
            <a:off x="342242" y="194430"/>
            <a:ext cx="11528917" cy="594360"/>
          </a:xfrm>
        </p:spPr>
        <p:txBody>
          <a:bodyPr>
            <a:noAutofit/>
          </a:bodyPr>
          <a:lstStyle>
            <a:lvl1pPr>
              <a:defRPr sz="2585"/>
            </a:lvl1pPr>
          </a:lstStyle>
          <a:p>
            <a:r>
              <a:rPr lang="en-US"/>
              <a:t>Click to edit Master title style</a:t>
            </a:r>
          </a:p>
        </p:txBody>
      </p:sp>
      <p:sp>
        <p:nvSpPr>
          <p:cNvPr id="3" name="Content Placeholder 2"/>
          <p:cNvSpPr>
            <a:spLocks noGrp="1"/>
          </p:cNvSpPr>
          <p:nvPr>
            <p:ph idx="1"/>
          </p:nvPr>
        </p:nvSpPr>
        <p:spPr>
          <a:xfrm>
            <a:off x="342242" y="801390"/>
            <a:ext cx="11528917" cy="5227768"/>
          </a:xfrm>
        </p:spPr>
        <p:txBody>
          <a:bodyPr>
            <a:noAutofit/>
          </a:bodyPr>
          <a:lstStyle>
            <a:lvl1pPr>
              <a:spcAft>
                <a:spcPts val="738"/>
              </a:spcAft>
              <a:defRPr sz="1969"/>
            </a:lvl1pPr>
            <a:lvl2pPr marL="450186">
              <a:defRPr sz="1969"/>
            </a:lvl2pPr>
            <a:lvl3pPr marL="900372">
              <a:defRPr sz="1969"/>
            </a:lvl3pPr>
            <a:lvl4pPr marL="1350558">
              <a:defRPr sz="1969"/>
            </a:lvl4pPr>
            <a:lvl5pPr marL="1800744">
              <a:defRPr sz="196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p:cNvGrpSpPr/>
          <p:nvPr userDrawn="1"/>
        </p:nvGrpSpPr>
        <p:grpSpPr>
          <a:xfrm>
            <a:off x="5" y="6792455"/>
            <a:ext cx="12191999" cy="73745"/>
            <a:chOff x="1" y="6792449"/>
            <a:chExt cx="9143999" cy="73745"/>
          </a:xfrm>
        </p:grpSpPr>
        <p:sp>
          <p:nvSpPr>
            <p:cNvPr id="8" name="Rectangle 7"/>
            <p:cNvSpPr/>
            <p:nvPr/>
          </p:nvSpPr>
          <p:spPr>
            <a:xfrm>
              <a:off x="5486400" y="6792449"/>
              <a:ext cx="1828800" cy="73745"/>
            </a:xfrm>
            <a:prstGeom prst="rect">
              <a:avLst/>
            </a:prstGeom>
            <a:solidFill>
              <a:srgbClr val="1740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9" name="Rectangle 8"/>
            <p:cNvSpPr/>
            <p:nvPr/>
          </p:nvSpPr>
          <p:spPr>
            <a:xfrm>
              <a:off x="1" y="6792449"/>
              <a:ext cx="1828800" cy="73745"/>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0" name="Rectangle 9"/>
            <p:cNvSpPr/>
            <p:nvPr/>
          </p:nvSpPr>
          <p:spPr>
            <a:xfrm>
              <a:off x="1828801" y="6792449"/>
              <a:ext cx="1828800" cy="73745"/>
            </a:xfrm>
            <a:prstGeom prst="rect">
              <a:avLst/>
            </a:prstGeom>
            <a:solidFill>
              <a:srgbClr val="2428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1" name="Rectangle 10"/>
            <p:cNvSpPr/>
            <p:nvPr/>
          </p:nvSpPr>
          <p:spPr>
            <a:xfrm>
              <a:off x="3657601" y="6792450"/>
              <a:ext cx="1828800" cy="73743"/>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2" name="Rectangle 11"/>
            <p:cNvSpPr/>
            <p:nvPr/>
          </p:nvSpPr>
          <p:spPr>
            <a:xfrm>
              <a:off x="7315200" y="6792450"/>
              <a:ext cx="1828800" cy="73743"/>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grpSp>
      <p:sp>
        <p:nvSpPr>
          <p:cNvPr id="14" name="Slide Number Placeholder 5"/>
          <p:cNvSpPr>
            <a:spLocks noGrp="1"/>
          </p:cNvSpPr>
          <p:nvPr>
            <p:ph type="sldNum" sz="quarter" idx="4"/>
          </p:nvPr>
        </p:nvSpPr>
        <p:spPr>
          <a:xfrm>
            <a:off x="342240" y="6356358"/>
            <a:ext cx="2844800" cy="365125"/>
          </a:xfrm>
          <a:prstGeom prst="rect">
            <a:avLst/>
          </a:prstGeom>
        </p:spPr>
        <p:txBody>
          <a:bodyPr vert="horz" lIns="91440" tIns="45720" rIns="91440" bIns="45720" rtlCol="0" anchor="ctr"/>
          <a:lstStyle>
            <a:lvl1pPr algn="l">
              <a:defRPr sz="985" b="1">
                <a:solidFill>
                  <a:schemeClr val="tx1"/>
                </a:solidFill>
              </a:defRPr>
            </a:lvl1pPr>
          </a:lstStyle>
          <a:p>
            <a:fld id="{4F1FA912-FC24-3D46-8310-EAE10B51E2A1}" type="slidenum">
              <a:rPr lang="en-US" smtClean="0"/>
              <a:t>‹#›</a:t>
            </a:fld>
            <a:endParaRPr lang="en-US"/>
          </a:p>
        </p:txBody>
      </p:sp>
    </p:spTree>
    <p:extLst>
      <p:ext uri="{BB962C8B-B14F-4D97-AF65-F5344CB8AC3E}">
        <p14:creationId xmlns:p14="http://schemas.microsoft.com/office/powerpoint/2010/main" val="219133639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able of Contets">
    <p:bg>
      <p:bgPr>
        <a:solidFill>
          <a:srgbClr val="2A3469"/>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42242" y="194430"/>
            <a:ext cx="11528917" cy="594360"/>
          </a:xfrm>
        </p:spPr>
        <p:txBody>
          <a:bodyPr>
            <a:noAutofit/>
          </a:bodyPr>
          <a:lstStyle>
            <a:lvl1pPr>
              <a:defRPr sz="2585">
                <a:solidFill>
                  <a:schemeClr val="bg1"/>
                </a:solidFill>
              </a:defRPr>
            </a:lvl1pPr>
          </a:lstStyle>
          <a:p>
            <a:r>
              <a:rPr lang="en-US"/>
              <a:t>Click to edit Master title style</a:t>
            </a:r>
          </a:p>
        </p:txBody>
      </p:sp>
      <p:sp>
        <p:nvSpPr>
          <p:cNvPr id="3" name="Content Placeholder 2"/>
          <p:cNvSpPr>
            <a:spLocks noGrp="1"/>
          </p:cNvSpPr>
          <p:nvPr>
            <p:ph idx="1"/>
          </p:nvPr>
        </p:nvSpPr>
        <p:spPr>
          <a:xfrm>
            <a:off x="342242" y="801390"/>
            <a:ext cx="11528917" cy="5227768"/>
          </a:xfrm>
        </p:spPr>
        <p:txBody>
          <a:bodyPr>
            <a:noAutofit/>
          </a:bodyPr>
          <a:lstStyle>
            <a:lvl1pPr>
              <a:spcAft>
                <a:spcPts val="738"/>
              </a:spcAft>
              <a:buClr>
                <a:schemeClr val="bg1"/>
              </a:buClr>
              <a:defRPr sz="1969">
                <a:solidFill>
                  <a:schemeClr val="bg1"/>
                </a:solidFill>
              </a:defRPr>
            </a:lvl1pPr>
            <a:lvl2pPr marL="450186">
              <a:buClr>
                <a:schemeClr val="bg1"/>
              </a:buClr>
              <a:defRPr sz="1969">
                <a:solidFill>
                  <a:schemeClr val="bg1"/>
                </a:solidFill>
              </a:defRPr>
            </a:lvl2pPr>
            <a:lvl3pPr marL="900372">
              <a:buClr>
                <a:schemeClr val="bg1"/>
              </a:buClr>
              <a:defRPr sz="1969">
                <a:solidFill>
                  <a:schemeClr val="bg1"/>
                </a:solidFill>
              </a:defRPr>
            </a:lvl3pPr>
            <a:lvl4pPr marL="1350558">
              <a:buClr>
                <a:schemeClr val="bg1"/>
              </a:buClr>
              <a:defRPr sz="1969">
                <a:solidFill>
                  <a:schemeClr val="bg1"/>
                </a:solidFill>
              </a:defRPr>
            </a:lvl4pPr>
            <a:lvl5pPr marL="1800744">
              <a:buClr>
                <a:schemeClr val="bg1"/>
              </a:buClr>
              <a:defRPr sz="196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p:cNvGrpSpPr/>
          <p:nvPr userDrawn="1"/>
        </p:nvGrpSpPr>
        <p:grpSpPr>
          <a:xfrm>
            <a:off x="5" y="6792455"/>
            <a:ext cx="12191999" cy="73745"/>
            <a:chOff x="1" y="6792449"/>
            <a:chExt cx="9143999" cy="73745"/>
          </a:xfrm>
        </p:grpSpPr>
        <p:sp>
          <p:nvSpPr>
            <p:cNvPr id="8" name="Rectangle 7"/>
            <p:cNvSpPr/>
            <p:nvPr/>
          </p:nvSpPr>
          <p:spPr>
            <a:xfrm>
              <a:off x="5486400" y="6792449"/>
              <a:ext cx="1828800" cy="73745"/>
            </a:xfrm>
            <a:prstGeom prst="rect">
              <a:avLst/>
            </a:prstGeom>
            <a:solidFill>
              <a:srgbClr val="1740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9" name="Rectangle 8"/>
            <p:cNvSpPr/>
            <p:nvPr/>
          </p:nvSpPr>
          <p:spPr>
            <a:xfrm>
              <a:off x="1" y="6792449"/>
              <a:ext cx="1828800" cy="73745"/>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0" name="Rectangle 9"/>
            <p:cNvSpPr/>
            <p:nvPr/>
          </p:nvSpPr>
          <p:spPr>
            <a:xfrm>
              <a:off x="1828801" y="6792449"/>
              <a:ext cx="1828800" cy="73745"/>
            </a:xfrm>
            <a:prstGeom prst="rect">
              <a:avLst/>
            </a:prstGeom>
            <a:solidFill>
              <a:srgbClr val="2428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1" name="Rectangle 10"/>
            <p:cNvSpPr/>
            <p:nvPr/>
          </p:nvSpPr>
          <p:spPr>
            <a:xfrm>
              <a:off x="3657601" y="6792450"/>
              <a:ext cx="1828800" cy="73743"/>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2" name="Rectangle 11"/>
            <p:cNvSpPr/>
            <p:nvPr/>
          </p:nvSpPr>
          <p:spPr>
            <a:xfrm>
              <a:off x="7315200" y="6792450"/>
              <a:ext cx="1828800" cy="73743"/>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grpSp>
      <p:sp>
        <p:nvSpPr>
          <p:cNvPr id="14" name="Slide Number Placeholder 5"/>
          <p:cNvSpPr>
            <a:spLocks noGrp="1"/>
          </p:cNvSpPr>
          <p:nvPr>
            <p:ph type="sldNum" sz="quarter" idx="4"/>
          </p:nvPr>
        </p:nvSpPr>
        <p:spPr>
          <a:xfrm>
            <a:off x="342240" y="6356358"/>
            <a:ext cx="2844800" cy="365125"/>
          </a:xfrm>
          <a:prstGeom prst="rect">
            <a:avLst/>
          </a:prstGeom>
        </p:spPr>
        <p:txBody>
          <a:bodyPr vert="horz" lIns="91440" tIns="45720" rIns="91440" bIns="45720" rtlCol="0" anchor="ctr"/>
          <a:lstStyle>
            <a:lvl1pPr algn="l">
              <a:defRPr sz="985" b="1">
                <a:solidFill>
                  <a:schemeClr val="bg1"/>
                </a:solidFill>
              </a:defRPr>
            </a:lvl1pPr>
          </a:lstStyle>
          <a:p>
            <a:fld id="{4F1FA912-FC24-3D46-8310-EAE10B51E2A1}" type="slidenum">
              <a:rPr lang="en-US" smtClean="0"/>
              <a:pPr/>
              <a:t>‹#›</a:t>
            </a:fld>
            <a:endParaRPr lang="en-US"/>
          </a:p>
        </p:txBody>
      </p:sp>
      <p:sp>
        <p:nvSpPr>
          <p:cNvPr id="4" name="Rectangle 3">
            <a:extLst>
              <a:ext uri="{FF2B5EF4-FFF2-40B4-BE49-F238E27FC236}">
                <a16:creationId xmlns:a16="http://schemas.microsoft.com/office/drawing/2014/main" id="{B8220D95-DAE1-4F82-BB86-4344ECA48E95}"/>
              </a:ext>
            </a:extLst>
          </p:cNvPr>
          <p:cNvSpPr/>
          <p:nvPr userDrawn="1"/>
        </p:nvSpPr>
        <p:spPr>
          <a:xfrm>
            <a:off x="10241280" y="6029158"/>
            <a:ext cx="1722120" cy="692325"/>
          </a:xfrm>
          <a:prstGeom prst="rect">
            <a:avLst/>
          </a:prstGeom>
          <a:solidFill>
            <a:srgbClr val="2A346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600"/>
          </a:p>
        </p:txBody>
      </p:sp>
      <p:pic>
        <p:nvPicPr>
          <p:cNvPr id="13" name="Graphic 12">
            <a:extLst>
              <a:ext uri="{FF2B5EF4-FFF2-40B4-BE49-F238E27FC236}">
                <a16:creationId xmlns:a16="http://schemas.microsoft.com/office/drawing/2014/main" id="{9716CD73-2D50-499E-A3B3-CCC473C3DD2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455559" y="6143625"/>
            <a:ext cx="1394201" cy="464733"/>
          </a:xfrm>
          <a:prstGeom prst="rect">
            <a:avLst/>
          </a:prstGeom>
        </p:spPr>
      </p:pic>
    </p:spTree>
    <p:extLst>
      <p:ext uri="{BB962C8B-B14F-4D97-AF65-F5344CB8AC3E}">
        <p14:creationId xmlns:p14="http://schemas.microsoft.com/office/powerpoint/2010/main" val="3753038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Table of Contets">
    <p:bg>
      <p:bgPr>
        <a:solidFill>
          <a:srgbClr val="277DA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42242" y="194430"/>
            <a:ext cx="11528917" cy="594360"/>
          </a:xfrm>
        </p:spPr>
        <p:txBody>
          <a:bodyPr>
            <a:noAutofit/>
          </a:bodyPr>
          <a:lstStyle>
            <a:lvl1pPr>
              <a:defRPr sz="2585">
                <a:solidFill>
                  <a:schemeClr val="bg1"/>
                </a:solidFill>
              </a:defRPr>
            </a:lvl1pPr>
          </a:lstStyle>
          <a:p>
            <a:r>
              <a:rPr lang="en-US"/>
              <a:t>Click to edit Master title style</a:t>
            </a:r>
          </a:p>
        </p:txBody>
      </p:sp>
      <p:sp>
        <p:nvSpPr>
          <p:cNvPr id="3" name="Content Placeholder 2"/>
          <p:cNvSpPr>
            <a:spLocks noGrp="1"/>
          </p:cNvSpPr>
          <p:nvPr>
            <p:ph idx="1"/>
          </p:nvPr>
        </p:nvSpPr>
        <p:spPr>
          <a:xfrm>
            <a:off x="342242" y="801390"/>
            <a:ext cx="11528917" cy="5227768"/>
          </a:xfrm>
        </p:spPr>
        <p:txBody>
          <a:bodyPr>
            <a:noAutofit/>
          </a:bodyPr>
          <a:lstStyle>
            <a:lvl1pPr>
              <a:spcAft>
                <a:spcPts val="738"/>
              </a:spcAft>
              <a:buClr>
                <a:schemeClr val="bg1"/>
              </a:buClr>
              <a:defRPr sz="1969">
                <a:solidFill>
                  <a:schemeClr val="bg1"/>
                </a:solidFill>
              </a:defRPr>
            </a:lvl1pPr>
            <a:lvl2pPr marL="450186">
              <a:buClr>
                <a:schemeClr val="bg1"/>
              </a:buClr>
              <a:defRPr sz="1969">
                <a:solidFill>
                  <a:schemeClr val="bg1"/>
                </a:solidFill>
              </a:defRPr>
            </a:lvl2pPr>
            <a:lvl3pPr marL="900372">
              <a:buClr>
                <a:schemeClr val="bg1"/>
              </a:buClr>
              <a:defRPr sz="1969">
                <a:solidFill>
                  <a:schemeClr val="bg1"/>
                </a:solidFill>
              </a:defRPr>
            </a:lvl3pPr>
            <a:lvl4pPr marL="1350558">
              <a:buClr>
                <a:schemeClr val="bg1"/>
              </a:buClr>
              <a:defRPr sz="1969">
                <a:solidFill>
                  <a:schemeClr val="bg1"/>
                </a:solidFill>
              </a:defRPr>
            </a:lvl4pPr>
            <a:lvl5pPr marL="1800744">
              <a:buClr>
                <a:schemeClr val="bg1"/>
              </a:buClr>
              <a:defRPr sz="196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p:cNvGrpSpPr/>
          <p:nvPr userDrawn="1"/>
        </p:nvGrpSpPr>
        <p:grpSpPr>
          <a:xfrm>
            <a:off x="5" y="6792455"/>
            <a:ext cx="12191999" cy="73745"/>
            <a:chOff x="1" y="6792449"/>
            <a:chExt cx="9143999" cy="73745"/>
          </a:xfrm>
        </p:grpSpPr>
        <p:sp>
          <p:nvSpPr>
            <p:cNvPr id="8" name="Rectangle 7"/>
            <p:cNvSpPr/>
            <p:nvPr/>
          </p:nvSpPr>
          <p:spPr>
            <a:xfrm>
              <a:off x="5486400" y="6792449"/>
              <a:ext cx="1828800" cy="73745"/>
            </a:xfrm>
            <a:prstGeom prst="rect">
              <a:avLst/>
            </a:prstGeom>
            <a:solidFill>
              <a:srgbClr val="1740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9" name="Rectangle 8"/>
            <p:cNvSpPr/>
            <p:nvPr/>
          </p:nvSpPr>
          <p:spPr>
            <a:xfrm>
              <a:off x="1" y="6792449"/>
              <a:ext cx="1828800" cy="73745"/>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0" name="Rectangle 9"/>
            <p:cNvSpPr/>
            <p:nvPr/>
          </p:nvSpPr>
          <p:spPr>
            <a:xfrm>
              <a:off x="1828801" y="6792449"/>
              <a:ext cx="1828800" cy="73745"/>
            </a:xfrm>
            <a:prstGeom prst="rect">
              <a:avLst/>
            </a:prstGeom>
            <a:solidFill>
              <a:srgbClr val="2428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1" name="Rectangle 10"/>
            <p:cNvSpPr/>
            <p:nvPr/>
          </p:nvSpPr>
          <p:spPr>
            <a:xfrm>
              <a:off x="3657601" y="6792450"/>
              <a:ext cx="1828800" cy="73743"/>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2" name="Rectangle 11"/>
            <p:cNvSpPr/>
            <p:nvPr/>
          </p:nvSpPr>
          <p:spPr>
            <a:xfrm>
              <a:off x="7315200" y="6792450"/>
              <a:ext cx="1828800" cy="73743"/>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grpSp>
      <p:sp>
        <p:nvSpPr>
          <p:cNvPr id="14" name="Slide Number Placeholder 5"/>
          <p:cNvSpPr>
            <a:spLocks noGrp="1"/>
          </p:cNvSpPr>
          <p:nvPr>
            <p:ph type="sldNum" sz="quarter" idx="4"/>
          </p:nvPr>
        </p:nvSpPr>
        <p:spPr>
          <a:xfrm>
            <a:off x="342240" y="6356358"/>
            <a:ext cx="2844800" cy="365125"/>
          </a:xfrm>
          <a:prstGeom prst="rect">
            <a:avLst/>
          </a:prstGeom>
        </p:spPr>
        <p:txBody>
          <a:bodyPr vert="horz" lIns="91440" tIns="45720" rIns="91440" bIns="45720" rtlCol="0" anchor="ctr"/>
          <a:lstStyle>
            <a:lvl1pPr algn="l">
              <a:defRPr sz="985" b="1">
                <a:solidFill>
                  <a:schemeClr val="bg1"/>
                </a:solidFill>
              </a:defRPr>
            </a:lvl1pPr>
          </a:lstStyle>
          <a:p>
            <a:fld id="{4F1FA912-FC24-3D46-8310-EAE10B51E2A1}" type="slidenum">
              <a:rPr lang="en-US" smtClean="0"/>
              <a:pPr/>
              <a:t>‹#›</a:t>
            </a:fld>
            <a:endParaRPr lang="en-US"/>
          </a:p>
        </p:txBody>
      </p:sp>
      <p:sp>
        <p:nvSpPr>
          <p:cNvPr id="4" name="Rectangle 3">
            <a:extLst>
              <a:ext uri="{FF2B5EF4-FFF2-40B4-BE49-F238E27FC236}">
                <a16:creationId xmlns:a16="http://schemas.microsoft.com/office/drawing/2014/main" id="{B8220D95-DAE1-4F82-BB86-4344ECA48E95}"/>
              </a:ext>
            </a:extLst>
          </p:cNvPr>
          <p:cNvSpPr/>
          <p:nvPr userDrawn="1"/>
        </p:nvSpPr>
        <p:spPr>
          <a:xfrm>
            <a:off x="10241280" y="6029158"/>
            <a:ext cx="1722120" cy="692325"/>
          </a:xfrm>
          <a:prstGeom prst="rect">
            <a:avLst/>
          </a:prstGeom>
          <a:solidFill>
            <a:srgbClr val="277DA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600"/>
          </a:p>
        </p:txBody>
      </p:sp>
      <p:pic>
        <p:nvPicPr>
          <p:cNvPr id="13" name="Graphic 12">
            <a:extLst>
              <a:ext uri="{FF2B5EF4-FFF2-40B4-BE49-F238E27FC236}">
                <a16:creationId xmlns:a16="http://schemas.microsoft.com/office/drawing/2014/main" id="{9716CD73-2D50-499E-A3B3-CCC473C3DD2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455559" y="6143625"/>
            <a:ext cx="1394201" cy="464733"/>
          </a:xfrm>
          <a:prstGeom prst="rect">
            <a:avLst/>
          </a:prstGeom>
        </p:spPr>
      </p:pic>
    </p:spTree>
    <p:extLst>
      <p:ext uri="{BB962C8B-B14F-4D97-AF65-F5344CB8AC3E}">
        <p14:creationId xmlns:p14="http://schemas.microsoft.com/office/powerpoint/2010/main" val="322534206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Table of Contets">
    <p:bg>
      <p:bgPr>
        <a:solidFill>
          <a:srgbClr val="1293C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42242" y="194430"/>
            <a:ext cx="11528917" cy="594360"/>
          </a:xfrm>
        </p:spPr>
        <p:txBody>
          <a:bodyPr>
            <a:noAutofit/>
          </a:bodyPr>
          <a:lstStyle>
            <a:lvl1pPr>
              <a:defRPr sz="2585">
                <a:solidFill>
                  <a:schemeClr val="bg1"/>
                </a:solidFill>
              </a:defRPr>
            </a:lvl1pPr>
          </a:lstStyle>
          <a:p>
            <a:r>
              <a:rPr lang="en-US"/>
              <a:t>Click to edit Master title style</a:t>
            </a:r>
          </a:p>
        </p:txBody>
      </p:sp>
      <p:sp>
        <p:nvSpPr>
          <p:cNvPr id="3" name="Content Placeholder 2"/>
          <p:cNvSpPr>
            <a:spLocks noGrp="1"/>
          </p:cNvSpPr>
          <p:nvPr>
            <p:ph idx="1"/>
          </p:nvPr>
        </p:nvSpPr>
        <p:spPr>
          <a:xfrm>
            <a:off x="342242" y="801390"/>
            <a:ext cx="11528917" cy="5227768"/>
          </a:xfrm>
        </p:spPr>
        <p:txBody>
          <a:bodyPr>
            <a:noAutofit/>
          </a:bodyPr>
          <a:lstStyle>
            <a:lvl1pPr>
              <a:spcAft>
                <a:spcPts val="738"/>
              </a:spcAft>
              <a:buClr>
                <a:schemeClr val="bg1"/>
              </a:buClr>
              <a:defRPr sz="1969">
                <a:solidFill>
                  <a:schemeClr val="bg1"/>
                </a:solidFill>
              </a:defRPr>
            </a:lvl1pPr>
            <a:lvl2pPr marL="450186">
              <a:buClr>
                <a:schemeClr val="bg1"/>
              </a:buClr>
              <a:defRPr sz="1969">
                <a:solidFill>
                  <a:schemeClr val="bg1"/>
                </a:solidFill>
              </a:defRPr>
            </a:lvl2pPr>
            <a:lvl3pPr marL="900372">
              <a:buClr>
                <a:schemeClr val="bg1"/>
              </a:buClr>
              <a:defRPr sz="1969">
                <a:solidFill>
                  <a:schemeClr val="bg1"/>
                </a:solidFill>
              </a:defRPr>
            </a:lvl3pPr>
            <a:lvl4pPr marL="1350558">
              <a:buClr>
                <a:schemeClr val="bg1"/>
              </a:buClr>
              <a:defRPr sz="1969">
                <a:solidFill>
                  <a:schemeClr val="bg1"/>
                </a:solidFill>
              </a:defRPr>
            </a:lvl4pPr>
            <a:lvl5pPr marL="1800744">
              <a:buClr>
                <a:schemeClr val="bg1"/>
              </a:buClr>
              <a:defRPr sz="196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p:cNvGrpSpPr/>
          <p:nvPr userDrawn="1"/>
        </p:nvGrpSpPr>
        <p:grpSpPr>
          <a:xfrm>
            <a:off x="5" y="6792455"/>
            <a:ext cx="12191999" cy="73745"/>
            <a:chOff x="1" y="6792449"/>
            <a:chExt cx="9143999" cy="73745"/>
          </a:xfrm>
        </p:grpSpPr>
        <p:sp>
          <p:nvSpPr>
            <p:cNvPr id="8" name="Rectangle 7"/>
            <p:cNvSpPr/>
            <p:nvPr/>
          </p:nvSpPr>
          <p:spPr>
            <a:xfrm>
              <a:off x="5486400" y="6792449"/>
              <a:ext cx="1828800" cy="73745"/>
            </a:xfrm>
            <a:prstGeom prst="rect">
              <a:avLst/>
            </a:prstGeom>
            <a:solidFill>
              <a:srgbClr val="1740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9" name="Rectangle 8"/>
            <p:cNvSpPr/>
            <p:nvPr/>
          </p:nvSpPr>
          <p:spPr>
            <a:xfrm>
              <a:off x="1" y="6792449"/>
              <a:ext cx="1828800" cy="73745"/>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0" name="Rectangle 9"/>
            <p:cNvSpPr/>
            <p:nvPr/>
          </p:nvSpPr>
          <p:spPr>
            <a:xfrm>
              <a:off x="1828801" y="6792449"/>
              <a:ext cx="1828800" cy="73745"/>
            </a:xfrm>
            <a:prstGeom prst="rect">
              <a:avLst/>
            </a:prstGeom>
            <a:solidFill>
              <a:srgbClr val="2428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1" name="Rectangle 10"/>
            <p:cNvSpPr/>
            <p:nvPr/>
          </p:nvSpPr>
          <p:spPr>
            <a:xfrm>
              <a:off x="3657601" y="6792450"/>
              <a:ext cx="1828800" cy="73743"/>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2" name="Rectangle 11"/>
            <p:cNvSpPr/>
            <p:nvPr/>
          </p:nvSpPr>
          <p:spPr>
            <a:xfrm>
              <a:off x="7315200" y="6792450"/>
              <a:ext cx="1828800" cy="73743"/>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grpSp>
      <p:sp>
        <p:nvSpPr>
          <p:cNvPr id="14" name="Slide Number Placeholder 5"/>
          <p:cNvSpPr>
            <a:spLocks noGrp="1"/>
          </p:cNvSpPr>
          <p:nvPr>
            <p:ph type="sldNum" sz="quarter" idx="4"/>
          </p:nvPr>
        </p:nvSpPr>
        <p:spPr>
          <a:xfrm>
            <a:off x="342240" y="6356358"/>
            <a:ext cx="2844800" cy="365125"/>
          </a:xfrm>
          <a:prstGeom prst="rect">
            <a:avLst/>
          </a:prstGeom>
        </p:spPr>
        <p:txBody>
          <a:bodyPr vert="horz" lIns="91440" tIns="45720" rIns="91440" bIns="45720" rtlCol="0" anchor="ctr"/>
          <a:lstStyle>
            <a:lvl1pPr algn="l">
              <a:defRPr sz="985" b="1">
                <a:solidFill>
                  <a:schemeClr val="bg1"/>
                </a:solidFill>
              </a:defRPr>
            </a:lvl1pPr>
          </a:lstStyle>
          <a:p>
            <a:fld id="{4F1FA912-FC24-3D46-8310-EAE10B51E2A1}" type="slidenum">
              <a:rPr lang="en-US" smtClean="0"/>
              <a:pPr/>
              <a:t>‹#›</a:t>
            </a:fld>
            <a:endParaRPr lang="en-US"/>
          </a:p>
        </p:txBody>
      </p:sp>
      <p:sp>
        <p:nvSpPr>
          <p:cNvPr id="4" name="Rectangle 3">
            <a:extLst>
              <a:ext uri="{FF2B5EF4-FFF2-40B4-BE49-F238E27FC236}">
                <a16:creationId xmlns:a16="http://schemas.microsoft.com/office/drawing/2014/main" id="{B8220D95-DAE1-4F82-BB86-4344ECA48E95}"/>
              </a:ext>
            </a:extLst>
          </p:cNvPr>
          <p:cNvSpPr/>
          <p:nvPr userDrawn="1"/>
        </p:nvSpPr>
        <p:spPr>
          <a:xfrm>
            <a:off x="10241280" y="6029158"/>
            <a:ext cx="1722120" cy="692325"/>
          </a:xfrm>
          <a:prstGeom prst="rect">
            <a:avLst/>
          </a:prstGeom>
          <a:solidFill>
            <a:srgbClr val="1293C8"/>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600"/>
          </a:p>
        </p:txBody>
      </p:sp>
      <p:pic>
        <p:nvPicPr>
          <p:cNvPr id="13" name="Graphic 12">
            <a:extLst>
              <a:ext uri="{FF2B5EF4-FFF2-40B4-BE49-F238E27FC236}">
                <a16:creationId xmlns:a16="http://schemas.microsoft.com/office/drawing/2014/main" id="{9716CD73-2D50-499E-A3B3-CCC473C3DD2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455559" y="6143625"/>
            <a:ext cx="1394201" cy="464733"/>
          </a:xfrm>
          <a:prstGeom prst="rect">
            <a:avLst/>
          </a:prstGeom>
        </p:spPr>
      </p:pic>
    </p:spTree>
    <p:extLst>
      <p:ext uri="{BB962C8B-B14F-4D97-AF65-F5344CB8AC3E}">
        <p14:creationId xmlns:p14="http://schemas.microsoft.com/office/powerpoint/2010/main" val="415011042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Table of Contets">
    <p:bg>
      <p:bgPr>
        <a:solidFill>
          <a:srgbClr val="17425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42242" y="194430"/>
            <a:ext cx="11528917" cy="594360"/>
          </a:xfrm>
        </p:spPr>
        <p:txBody>
          <a:bodyPr>
            <a:noAutofit/>
          </a:bodyPr>
          <a:lstStyle>
            <a:lvl1pPr>
              <a:defRPr sz="2585">
                <a:solidFill>
                  <a:schemeClr val="bg1"/>
                </a:solidFill>
              </a:defRPr>
            </a:lvl1pPr>
          </a:lstStyle>
          <a:p>
            <a:r>
              <a:rPr lang="en-US"/>
              <a:t>Click to edit Master title style</a:t>
            </a:r>
          </a:p>
        </p:txBody>
      </p:sp>
      <p:sp>
        <p:nvSpPr>
          <p:cNvPr id="3" name="Content Placeholder 2"/>
          <p:cNvSpPr>
            <a:spLocks noGrp="1"/>
          </p:cNvSpPr>
          <p:nvPr>
            <p:ph idx="1"/>
          </p:nvPr>
        </p:nvSpPr>
        <p:spPr>
          <a:xfrm>
            <a:off x="342242" y="801390"/>
            <a:ext cx="11528917" cy="5227768"/>
          </a:xfrm>
        </p:spPr>
        <p:txBody>
          <a:bodyPr>
            <a:noAutofit/>
          </a:bodyPr>
          <a:lstStyle>
            <a:lvl1pPr>
              <a:spcAft>
                <a:spcPts val="738"/>
              </a:spcAft>
              <a:buClr>
                <a:schemeClr val="bg1"/>
              </a:buClr>
              <a:defRPr sz="1969">
                <a:solidFill>
                  <a:schemeClr val="bg1"/>
                </a:solidFill>
              </a:defRPr>
            </a:lvl1pPr>
            <a:lvl2pPr marL="450186">
              <a:buClr>
                <a:schemeClr val="bg1"/>
              </a:buClr>
              <a:defRPr sz="1969">
                <a:solidFill>
                  <a:schemeClr val="bg1"/>
                </a:solidFill>
              </a:defRPr>
            </a:lvl2pPr>
            <a:lvl3pPr marL="900372">
              <a:buClr>
                <a:schemeClr val="bg1"/>
              </a:buClr>
              <a:defRPr sz="1969">
                <a:solidFill>
                  <a:schemeClr val="bg1"/>
                </a:solidFill>
              </a:defRPr>
            </a:lvl3pPr>
            <a:lvl4pPr marL="1350558">
              <a:buClr>
                <a:schemeClr val="bg1"/>
              </a:buClr>
              <a:defRPr sz="1969">
                <a:solidFill>
                  <a:schemeClr val="bg1"/>
                </a:solidFill>
              </a:defRPr>
            </a:lvl4pPr>
            <a:lvl5pPr marL="1800744">
              <a:buClr>
                <a:schemeClr val="bg1"/>
              </a:buClr>
              <a:defRPr sz="196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p:cNvGrpSpPr/>
          <p:nvPr userDrawn="1"/>
        </p:nvGrpSpPr>
        <p:grpSpPr>
          <a:xfrm>
            <a:off x="5" y="6792455"/>
            <a:ext cx="12191999" cy="73745"/>
            <a:chOff x="1" y="6792449"/>
            <a:chExt cx="9143999" cy="73745"/>
          </a:xfrm>
        </p:grpSpPr>
        <p:sp>
          <p:nvSpPr>
            <p:cNvPr id="8" name="Rectangle 7"/>
            <p:cNvSpPr/>
            <p:nvPr/>
          </p:nvSpPr>
          <p:spPr>
            <a:xfrm>
              <a:off x="5486400" y="6792449"/>
              <a:ext cx="1828800" cy="73745"/>
            </a:xfrm>
            <a:prstGeom prst="rect">
              <a:avLst/>
            </a:prstGeom>
            <a:solidFill>
              <a:srgbClr val="1740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9" name="Rectangle 8"/>
            <p:cNvSpPr/>
            <p:nvPr/>
          </p:nvSpPr>
          <p:spPr>
            <a:xfrm>
              <a:off x="1" y="6792449"/>
              <a:ext cx="1828800" cy="73745"/>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0" name="Rectangle 9"/>
            <p:cNvSpPr/>
            <p:nvPr/>
          </p:nvSpPr>
          <p:spPr>
            <a:xfrm>
              <a:off x="1828801" y="6792449"/>
              <a:ext cx="1828800" cy="73745"/>
            </a:xfrm>
            <a:prstGeom prst="rect">
              <a:avLst/>
            </a:prstGeom>
            <a:solidFill>
              <a:srgbClr val="2428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1" name="Rectangle 10"/>
            <p:cNvSpPr/>
            <p:nvPr/>
          </p:nvSpPr>
          <p:spPr>
            <a:xfrm>
              <a:off x="3657601" y="6792450"/>
              <a:ext cx="1828800" cy="73743"/>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2" name="Rectangle 11"/>
            <p:cNvSpPr/>
            <p:nvPr/>
          </p:nvSpPr>
          <p:spPr>
            <a:xfrm>
              <a:off x="7315200" y="6792450"/>
              <a:ext cx="1828800" cy="73743"/>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grpSp>
      <p:sp>
        <p:nvSpPr>
          <p:cNvPr id="14" name="Slide Number Placeholder 5"/>
          <p:cNvSpPr>
            <a:spLocks noGrp="1"/>
          </p:cNvSpPr>
          <p:nvPr>
            <p:ph type="sldNum" sz="quarter" idx="4"/>
          </p:nvPr>
        </p:nvSpPr>
        <p:spPr>
          <a:xfrm>
            <a:off x="342240" y="6356358"/>
            <a:ext cx="2844800" cy="365125"/>
          </a:xfrm>
          <a:prstGeom prst="rect">
            <a:avLst/>
          </a:prstGeom>
        </p:spPr>
        <p:txBody>
          <a:bodyPr vert="horz" lIns="91440" tIns="45720" rIns="91440" bIns="45720" rtlCol="0" anchor="ctr"/>
          <a:lstStyle>
            <a:lvl1pPr algn="l">
              <a:defRPr sz="985" b="1">
                <a:solidFill>
                  <a:schemeClr val="bg1"/>
                </a:solidFill>
              </a:defRPr>
            </a:lvl1pPr>
          </a:lstStyle>
          <a:p>
            <a:fld id="{4F1FA912-FC24-3D46-8310-EAE10B51E2A1}" type="slidenum">
              <a:rPr lang="en-US" smtClean="0"/>
              <a:pPr/>
              <a:t>‹#›</a:t>
            </a:fld>
            <a:endParaRPr lang="en-US"/>
          </a:p>
        </p:txBody>
      </p:sp>
      <p:sp>
        <p:nvSpPr>
          <p:cNvPr id="4" name="Rectangle 3">
            <a:extLst>
              <a:ext uri="{FF2B5EF4-FFF2-40B4-BE49-F238E27FC236}">
                <a16:creationId xmlns:a16="http://schemas.microsoft.com/office/drawing/2014/main" id="{B8220D95-DAE1-4F82-BB86-4344ECA48E95}"/>
              </a:ext>
            </a:extLst>
          </p:cNvPr>
          <p:cNvSpPr/>
          <p:nvPr userDrawn="1"/>
        </p:nvSpPr>
        <p:spPr>
          <a:xfrm>
            <a:off x="10241280" y="6029158"/>
            <a:ext cx="1722120" cy="692325"/>
          </a:xfrm>
          <a:prstGeom prst="rect">
            <a:avLst/>
          </a:prstGeom>
          <a:solidFill>
            <a:srgbClr val="17425A"/>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600"/>
          </a:p>
        </p:txBody>
      </p:sp>
      <p:pic>
        <p:nvPicPr>
          <p:cNvPr id="13" name="Graphic 12">
            <a:extLst>
              <a:ext uri="{FF2B5EF4-FFF2-40B4-BE49-F238E27FC236}">
                <a16:creationId xmlns:a16="http://schemas.microsoft.com/office/drawing/2014/main" id="{9716CD73-2D50-499E-A3B3-CCC473C3DD2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455559" y="6143625"/>
            <a:ext cx="1394201" cy="464733"/>
          </a:xfrm>
          <a:prstGeom prst="rect">
            <a:avLst/>
          </a:prstGeom>
        </p:spPr>
      </p:pic>
    </p:spTree>
    <p:extLst>
      <p:ext uri="{BB962C8B-B14F-4D97-AF65-F5344CB8AC3E}">
        <p14:creationId xmlns:p14="http://schemas.microsoft.com/office/powerpoint/2010/main" val="915379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Slide - 01A">
    <p:spTree>
      <p:nvGrpSpPr>
        <p:cNvPr id="1" name=""/>
        <p:cNvGrpSpPr/>
        <p:nvPr/>
      </p:nvGrpSpPr>
      <p:grpSpPr>
        <a:xfrm>
          <a:off x="0" y="0"/>
          <a:ext cx="0" cy="0"/>
          <a:chOff x="0" y="0"/>
          <a:chExt cx="0" cy="0"/>
        </a:xfrm>
      </p:grpSpPr>
      <p:sp>
        <p:nvSpPr>
          <p:cNvPr id="8" name="Content Placeholder 2"/>
          <p:cNvSpPr>
            <a:spLocks noGrp="1"/>
          </p:cNvSpPr>
          <p:nvPr>
            <p:ph idx="13"/>
          </p:nvPr>
        </p:nvSpPr>
        <p:spPr>
          <a:xfrm>
            <a:off x="342242" y="801394"/>
            <a:ext cx="11528917" cy="5227769"/>
          </a:xfrm>
        </p:spPr>
        <p:txBody>
          <a:bodyPr>
            <a:noAutofit/>
          </a:bodyPr>
          <a:lstStyle>
            <a:lvl1pPr marL="0" indent="0">
              <a:buFontTx/>
              <a:buNone/>
              <a:defRPr sz="1477"/>
            </a:lvl1pPr>
            <a:lvl2pPr marL="450186" indent="-225092">
              <a:buSzPct val="110000"/>
              <a:buFont typeface="Arial"/>
              <a:buChar char="•"/>
              <a:defRPr sz="1477"/>
            </a:lvl2pPr>
            <a:lvl3pPr marL="900372" indent="-225092">
              <a:buSzPct val="90000"/>
              <a:buFont typeface="Courier New"/>
              <a:buChar char="o"/>
              <a:defRPr sz="1477"/>
            </a:lvl3pPr>
            <a:lvl4pPr marL="1350558" indent="-225092">
              <a:buSzPct val="110000"/>
              <a:buFont typeface="Arial"/>
              <a:buChar char="•"/>
              <a:defRPr sz="1477"/>
            </a:lvl4pPr>
            <a:lvl5pPr marL="1800744" indent="-225092">
              <a:buSzPct val="90000"/>
              <a:buFont typeface="Courier New"/>
              <a:buChar char="o"/>
              <a:defRPr sz="14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p:cNvSpPr/>
          <p:nvPr/>
        </p:nvSpPr>
        <p:spPr>
          <a:xfrm>
            <a:off x="1" y="6765821"/>
            <a:ext cx="12192000" cy="73745"/>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6" name="Title 1"/>
          <p:cNvSpPr>
            <a:spLocks noGrp="1"/>
          </p:cNvSpPr>
          <p:nvPr>
            <p:ph type="title"/>
          </p:nvPr>
        </p:nvSpPr>
        <p:spPr>
          <a:xfrm>
            <a:off x="342242" y="194430"/>
            <a:ext cx="11528917" cy="594360"/>
          </a:xfrm>
        </p:spPr>
        <p:txBody>
          <a:bodyPr>
            <a:noAutofit/>
          </a:bodyPr>
          <a:lstStyle>
            <a:lvl1pPr>
              <a:defRPr sz="2585"/>
            </a:lvl1pPr>
          </a:lstStyle>
          <a:p>
            <a:r>
              <a:rPr lang="en-US"/>
              <a:t>Click to edit Master title style</a:t>
            </a:r>
          </a:p>
        </p:txBody>
      </p:sp>
    </p:spTree>
    <p:extLst>
      <p:ext uri="{BB962C8B-B14F-4D97-AF65-F5344CB8AC3E}">
        <p14:creationId xmlns:p14="http://schemas.microsoft.com/office/powerpoint/2010/main" val="422551503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Slide - 01B">
    <p:spTree>
      <p:nvGrpSpPr>
        <p:cNvPr id="1" name=""/>
        <p:cNvGrpSpPr/>
        <p:nvPr/>
      </p:nvGrpSpPr>
      <p:grpSpPr>
        <a:xfrm>
          <a:off x="0" y="0"/>
          <a:ext cx="0" cy="0"/>
          <a:chOff x="0" y="0"/>
          <a:chExt cx="0" cy="0"/>
        </a:xfrm>
      </p:grpSpPr>
      <p:sp>
        <p:nvSpPr>
          <p:cNvPr id="12" name="Rectangle 11"/>
          <p:cNvSpPr/>
          <p:nvPr/>
        </p:nvSpPr>
        <p:spPr>
          <a:xfrm>
            <a:off x="1" y="6765821"/>
            <a:ext cx="12192000" cy="73745"/>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6" name="Title 1"/>
          <p:cNvSpPr>
            <a:spLocks noGrp="1"/>
          </p:cNvSpPr>
          <p:nvPr>
            <p:ph type="title"/>
          </p:nvPr>
        </p:nvSpPr>
        <p:spPr>
          <a:xfrm>
            <a:off x="342242" y="194436"/>
            <a:ext cx="11528917" cy="394087"/>
          </a:xfrm>
        </p:spPr>
        <p:txBody>
          <a:bodyPr>
            <a:noAutofit/>
          </a:bodyPr>
          <a:lstStyle>
            <a:lvl1pPr>
              <a:defRPr sz="2585"/>
            </a:lvl1pPr>
          </a:lstStyle>
          <a:p>
            <a:r>
              <a:rPr lang="en-US"/>
              <a:t>Click to edit Master title style</a:t>
            </a:r>
          </a:p>
        </p:txBody>
      </p:sp>
      <p:sp>
        <p:nvSpPr>
          <p:cNvPr id="3" name="Text Placeholder 2"/>
          <p:cNvSpPr>
            <a:spLocks noGrp="1"/>
          </p:cNvSpPr>
          <p:nvPr>
            <p:ph type="body" sz="quarter" idx="14"/>
          </p:nvPr>
        </p:nvSpPr>
        <p:spPr>
          <a:xfrm>
            <a:off x="342243" y="601885"/>
            <a:ext cx="11540737" cy="373062"/>
          </a:xfrm>
        </p:spPr>
        <p:txBody>
          <a:bodyPr/>
          <a:lstStyle>
            <a:lvl1pPr marL="0" indent="0">
              <a:buNone/>
              <a:defRPr>
                <a:solidFill>
                  <a:schemeClr val="tx1">
                    <a:lumMod val="50000"/>
                    <a:lumOff val="50000"/>
                  </a:schemeClr>
                </a:solidFill>
              </a:defRPr>
            </a:lvl1pPr>
            <a:lvl2pPr marL="675278" indent="0">
              <a:buNone/>
              <a:defRPr/>
            </a:lvl2pPr>
            <a:lvl3pPr marL="1181738" indent="0">
              <a:buNone/>
              <a:defRPr/>
            </a:lvl3pPr>
            <a:lvl4pPr marL="1744472" indent="0">
              <a:buNone/>
              <a:defRPr/>
            </a:lvl4pPr>
            <a:lvl5pPr marL="2307205" indent="0">
              <a:buNone/>
              <a:defRPr/>
            </a:lvl5pPr>
          </a:lstStyle>
          <a:p>
            <a:pPr lvl="0"/>
            <a:r>
              <a:rPr lang="en-US"/>
              <a:t>Click to edit Master text styles</a:t>
            </a:r>
          </a:p>
        </p:txBody>
      </p:sp>
      <p:sp>
        <p:nvSpPr>
          <p:cNvPr id="7" name="Content Placeholder 2"/>
          <p:cNvSpPr>
            <a:spLocks noGrp="1"/>
          </p:cNvSpPr>
          <p:nvPr>
            <p:ph idx="13" hasCustomPrompt="1"/>
          </p:nvPr>
        </p:nvSpPr>
        <p:spPr>
          <a:xfrm>
            <a:off x="342242" y="1231903"/>
            <a:ext cx="11528917" cy="4797261"/>
          </a:xfrm>
        </p:spPr>
        <p:txBody>
          <a:bodyPr>
            <a:noAutofit/>
          </a:bodyPr>
          <a:lstStyle>
            <a:lvl1pPr marL="0" indent="0">
              <a:spcAft>
                <a:spcPts val="1231"/>
              </a:spcAft>
              <a:buFontTx/>
              <a:buNone/>
              <a:defRPr sz="1477" b="0">
                <a:solidFill>
                  <a:schemeClr val="tx1"/>
                </a:solidFill>
              </a:defRPr>
            </a:lvl1pPr>
            <a:lvl2pPr marL="0" indent="0">
              <a:buSzPct val="110000"/>
              <a:buFont typeface="Arial"/>
              <a:buNone/>
              <a:defRPr sz="1477"/>
            </a:lvl2pPr>
            <a:lvl3pPr marL="450186" indent="-225092">
              <a:buSzPct val="110000"/>
              <a:buFont typeface="Arial"/>
              <a:buChar char="•"/>
              <a:defRPr sz="1477"/>
            </a:lvl3pPr>
            <a:lvl4pPr marL="900372" indent="-225092">
              <a:buSzPct val="90000"/>
              <a:buFont typeface="Courier New"/>
              <a:buChar char="o"/>
              <a:defRPr sz="1477"/>
            </a:lvl4pPr>
            <a:lvl5pPr marL="1350558" indent="-225092">
              <a:buSzPct val="110000"/>
              <a:buFont typeface="Arial"/>
              <a:buChar char="•"/>
              <a:defRPr sz="14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866204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Slide - 02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Rectangle 3"/>
          <p:cNvSpPr/>
          <p:nvPr userDrawn="1"/>
        </p:nvSpPr>
        <p:spPr>
          <a:xfrm>
            <a:off x="0" y="6776215"/>
            <a:ext cx="12192000" cy="73152"/>
          </a:xfrm>
          <a:prstGeom prst="rect">
            <a:avLst/>
          </a:prstGeom>
          <a:solidFill>
            <a:srgbClr val="2B346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6" name="Content Placeholder 2"/>
          <p:cNvSpPr>
            <a:spLocks noGrp="1"/>
          </p:cNvSpPr>
          <p:nvPr>
            <p:ph idx="13"/>
          </p:nvPr>
        </p:nvSpPr>
        <p:spPr>
          <a:xfrm>
            <a:off x="342242" y="1235895"/>
            <a:ext cx="11528917" cy="4793268"/>
          </a:xfrm>
        </p:spPr>
        <p:txBody>
          <a:bodyPr>
            <a:noAutofit/>
          </a:bodyPr>
          <a:lstStyle>
            <a:lvl1pPr marL="0" indent="0">
              <a:buFontTx/>
              <a:buNone/>
              <a:defRPr sz="1477"/>
            </a:lvl1pPr>
            <a:lvl2pPr marL="450186" indent="-225092">
              <a:buSzPct val="110000"/>
              <a:buFont typeface="Arial"/>
              <a:buChar char="•"/>
              <a:defRPr sz="1477"/>
            </a:lvl2pPr>
            <a:lvl3pPr marL="900372" indent="-225092">
              <a:buSzPct val="90000"/>
              <a:buFont typeface="Courier New"/>
              <a:buChar char="o"/>
              <a:defRPr sz="1477"/>
            </a:lvl3pPr>
            <a:lvl4pPr marL="1350558" indent="-225092">
              <a:buSzPct val="110000"/>
              <a:buFont typeface="Arial"/>
              <a:buChar char="•"/>
              <a:defRPr sz="1477"/>
            </a:lvl4pPr>
            <a:lvl5pPr marL="1800744" indent="-225092">
              <a:buSzPct val="90000"/>
              <a:buFont typeface="Courier New"/>
              <a:buChar char="o"/>
              <a:defRPr sz="14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57690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10_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27684B8-B317-4A50-9091-A574CD74CCB1}"/>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a:extLst>
              <a:ext uri="{FF2B5EF4-FFF2-40B4-BE49-F238E27FC236}">
                <a16:creationId xmlns:a16="http://schemas.microsoft.com/office/drawing/2014/main" id="{FAB8A9DD-AB8F-4138-9EA2-044B28DCCE09}"/>
              </a:ext>
            </a:extLst>
          </p:cNvPr>
          <p:cNvSpPr/>
          <p:nvPr userDrawn="1"/>
        </p:nvSpPr>
        <p:spPr>
          <a:xfrm>
            <a:off x="0" y="-1"/>
            <a:ext cx="12192000" cy="6866199"/>
          </a:xfrm>
          <a:prstGeom prst="rect">
            <a:avLst/>
          </a:prstGeom>
          <a:solidFill>
            <a:srgbClr val="17425A">
              <a:alpha val="89804"/>
            </a:srgb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600"/>
          </a:p>
        </p:txBody>
      </p:sp>
      <p:cxnSp>
        <p:nvCxnSpPr>
          <p:cNvPr id="9" name="Straight Connector 8"/>
          <p:cNvCxnSpPr/>
          <p:nvPr userDrawn="1"/>
        </p:nvCxnSpPr>
        <p:spPr>
          <a:xfrm>
            <a:off x="595729" y="1288310"/>
            <a:ext cx="4174448" cy="0"/>
          </a:xfrm>
          <a:prstGeom prst="line">
            <a:avLst/>
          </a:prstGeom>
          <a:ln w="28575"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ctrTitle"/>
          </p:nvPr>
        </p:nvSpPr>
        <p:spPr>
          <a:xfrm>
            <a:off x="595730" y="1345036"/>
            <a:ext cx="10971428" cy="602536"/>
          </a:xfrm>
        </p:spPr>
        <p:txBody>
          <a:bodyPr lIns="0" tIns="0" rIns="0" bIns="0" anchor="t">
            <a:noAutofit/>
          </a:bodyPr>
          <a:lstStyle>
            <a:lvl1pPr algn="l">
              <a:defRPr sz="3939">
                <a:solidFill>
                  <a:schemeClr val="bg1"/>
                </a:solidFill>
                <a:latin typeface="Arial"/>
                <a:cs typeface="Arial"/>
              </a:defRPr>
            </a:lvl1pPr>
          </a:lstStyle>
          <a:p>
            <a:endParaRPr lang="en-US" b="1">
              <a:solidFill>
                <a:srgbClr val="1573C5"/>
              </a:solidFill>
              <a:latin typeface="Arial"/>
              <a:cs typeface="Arial"/>
            </a:endParaRPr>
          </a:p>
        </p:txBody>
      </p:sp>
      <p:sp>
        <p:nvSpPr>
          <p:cNvPr id="3" name="Subtitle 2"/>
          <p:cNvSpPr>
            <a:spLocks noGrp="1"/>
          </p:cNvSpPr>
          <p:nvPr>
            <p:ph type="subTitle" idx="1"/>
          </p:nvPr>
        </p:nvSpPr>
        <p:spPr>
          <a:xfrm>
            <a:off x="595730" y="2656405"/>
            <a:ext cx="10971428" cy="649843"/>
          </a:xfrm>
        </p:spPr>
        <p:txBody>
          <a:bodyPr lIns="0" tIns="0" rIns="0" bIns="0">
            <a:noAutofit/>
          </a:bodyPr>
          <a:lstStyle>
            <a:lvl1pPr marL="0" indent="0" algn="l">
              <a:buNone/>
              <a:defRPr sz="1969" b="1">
                <a:solidFill>
                  <a:schemeClr val="bg1"/>
                </a:solidFill>
                <a:latin typeface="Arial"/>
                <a:cs typeface="Arial"/>
              </a:defRPr>
            </a:lvl1pPr>
            <a:lvl2pPr marL="562733" indent="0" algn="ctr">
              <a:buNone/>
              <a:defRPr>
                <a:solidFill>
                  <a:schemeClr val="tx1">
                    <a:tint val="75000"/>
                  </a:schemeClr>
                </a:solidFill>
              </a:defRPr>
            </a:lvl2pPr>
            <a:lvl3pPr marL="1125466" indent="0" algn="ctr">
              <a:buNone/>
              <a:defRPr>
                <a:solidFill>
                  <a:schemeClr val="tx1">
                    <a:tint val="75000"/>
                  </a:schemeClr>
                </a:solidFill>
              </a:defRPr>
            </a:lvl3pPr>
            <a:lvl4pPr marL="1688197" indent="0" algn="ctr">
              <a:buNone/>
              <a:defRPr>
                <a:solidFill>
                  <a:schemeClr val="tx1">
                    <a:tint val="75000"/>
                  </a:schemeClr>
                </a:solidFill>
              </a:defRPr>
            </a:lvl4pPr>
            <a:lvl5pPr marL="2250930" indent="0" algn="ctr">
              <a:buNone/>
              <a:defRPr>
                <a:solidFill>
                  <a:schemeClr val="tx1">
                    <a:tint val="75000"/>
                  </a:schemeClr>
                </a:solidFill>
              </a:defRPr>
            </a:lvl5pPr>
            <a:lvl6pPr marL="2813663" indent="0" algn="ctr">
              <a:buNone/>
              <a:defRPr>
                <a:solidFill>
                  <a:schemeClr val="tx1">
                    <a:tint val="75000"/>
                  </a:schemeClr>
                </a:solidFill>
              </a:defRPr>
            </a:lvl6pPr>
            <a:lvl7pPr marL="3376397" indent="0" algn="ctr">
              <a:buNone/>
              <a:defRPr>
                <a:solidFill>
                  <a:schemeClr val="tx1">
                    <a:tint val="75000"/>
                  </a:schemeClr>
                </a:solidFill>
              </a:defRPr>
            </a:lvl7pPr>
            <a:lvl8pPr marL="3939127" indent="0" algn="ctr">
              <a:buNone/>
              <a:defRPr>
                <a:solidFill>
                  <a:schemeClr val="tx1">
                    <a:tint val="75000"/>
                  </a:schemeClr>
                </a:solidFill>
              </a:defRPr>
            </a:lvl8pPr>
            <a:lvl9pPr marL="4501860" indent="0" algn="ctr">
              <a:buNone/>
              <a:defRPr>
                <a:solidFill>
                  <a:schemeClr val="tx1">
                    <a:tint val="75000"/>
                  </a:schemeClr>
                </a:solidFill>
              </a:defRPr>
            </a:lvl9pPr>
          </a:lstStyle>
          <a:p>
            <a:endParaRPr lang="en-US"/>
          </a:p>
        </p:txBody>
      </p:sp>
      <p:grpSp>
        <p:nvGrpSpPr>
          <p:cNvPr id="10" name="Group 9"/>
          <p:cNvGrpSpPr/>
          <p:nvPr userDrawn="1"/>
        </p:nvGrpSpPr>
        <p:grpSpPr>
          <a:xfrm>
            <a:off x="5" y="6792455"/>
            <a:ext cx="12191999" cy="73745"/>
            <a:chOff x="1" y="6792449"/>
            <a:chExt cx="9143999" cy="73745"/>
          </a:xfrm>
        </p:grpSpPr>
        <p:sp>
          <p:nvSpPr>
            <p:cNvPr id="11" name="Rectangle 10"/>
            <p:cNvSpPr/>
            <p:nvPr/>
          </p:nvSpPr>
          <p:spPr>
            <a:xfrm>
              <a:off x="5486400" y="6792449"/>
              <a:ext cx="1828800" cy="73745"/>
            </a:xfrm>
            <a:prstGeom prst="rect">
              <a:avLst/>
            </a:prstGeom>
            <a:solidFill>
              <a:srgbClr val="1740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2" name="Rectangle 11"/>
            <p:cNvSpPr/>
            <p:nvPr/>
          </p:nvSpPr>
          <p:spPr>
            <a:xfrm>
              <a:off x="1" y="6792449"/>
              <a:ext cx="1828800" cy="73745"/>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3" name="Rectangle 12"/>
            <p:cNvSpPr/>
            <p:nvPr/>
          </p:nvSpPr>
          <p:spPr>
            <a:xfrm>
              <a:off x="1828801" y="6792449"/>
              <a:ext cx="1828800" cy="73745"/>
            </a:xfrm>
            <a:prstGeom prst="rect">
              <a:avLst/>
            </a:prstGeom>
            <a:solidFill>
              <a:srgbClr val="2428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4" name="Rectangle 13"/>
            <p:cNvSpPr/>
            <p:nvPr/>
          </p:nvSpPr>
          <p:spPr>
            <a:xfrm>
              <a:off x="3657601" y="6792450"/>
              <a:ext cx="1828800" cy="73743"/>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5" name="Rectangle 14"/>
            <p:cNvSpPr/>
            <p:nvPr/>
          </p:nvSpPr>
          <p:spPr>
            <a:xfrm>
              <a:off x="7315200" y="6792450"/>
              <a:ext cx="1828800" cy="73743"/>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grpSp>
      <p:pic>
        <p:nvPicPr>
          <p:cNvPr id="19" name="Graphic 18">
            <a:extLst>
              <a:ext uri="{FF2B5EF4-FFF2-40B4-BE49-F238E27FC236}">
                <a16:creationId xmlns:a16="http://schemas.microsoft.com/office/drawing/2014/main" id="{470AC07A-5090-444A-8131-96F0B1D6BFA5}"/>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95729" y="285180"/>
            <a:ext cx="1842676" cy="614225"/>
          </a:xfrm>
          <a:prstGeom prst="rect">
            <a:avLst/>
          </a:prstGeom>
        </p:spPr>
      </p:pic>
    </p:spTree>
    <p:extLst>
      <p:ext uri="{BB962C8B-B14F-4D97-AF65-F5344CB8AC3E}">
        <p14:creationId xmlns:p14="http://schemas.microsoft.com/office/powerpoint/2010/main" val="420393907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Slide - 02B">
    <p:spTree>
      <p:nvGrpSpPr>
        <p:cNvPr id="1" name=""/>
        <p:cNvGrpSpPr/>
        <p:nvPr/>
      </p:nvGrpSpPr>
      <p:grpSpPr>
        <a:xfrm>
          <a:off x="0" y="0"/>
          <a:ext cx="0" cy="0"/>
          <a:chOff x="0" y="0"/>
          <a:chExt cx="0" cy="0"/>
        </a:xfrm>
      </p:grpSpPr>
      <p:sp>
        <p:nvSpPr>
          <p:cNvPr id="16" name="Title 1"/>
          <p:cNvSpPr>
            <a:spLocks noGrp="1"/>
          </p:cNvSpPr>
          <p:nvPr>
            <p:ph type="title"/>
          </p:nvPr>
        </p:nvSpPr>
        <p:spPr>
          <a:xfrm>
            <a:off x="342242" y="194436"/>
            <a:ext cx="11528917" cy="394087"/>
          </a:xfrm>
        </p:spPr>
        <p:txBody>
          <a:bodyPr>
            <a:noAutofit/>
          </a:bodyPr>
          <a:lstStyle>
            <a:lvl1pPr>
              <a:defRPr sz="2585"/>
            </a:lvl1pPr>
          </a:lstStyle>
          <a:p>
            <a:r>
              <a:rPr lang="en-US"/>
              <a:t>Click to edit Master title style</a:t>
            </a:r>
          </a:p>
        </p:txBody>
      </p:sp>
      <p:sp>
        <p:nvSpPr>
          <p:cNvPr id="3" name="Text Placeholder 2"/>
          <p:cNvSpPr>
            <a:spLocks noGrp="1"/>
          </p:cNvSpPr>
          <p:nvPr>
            <p:ph type="body" sz="quarter" idx="14"/>
          </p:nvPr>
        </p:nvSpPr>
        <p:spPr>
          <a:xfrm>
            <a:off x="342243" y="601885"/>
            <a:ext cx="11540737" cy="373062"/>
          </a:xfrm>
        </p:spPr>
        <p:txBody>
          <a:bodyPr/>
          <a:lstStyle>
            <a:lvl1pPr marL="0" indent="0">
              <a:buNone/>
              <a:defRPr>
                <a:solidFill>
                  <a:schemeClr val="tx1">
                    <a:lumMod val="50000"/>
                    <a:lumOff val="50000"/>
                  </a:schemeClr>
                </a:solidFill>
              </a:defRPr>
            </a:lvl1pPr>
            <a:lvl2pPr marL="675278" indent="0">
              <a:buNone/>
              <a:defRPr/>
            </a:lvl2pPr>
            <a:lvl3pPr marL="1181738" indent="0">
              <a:buNone/>
              <a:defRPr/>
            </a:lvl3pPr>
            <a:lvl4pPr marL="1744472" indent="0">
              <a:buNone/>
              <a:defRPr/>
            </a:lvl4pPr>
            <a:lvl5pPr marL="2307205" indent="0">
              <a:buNone/>
              <a:defRPr/>
            </a:lvl5pPr>
          </a:lstStyle>
          <a:p>
            <a:pPr lvl="0"/>
            <a:r>
              <a:rPr lang="en-US"/>
              <a:t>Click to edit Master text styles</a:t>
            </a:r>
          </a:p>
        </p:txBody>
      </p:sp>
      <p:sp>
        <p:nvSpPr>
          <p:cNvPr id="7" name="Rectangle 6"/>
          <p:cNvSpPr/>
          <p:nvPr userDrawn="1"/>
        </p:nvSpPr>
        <p:spPr>
          <a:xfrm>
            <a:off x="0" y="6776215"/>
            <a:ext cx="12192000" cy="73152"/>
          </a:xfrm>
          <a:prstGeom prst="rect">
            <a:avLst/>
          </a:prstGeom>
          <a:solidFill>
            <a:srgbClr val="2B346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2" name="Content Placeholder 2"/>
          <p:cNvSpPr>
            <a:spLocks noGrp="1"/>
          </p:cNvSpPr>
          <p:nvPr>
            <p:ph idx="13" hasCustomPrompt="1"/>
          </p:nvPr>
        </p:nvSpPr>
        <p:spPr>
          <a:xfrm>
            <a:off x="342242" y="1231903"/>
            <a:ext cx="11528917" cy="4797261"/>
          </a:xfrm>
        </p:spPr>
        <p:txBody>
          <a:bodyPr>
            <a:noAutofit/>
          </a:bodyPr>
          <a:lstStyle>
            <a:lvl1pPr marL="0" indent="0">
              <a:spcAft>
                <a:spcPts val="1231"/>
              </a:spcAft>
              <a:buFontTx/>
              <a:buNone/>
              <a:defRPr sz="1477" b="1">
                <a:solidFill>
                  <a:srgbClr val="1573C5"/>
                </a:solidFill>
              </a:defRPr>
            </a:lvl1pPr>
            <a:lvl2pPr marL="0" indent="0">
              <a:buSzPct val="110000"/>
              <a:buFont typeface="Arial"/>
              <a:buNone/>
              <a:defRPr sz="1477"/>
            </a:lvl2pPr>
            <a:lvl3pPr marL="450186" indent="-225092">
              <a:buSzPct val="110000"/>
              <a:buFont typeface="Arial"/>
              <a:buChar char="•"/>
              <a:defRPr sz="1477"/>
            </a:lvl3pPr>
            <a:lvl4pPr marL="900372" indent="-225092">
              <a:buSzPct val="90000"/>
              <a:buFont typeface="Courier New"/>
              <a:buChar char="o"/>
              <a:defRPr sz="1477"/>
            </a:lvl4pPr>
            <a:lvl5pPr marL="1350558" indent="-225092">
              <a:buSzPct val="110000"/>
              <a:buFont typeface="Arial"/>
              <a:buChar char="•"/>
              <a:defRPr sz="14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507720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Slide - 03A">
    <p:spTree>
      <p:nvGrpSpPr>
        <p:cNvPr id="1" name=""/>
        <p:cNvGrpSpPr/>
        <p:nvPr/>
      </p:nvGrpSpPr>
      <p:grpSpPr>
        <a:xfrm>
          <a:off x="0" y="0"/>
          <a:ext cx="0" cy="0"/>
          <a:chOff x="0" y="0"/>
          <a:chExt cx="0" cy="0"/>
        </a:xfrm>
      </p:grpSpPr>
      <p:sp>
        <p:nvSpPr>
          <p:cNvPr id="7" name="Rectangle 6"/>
          <p:cNvSpPr/>
          <p:nvPr userDrawn="1"/>
        </p:nvSpPr>
        <p:spPr>
          <a:xfrm>
            <a:off x="0" y="6774856"/>
            <a:ext cx="12192000" cy="73152"/>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6" name="Title 1"/>
          <p:cNvSpPr>
            <a:spLocks noGrp="1"/>
          </p:cNvSpPr>
          <p:nvPr>
            <p:ph type="title"/>
          </p:nvPr>
        </p:nvSpPr>
        <p:spPr>
          <a:xfrm>
            <a:off x="342242" y="194430"/>
            <a:ext cx="11528917" cy="594360"/>
          </a:xfrm>
        </p:spPr>
        <p:txBody>
          <a:bodyPr>
            <a:noAutofit/>
          </a:bodyPr>
          <a:lstStyle>
            <a:lvl1pPr>
              <a:defRPr sz="2585"/>
            </a:lvl1pPr>
          </a:lstStyle>
          <a:p>
            <a:r>
              <a:rPr lang="en-US"/>
              <a:t>Click to edit Master title style</a:t>
            </a:r>
          </a:p>
        </p:txBody>
      </p:sp>
      <p:sp>
        <p:nvSpPr>
          <p:cNvPr id="6" name="Content Placeholder 2"/>
          <p:cNvSpPr>
            <a:spLocks noGrp="1"/>
          </p:cNvSpPr>
          <p:nvPr>
            <p:ph idx="13"/>
          </p:nvPr>
        </p:nvSpPr>
        <p:spPr>
          <a:xfrm>
            <a:off x="342242" y="801394"/>
            <a:ext cx="11528917" cy="5227769"/>
          </a:xfrm>
        </p:spPr>
        <p:txBody>
          <a:bodyPr>
            <a:noAutofit/>
          </a:bodyPr>
          <a:lstStyle>
            <a:lvl1pPr marL="0" indent="0">
              <a:buFontTx/>
              <a:buNone/>
              <a:defRPr sz="1477"/>
            </a:lvl1pPr>
            <a:lvl2pPr marL="450186" indent="-225092">
              <a:buSzPct val="110000"/>
              <a:buFont typeface="Arial"/>
              <a:buChar char="•"/>
              <a:defRPr sz="1477"/>
            </a:lvl2pPr>
            <a:lvl3pPr marL="900372" indent="-225092">
              <a:buSzPct val="90000"/>
              <a:buFont typeface="Courier New"/>
              <a:buChar char="o"/>
              <a:defRPr sz="1477"/>
            </a:lvl3pPr>
            <a:lvl4pPr marL="1350558" indent="-225092">
              <a:buSzPct val="110000"/>
              <a:buFont typeface="Arial"/>
              <a:buChar char="•"/>
              <a:defRPr sz="1477"/>
            </a:lvl4pPr>
            <a:lvl5pPr marL="1800744" indent="-225092">
              <a:buSzPct val="90000"/>
              <a:buFont typeface="Courier New"/>
              <a:buChar char="o"/>
              <a:defRPr sz="14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605988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 Slide - 03B">
    <p:spTree>
      <p:nvGrpSpPr>
        <p:cNvPr id="1" name=""/>
        <p:cNvGrpSpPr/>
        <p:nvPr/>
      </p:nvGrpSpPr>
      <p:grpSpPr>
        <a:xfrm>
          <a:off x="0" y="0"/>
          <a:ext cx="0" cy="0"/>
          <a:chOff x="0" y="0"/>
          <a:chExt cx="0" cy="0"/>
        </a:xfrm>
      </p:grpSpPr>
      <p:sp>
        <p:nvSpPr>
          <p:cNvPr id="16" name="Title 1"/>
          <p:cNvSpPr>
            <a:spLocks noGrp="1"/>
          </p:cNvSpPr>
          <p:nvPr>
            <p:ph type="title"/>
          </p:nvPr>
        </p:nvSpPr>
        <p:spPr>
          <a:xfrm>
            <a:off x="342242" y="194436"/>
            <a:ext cx="11528917" cy="394087"/>
          </a:xfrm>
        </p:spPr>
        <p:txBody>
          <a:bodyPr>
            <a:noAutofit/>
          </a:bodyPr>
          <a:lstStyle>
            <a:lvl1pPr>
              <a:defRPr sz="2585"/>
            </a:lvl1pPr>
          </a:lstStyle>
          <a:p>
            <a:r>
              <a:rPr lang="en-US"/>
              <a:t>Click to edit Master title style</a:t>
            </a:r>
          </a:p>
        </p:txBody>
      </p:sp>
      <p:sp>
        <p:nvSpPr>
          <p:cNvPr id="3" name="Text Placeholder 2"/>
          <p:cNvSpPr>
            <a:spLocks noGrp="1"/>
          </p:cNvSpPr>
          <p:nvPr>
            <p:ph type="body" sz="quarter" idx="14"/>
          </p:nvPr>
        </p:nvSpPr>
        <p:spPr>
          <a:xfrm>
            <a:off x="342243" y="601885"/>
            <a:ext cx="11540737" cy="373062"/>
          </a:xfrm>
        </p:spPr>
        <p:txBody>
          <a:bodyPr/>
          <a:lstStyle>
            <a:lvl1pPr marL="0" indent="0">
              <a:buNone/>
              <a:defRPr>
                <a:solidFill>
                  <a:schemeClr val="tx1">
                    <a:lumMod val="50000"/>
                    <a:lumOff val="50000"/>
                  </a:schemeClr>
                </a:solidFill>
              </a:defRPr>
            </a:lvl1pPr>
            <a:lvl2pPr marL="675278" indent="0">
              <a:buNone/>
              <a:defRPr/>
            </a:lvl2pPr>
            <a:lvl3pPr marL="1181738" indent="0">
              <a:buNone/>
              <a:defRPr/>
            </a:lvl3pPr>
            <a:lvl4pPr marL="1744472" indent="0">
              <a:buNone/>
              <a:defRPr/>
            </a:lvl4pPr>
            <a:lvl5pPr marL="2307205" indent="0">
              <a:buNone/>
              <a:defRPr/>
            </a:lvl5pPr>
          </a:lstStyle>
          <a:p>
            <a:pPr lvl="0"/>
            <a:r>
              <a:rPr lang="en-US"/>
              <a:t>Click to edit Master text styles</a:t>
            </a:r>
          </a:p>
        </p:txBody>
      </p:sp>
      <p:sp>
        <p:nvSpPr>
          <p:cNvPr id="10" name="Rectangle 9"/>
          <p:cNvSpPr/>
          <p:nvPr userDrawn="1"/>
        </p:nvSpPr>
        <p:spPr>
          <a:xfrm>
            <a:off x="0" y="6746574"/>
            <a:ext cx="12192000" cy="111425"/>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2" name="Content Placeholder 2"/>
          <p:cNvSpPr>
            <a:spLocks noGrp="1"/>
          </p:cNvSpPr>
          <p:nvPr>
            <p:ph idx="13" hasCustomPrompt="1"/>
          </p:nvPr>
        </p:nvSpPr>
        <p:spPr>
          <a:xfrm>
            <a:off x="342242" y="1231903"/>
            <a:ext cx="11528917" cy="4797261"/>
          </a:xfrm>
        </p:spPr>
        <p:txBody>
          <a:bodyPr>
            <a:noAutofit/>
          </a:bodyPr>
          <a:lstStyle>
            <a:lvl1pPr marL="0" indent="0">
              <a:spcAft>
                <a:spcPts val="1231"/>
              </a:spcAft>
              <a:buFontTx/>
              <a:buNone/>
              <a:defRPr sz="1477" b="1">
                <a:solidFill>
                  <a:srgbClr val="1573C5"/>
                </a:solidFill>
              </a:defRPr>
            </a:lvl1pPr>
            <a:lvl2pPr marL="0" indent="0">
              <a:buSzPct val="110000"/>
              <a:buFont typeface="Arial"/>
              <a:buNone/>
              <a:defRPr sz="1477"/>
            </a:lvl2pPr>
            <a:lvl3pPr marL="450186" indent="-225092">
              <a:buSzPct val="110000"/>
              <a:buFont typeface="Arial"/>
              <a:buChar char="•"/>
              <a:defRPr sz="1477"/>
            </a:lvl3pPr>
            <a:lvl4pPr marL="900372" indent="-225092">
              <a:buSzPct val="90000"/>
              <a:buFont typeface="Courier New"/>
              <a:buChar char="o"/>
              <a:defRPr sz="1477"/>
            </a:lvl4pPr>
            <a:lvl5pPr marL="1350558" indent="-225092">
              <a:buSzPct val="110000"/>
              <a:buFont typeface="Arial"/>
              <a:buChar char="•"/>
              <a:defRPr sz="14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13826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Slide - 04A">
    <p:spTree>
      <p:nvGrpSpPr>
        <p:cNvPr id="1" name=""/>
        <p:cNvGrpSpPr/>
        <p:nvPr/>
      </p:nvGrpSpPr>
      <p:grpSpPr>
        <a:xfrm>
          <a:off x="0" y="0"/>
          <a:ext cx="0" cy="0"/>
          <a:chOff x="0" y="0"/>
          <a:chExt cx="0" cy="0"/>
        </a:xfrm>
      </p:grpSpPr>
      <p:sp>
        <p:nvSpPr>
          <p:cNvPr id="16" name="Title 1"/>
          <p:cNvSpPr>
            <a:spLocks noGrp="1"/>
          </p:cNvSpPr>
          <p:nvPr>
            <p:ph type="title"/>
          </p:nvPr>
        </p:nvSpPr>
        <p:spPr>
          <a:xfrm>
            <a:off x="342242" y="194430"/>
            <a:ext cx="11528917" cy="594360"/>
          </a:xfrm>
        </p:spPr>
        <p:txBody>
          <a:bodyPr>
            <a:noAutofit/>
          </a:bodyPr>
          <a:lstStyle>
            <a:lvl1pPr>
              <a:defRPr sz="2585"/>
            </a:lvl1pPr>
          </a:lstStyle>
          <a:p>
            <a:r>
              <a:rPr lang="en-US"/>
              <a:t>Click to edit Master title style</a:t>
            </a:r>
          </a:p>
        </p:txBody>
      </p:sp>
      <p:sp>
        <p:nvSpPr>
          <p:cNvPr id="7" name="Rectangle 6"/>
          <p:cNvSpPr/>
          <p:nvPr userDrawn="1"/>
        </p:nvSpPr>
        <p:spPr>
          <a:xfrm>
            <a:off x="0" y="6766408"/>
            <a:ext cx="12192000" cy="73152"/>
          </a:xfrm>
          <a:prstGeom prst="rect">
            <a:avLst/>
          </a:prstGeom>
          <a:solidFill>
            <a:srgbClr val="1843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6" name="Content Placeholder 2"/>
          <p:cNvSpPr>
            <a:spLocks noGrp="1"/>
          </p:cNvSpPr>
          <p:nvPr>
            <p:ph idx="13"/>
          </p:nvPr>
        </p:nvSpPr>
        <p:spPr>
          <a:xfrm>
            <a:off x="342242" y="801394"/>
            <a:ext cx="11528917" cy="5227769"/>
          </a:xfrm>
        </p:spPr>
        <p:txBody>
          <a:bodyPr>
            <a:noAutofit/>
          </a:bodyPr>
          <a:lstStyle>
            <a:lvl1pPr marL="0" indent="0">
              <a:buFontTx/>
              <a:buNone/>
              <a:defRPr sz="1477"/>
            </a:lvl1pPr>
            <a:lvl2pPr marL="450186" indent="-225092">
              <a:buSzPct val="110000"/>
              <a:buFont typeface="Arial"/>
              <a:buChar char="•"/>
              <a:defRPr sz="1477"/>
            </a:lvl2pPr>
            <a:lvl3pPr marL="900372" indent="-225092">
              <a:buSzPct val="90000"/>
              <a:buFont typeface="Courier New"/>
              <a:buChar char="o"/>
              <a:defRPr sz="1477"/>
            </a:lvl3pPr>
            <a:lvl4pPr marL="1350558" indent="-225092">
              <a:buSzPct val="110000"/>
              <a:buFont typeface="Arial"/>
              <a:buChar char="•"/>
              <a:defRPr sz="1477"/>
            </a:lvl4pPr>
            <a:lvl5pPr marL="1800744" indent="-225092">
              <a:buSzPct val="90000"/>
              <a:buFont typeface="Courier New"/>
              <a:buChar char="o"/>
              <a:defRPr sz="14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605988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Slide - 04B">
    <p:spTree>
      <p:nvGrpSpPr>
        <p:cNvPr id="1" name=""/>
        <p:cNvGrpSpPr/>
        <p:nvPr/>
      </p:nvGrpSpPr>
      <p:grpSpPr>
        <a:xfrm>
          <a:off x="0" y="0"/>
          <a:ext cx="0" cy="0"/>
          <a:chOff x="0" y="0"/>
          <a:chExt cx="0" cy="0"/>
        </a:xfrm>
      </p:grpSpPr>
      <p:sp>
        <p:nvSpPr>
          <p:cNvPr id="16" name="Title 1"/>
          <p:cNvSpPr>
            <a:spLocks noGrp="1"/>
          </p:cNvSpPr>
          <p:nvPr>
            <p:ph type="title"/>
          </p:nvPr>
        </p:nvSpPr>
        <p:spPr>
          <a:xfrm>
            <a:off x="342242" y="194436"/>
            <a:ext cx="11528917" cy="394087"/>
          </a:xfrm>
        </p:spPr>
        <p:txBody>
          <a:bodyPr>
            <a:noAutofit/>
          </a:bodyPr>
          <a:lstStyle>
            <a:lvl1pPr>
              <a:defRPr sz="2585"/>
            </a:lvl1pPr>
          </a:lstStyle>
          <a:p>
            <a:r>
              <a:rPr lang="en-US"/>
              <a:t>Click to edit Master title style</a:t>
            </a:r>
          </a:p>
        </p:txBody>
      </p:sp>
      <p:sp>
        <p:nvSpPr>
          <p:cNvPr id="3" name="Text Placeholder 2"/>
          <p:cNvSpPr>
            <a:spLocks noGrp="1"/>
          </p:cNvSpPr>
          <p:nvPr>
            <p:ph type="body" sz="quarter" idx="14"/>
          </p:nvPr>
        </p:nvSpPr>
        <p:spPr>
          <a:xfrm>
            <a:off x="342243" y="601885"/>
            <a:ext cx="11540737" cy="373062"/>
          </a:xfrm>
        </p:spPr>
        <p:txBody>
          <a:bodyPr/>
          <a:lstStyle>
            <a:lvl1pPr marL="0" indent="0">
              <a:buNone/>
              <a:defRPr>
                <a:solidFill>
                  <a:schemeClr val="tx1">
                    <a:lumMod val="50000"/>
                    <a:lumOff val="50000"/>
                  </a:schemeClr>
                </a:solidFill>
              </a:defRPr>
            </a:lvl1pPr>
            <a:lvl2pPr marL="675278" indent="0">
              <a:buNone/>
              <a:defRPr/>
            </a:lvl2pPr>
            <a:lvl3pPr marL="1181738" indent="0">
              <a:buNone/>
              <a:defRPr/>
            </a:lvl3pPr>
            <a:lvl4pPr marL="1744472" indent="0">
              <a:buNone/>
              <a:defRPr/>
            </a:lvl4pPr>
            <a:lvl5pPr marL="2307205" indent="0">
              <a:buNone/>
              <a:defRPr/>
            </a:lvl5pPr>
          </a:lstStyle>
          <a:p>
            <a:pPr lvl="0"/>
            <a:r>
              <a:rPr lang="en-US"/>
              <a:t>Click to edit Master text styles</a:t>
            </a:r>
          </a:p>
        </p:txBody>
      </p:sp>
      <p:sp>
        <p:nvSpPr>
          <p:cNvPr id="7" name="Rectangle 6"/>
          <p:cNvSpPr/>
          <p:nvPr userDrawn="1"/>
        </p:nvSpPr>
        <p:spPr>
          <a:xfrm>
            <a:off x="0" y="6766408"/>
            <a:ext cx="12192000" cy="73152"/>
          </a:xfrm>
          <a:prstGeom prst="rect">
            <a:avLst/>
          </a:prstGeom>
          <a:solidFill>
            <a:srgbClr val="1843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3" name="Content Placeholder 2"/>
          <p:cNvSpPr>
            <a:spLocks noGrp="1"/>
          </p:cNvSpPr>
          <p:nvPr>
            <p:ph idx="13" hasCustomPrompt="1"/>
          </p:nvPr>
        </p:nvSpPr>
        <p:spPr>
          <a:xfrm>
            <a:off x="342242" y="1231903"/>
            <a:ext cx="11528917" cy="4797261"/>
          </a:xfrm>
        </p:spPr>
        <p:txBody>
          <a:bodyPr>
            <a:noAutofit/>
          </a:bodyPr>
          <a:lstStyle>
            <a:lvl1pPr marL="0" indent="0">
              <a:spcAft>
                <a:spcPts val="1231"/>
              </a:spcAft>
              <a:buFontTx/>
              <a:buNone/>
              <a:defRPr sz="1477" b="1">
                <a:solidFill>
                  <a:srgbClr val="1573C5"/>
                </a:solidFill>
              </a:defRPr>
            </a:lvl1pPr>
            <a:lvl2pPr marL="0" indent="0">
              <a:buSzPct val="110000"/>
              <a:buFont typeface="Arial"/>
              <a:buNone/>
              <a:defRPr sz="1477"/>
            </a:lvl2pPr>
            <a:lvl3pPr marL="450186" indent="-225092">
              <a:buSzPct val="110000"/>
              <a:buFont typeface="Arial"/>
              <a:buChar char="•"/>
              <a:defRPr sz="1477"/>
            </a:lvl3pPr>
            <a:lvl4pPr marL="900372" indent="-225092">
              <a:buSzPct val="90000"/>
              <a:buFont typeface="Courier New"/>
              <a:buChar char="o"/>
              <a:defRPr sz="1477"/>
            </a:lvl4pPr>
            <a:lvl5pPr marL="1350558" indent="-225092">
              <a:buSzPct val="110000"/>
              <a:buFont typeface="Arial"/>
              <a:buChar char="•"/>
              <a:defRPr sz="14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657272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Slide - 05A">
    <p:spTree>
      <p:nvGrpSpPr>
        <p:cNvPr id="1" name=""/>
        <p:cNvGrpSpPr/>
        <p:nvPr/>
      </p:nvGrpSpPr>
      <p:grpSpPr>
        <a:xfrm>
          <a:off x="0" y="0"/>
          <a:ext cx="0" cy="0"/>
          <a:chOff x="0" y="0"/>
          <a:chExt cx="0" cy="0"/>
        </a:xfrm>
      </p:grpSpPr>
      <p:sp>
        <p:nvSpPr>
          <p:cNvPr id="16" name="Title 1"/>
          <p:cNvSpPr>
            <a:spLocks noGrp="1"/>
          </p:cNvSpPr>
          <p:nvPr>
            <p:ph type="title"/>
          </p:nvPr>
        </p:nvSpPr>
        <p:spPr>
          <a:xfrm>
            <a:off x="342242" y="194430"/>
            <a:ext cx="11528917" cy="594360"/>
          </a:xfrm>
        </p:spPr>
        <p:txBody>
          <a:bodyPr>
            <a:noAutofit/>
          </a:bodyPr>
          <a:lstStyle>
            <a:lvl1pPr>
              <a:defRPr sz="2585"/>
            </a:lvl1pPr>
          </a:lstStyle>
          <a:p>
            <a:r>
              <a:rPr lang="en-US"/>
              <a:t>Click to edit Master title style</a:t>
            </a:r>
          </a:p>
        </p:txBody>
      </p:sp>
      <p:sp>
        <p:nvSpPr>
          <p:cNvPr id="7" name="Rectangle 6"/>
          <p:cNvSpPr/>
          <p:nvPr userDrawn="1"/>
        </p:nvSpPr>
        <p:spPr>
          <a:xfrm>
            <a:off x="0" y="6766408"/>
            <a:ext cx="12192000" cy="73152"/>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6" name="Content Placeholder 2"/>
          <p:cNvSpPr>
            <a:spLocks noGrp="1"/>
          </p:cNvSpPr>
          <p:nvPr>
            <p:ph idx="13"/>
          </p:nvPr>
        </p:nvSpPr>
        <p:spPr>
          <a:xfrm>
            <a:off x="342242" y="801394"/>
            <a:ext cx="11528917" cy="5227769"/>
          </a:xfrm>
        </p:spPr>
        <p:txBody>
          <a:bodyPr>
            <a:noAutofit/>
          </a:bodyPr>
          <a:lstStyle>
            <a:lvl1pPr marL="0" indent="0">
              <a:buFontTx/>
              <a:buNone/>
              <a:defRPr sz="1477"/>
            </a:lvl1pPr>
            <a:lvl2pPr marL="450186" indent="-225092">
              <a:buSzPct val="110000"/>
              <a:buFont typeface="Arial"/>
              <a:buChar char="•"/>
              <a:defRPr sz="1477"/>
            </a:lvl2pPr>
            <a:lvl3pPr marL="900372" indent="-225092">
              <a:buSzPct val="90000"/>
              <a:buFont typeface="Courier New"/>
              <a:buChar char="o"/>
              <a:defRPr sz="1477"/>
            </a:lvl3pPr>
            <a:lvl4pPr marL="1350558" indent="-225092">
              <a:buSzPct val="110000"/>
              <a:buFont typeface="Arial"/>
              <a:buChar char="•"/>
              <a:defRPr sz="1477"/>
            </a:lvl4pPr>
            <a:lvl5pPr marL="1800744" indent="-225092">
              <a:buSzPct val="90000"/>
              <a:buFont typeface="Courier New"/>
              <a:buChar char="o"/>
              <a:defRPr sz="14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605988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Slide - 05B">
    <p:spTree>
      <p:nvGrpSpPr>
        <p:cNvPr id="1" name=""/>
        <p:cNvGrpSpPr/>
        <p:nvPr/>
      </p:nvGrpSpPr>
      <p:grpSpPr>
        <a:xfrm>
          <a:off x="0" y="0"/>
          <a:ext cx="0" cy="0"/>
          <a:chOff x="0" y="0"/>
          <a:chExt cx="0" cy="0"/>
        </a:xfrm>
      </p:grpSpPr>
      <p:sp>
        <p:nvSpPr>
          <p:cNvPr id="16" name="Title 1"/>
          <p:cNvSpPr>
            <a:spLocks noGrp="1"/>
          </p:cNvSpPr>
          <p:nvPr>
            <p:ph type="title"/>
          </p:nvPr>
        </p:nvSpPr>
        <p:spPr>
          <a:xfrm>
            <a:off x="342242" y="194436"/>
            <a:ext cx="11528917" cy="394087"/>
          </a:xfrm>
        </p:spPr>
        <p:txBody>
          <a:bodyPr>
            <a:noAutofit/>
          </a:bodyPr>
          <a:lstStyle>
            <a:lvl1pPr>
              <a:defRPr sz="2585"/>
            </a:lvl1pPr>
          </a:lstStyle>
          <a:p>
            <a:r>
              <a:rPr lang="en-US"/>
              <a:t>Click to edit Master title style</a:t>
            </a:r>
          </a:p>
        </p:txBody>
      </p:sp>
      <p:sp>
        <p:nvSpPr>
          <p:cNvPr id="3" name="Text Placeholder 2"/>
          <p:cNvSpPr>
            <a:spLocks noGrp="1"/>
          </p:cNvSpPr>
          <p:nvPr>
            <p:ph type="body" sz="quarter" idx="14"/>
          </p:nvPr>
        </p:nvSpPr>
        <p:spPr>
          <a:xfrm>
            <a:off x="342243" y="601885"/>
            <a:ext cx="11540737" cy="373062"/>
          </a:xfrm>
        </p:spPr>
        <p:txBody>
          <a:bodyPr/>
          <a:lstStyle>
            <a:lvl1pPr marL="0" indent="0">
              <a:buNone/>
              <a:defRPr>
                <a:solidFill>
                  <a:schemeClr val="tx1">
                    <a:lumMod val="50000"/>
                    <a:lumOff val="50000"/>
                  </a:schemeClr>
                </a:solidFill>
              </a:defRPr>
            </a:lvl1pPr>
            <a:lvl2pPr marL="675278" indent="0">
              <a:buNone/>
              <a:defRPr/>
            </a:lvl2pPr>
            <a:lvl3pPr marL="1181738" indent="0">
              <a:buNone/>
              <a:defRPr/>
            </a:lvl3pPr>
            <a:lvl4pPr marL="1744472" indent="0">
              <a:buNone/>
              <a:defRPr/>
            </a:lvl4pPr>
            <a:lvl5pPr marL="2307205" indent="0">
              <a:buNone/>
              <a:defRPr/>
            </a:lvl5pPr>
          </a:lstStyle>
          <a:p>
            <a:pPr lvl="0"/>
            <a:r>
              <a:rPr lang="en-US"/>
              <a:t>Click to edit Master text styles</a:t>
            </a:r>
          </a:p>
        </p:txBody>
      </p:sp>
      <p:sp>
        <p:nvSpPr>
          <p:cNvPr id="9" name="Rectangle 8"/>
          <p:cNvSpPr/>
          <p:nvPr userDrawn="1"/>
        </p:nvSpPr>
        <p:spPr>
          <a:xfrm>
            <a:off x="0" y="6793042"/>
            <a:ext cx="12192000" cy="73152"/>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0" name="Slide Number Placeholder 5"/>
          <p:cNvSpPr>
            <a:spLocks noGrp="1"/>
          </p:cNvSpPr>
          <p:nvPr>
            <p:ph type="sldNum" sz="quarter" idx="4"/>
          </p:nvPr>
        </p:nvSpPr>
        <p:spPr>
          <a:xfrm>
            <a:off x="342240" y="6356358"/>
            <a:ext cx="2844800" cy="365125"/>
          </a:xfrm>
          <a:prstGeom prst="rect">
            <a:avLst/>
          </a:prstGeom>
        </p:spPr>
        <p:txBody>
          <a:bodyPr vert="horz" lIns="91440" tIns="45720" rIns="91440" bIns="45720" rtlCol="0" anchor="ctr"/>
          <a:lstStyle>
            <a:lvl1pPr algn="l">
              <a:defRPr sz="985" b="1">
                <a:solidFill>
                  <a:schemeClr val="tx1"/>
                </a:solidFill>
              </a:defRPr>
            </a:lvl1pPr>
          </a:lstStyle>
          <a:p>
            <a:fld id="{4F1FA912-FC24-3D46-8310-EAE10B51E2A1}" type="slidenum">
              <a:rPr lang="en-US" smtClean="0"/>
              <a:t>‹#›</a:t>
            </a:fld>
            <a:endParaRPr lang="en-US"/>
          </a:p>
        </p:txBody>
      </p:sp>
      <p:sp>
        <p:nvSpPr>
          <p:cNvPr id="11" name="Content Placeholder 2"/>
          <p:cNvSpPr>
            <a:spLocks noGrp="1"/>
          </p:cNvSpPr>
          <p:nvPr>
            <p:ph idx="13" hasCustomPrompt="1"/>
          </p:nvPr>
        </p:nvSpPr>
        <p:spPr>
          <a:xfrm>
            <a:off x="342242" y="1231903"/>
            <a:ext cx="11528917" cy="4797261"/>
          </a:xfrm>
        </p:spPr>
        <p:txBody>
          <a:bodyPr>
            <a:noAutofit/>
          </a:bodyPr>
          <a:lstStyle>
            <a:lvl1pPr marL="0" indent="0">
              <a:spcAft>
                <a:spcPts val="1231"/>
              </a:spcAft>
              <a:buFontTx/>
              <a:buNone/>
              <a:defRPr sz="1477" b="1">
                <a:solidFill>
                  <a:srgbClr val="1573C5"/>
                </a:solidFill>
              </a:defRPr>
            </a:lvl1pPr>
            <a:lvl2pPr marL="0" indent="0">
              <a:buSzPct val="110000"/>
              <a:buFont typeface="Arial"/>
              <a:buNone/>
              <a:defRPr sz="1477"/>
            </a:lvl2pPr>
            <a:lvl3pPr marL="450186" indent="-225092">
              <a:buSzPct val="110000"/>
              <a:buFont typeface="Arial"/>
              <a:buChar char="•"/>
              <a:defRPr sz="1477"/>
            </a:lvl3pPr>
            <a:lvl4pPr marL="900372" indent="-225092">
              <a:buSzPct val="90000"/>
              <a:buFont typeface="Courier New"/>
              <a:buChar char="o"/>
              <a:defRPr sz="1477"/>
            </a:lvl4pPr>
            <a:lvl5pPr marL="1350558" indent="-225092">
              <a:buSzPct val="110000"/>
              <a:buFont typeface="Arial"/>
              <a:buChar char="•"/>
              <a:defRPr sz="14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562499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Break - Blue 0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9441407B-9616-429E-9B34-B916AF0BA336}"/>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rcRect/>
          <a:stretch/>
        </p:blipFill>
        <p:spPr>
          <a:xfrm>
            <a:off x="0" y="2078183"/>
            <a:ext cx="12192000" cy="2527968"/>
          </a:xfrm>
          <a:prstGeom prst="rect">
            <a:avLst/>
          </a:prstGeom>
        </p:spPr>
      </p:pic>
      <p:sp>
        <p:nvSpPr>
          <p:cNvPr id="7" name="Slide Number Placeholder 6"/>
          <p:cNvSpPr>
            <a:spLocks noGrp="1"/>
          </p:cNvSpPr>
          <p:nvPr>
            <p:ph type="sldNum" sz="quarter" idx="12"/>
          </p:nvPr>
        </p:nvSpPr>
        <p:spPr/>
        <p:txBody>
          <a:bodyPr/>
          <a:lstStyle/>
          <a:p>
            <a:fld id="{BEEE3D23-30C1-F34A-B827-52BBC0B19443}" type="slidenum">
              <a:rPr lang="en-US" smtClean="0"/>
              <a:t>‹#›</a:t>
            </a:fld>
            <a:endParaRPr lang="en-US"/>
          </a:p>
        </p:txBody>
      </p:sp>
      <p:sp>
        <p:nvSpPr>
          <p:cNvPr id="8" name="Rectangle 7"/>
          <p:cNvSpPr/>
          <p:nvPr userDrawn="1"/>
        </p:nvSpPr>
        <p:spPr>
          <a:xfrm>
            <a:off x="0" y="2078182"/>
            <a:ext cx="12192000" cy="2514600"/>
          </a:xfrm>
          <a:prstGeom prst="rect">
            <a:avLst/>
          </a:prstGeom>
          <a:gradFill flip="none" rotWithShape="1">
            <a:gsLst>
              <a:gs pos="0">
                <a:srgbClr val="0E6BB9">
                  <a:alpha val="85000"/>
                </a:srgbClr>
              </a:gs>
              <a:gs pos="100000">
                <a:srgbClr val="1055AA"/>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9" name="Rectangle 8"/>
          <p:cNvSpPr/>
          <p:nvPr userDrawn="1"/>
        </p:nvSpPr>
        <p:spPr>
          <a:xfrm>
            <a:off x="0" y="4532998"/>
            <a:ext cx="12192000" cy="73152"/>
          </a:xfrm>
          <a:prstGeom prst="rect">
            <a:avLst/>
          </a:prstGeom>
          <a:solidFill>
            <a:srgbClr val="5AA2A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cxnSp>
        <p:nvCxnSpPr>
          <p:cNvPr id="10" name="Straight Connector 9"/>
          <p:cNvCxnSpPr/>
          <p:nvPr userDrawn="1"/>
        </p:nvCxnSpPr>
        <p:spPr>
          <a:xfrm>
            <a:off x="472791" y="2753758"/>
            <a:ext cx="4174448"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324851" y="2824376"/>
            <a:ext cx="5949402" cy="1346575"/>
          </a:xfrm>
        </p:spPr>
        <p:txBody>
          <a:bodyPr>
            <a:noAutofit/>
          </a:bodyPr>
          <a:lstStyle>
            <a:lvl1pPr>
              <a:defRPr sz="3939">
                <a:solidFill>
                  <a:schemeClr val="bg1"/>
                </a:solidFill>
              </a:defRPr>
            </a:lvl1pPr>
          </a:lstStyle>
          <a:p>
            <a:r>
              <a:rPr lang="en-US"/>
              <a:t>Click to edit Master title style</a:t>
            </a:r>
          </a:p>
        </p:txBody>
      </p:sp>
      <p:pic>
        <p:nvPicPr>
          <p:cNvPr id="11" name="Picture 10" descr="photo.jpg">
            <a:extLst>
              <a:ext uri="{FF2B5EF4-FFF2-40B4-BE49-F238E27FC236}">
                <a16:creationId xmlns:a16="http://schemas.microsoft.com/office/drawing/2014/main" id="{26B17870-3EC4-4122-AF93-2354FBE640F5}"/>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0448936" y="6123350"/>
            <a:ext cx="1406896" cy="504399"/>
          </a:xfrm>
          <a:prstGeom prst="rect">
            <a:avLst/>
          </a:prstGeom>
        </p:spPr>
      </p:pic>
      <p:pic>
        <p:nvPicPr>
          <p:cNvPr id="4" name="Picture 3">
            <a:extLst>
              <a:ext uri="{FF2B5EF4-FFF2-40B4-BE49-F238E27FC236}">
                <a16:creationId xmlns:a16="http://schemas.microsoft.com/office/drawing/2014/main" id="{8540F4FD-7476-44CA-A763-325863ACF7BB}"/>
              </a:ext>
            </a:extLst>
          </p:cNvPr>
          <p:cNvPicPr>
            <a:picLocks noChangeAspect="1"/>
          </p:cNvPicPr>
          <p:nvPr userDrawn="1"/>
        </p:nvPicPr>
        <p:blipFill>
          <a:blip r:embed="rId5" cstate="screen">
            <a:alphaModFix amt="35000"/>
            <a:extLst>
              <a:ext uri="{28A0092B-C50C-407E-A947-70E740481C1C}">
                <a14:useLocalDpi xmlns:a14="http://schemas.microsoft.com/office/drawing/2010/main"/>
              </a:ext>
            </a:extLst>
          </a:blip>
          <a:stretch>
            <a:fillRect/>
          </a:stretch>
        </p:blipFill>
        <p:spPr>
          <a:xfrm>
            <a:off x="7374239" y="1937050"/>
            <a:ext cx="4492910" cy="3324425"/>
          </a:xfrm>
          <a:prstGeom prst="rect">
            <a:avLst/>
          </a:prstGeom>
        </p:spPr>
      </p:pic>
    </p:spTree>
    <p:extLst>
      <p:ext uri="{BB962C8B-B14F-4D97-AF65-F5344CB8AC3E}">
        <p14:creationId xmlns:p14="http://schemas.microsoft.com/office/powerpoint/2010/main" val="163259310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Break - Blue 02">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68FEEA17-D736-47D3-A4A5-ECA70033ED0B}"/>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rcRect/>
          <a:stretch/>
        </p:blipFill>
        <p:spPr>
          <a:xfrm>
            <a:off x="0" y="2078183"/>
            <a:ext cx="12192000" cy="2527968"/>
          </a:xfrm>
          <a:prstGeom prst="rect">
            <a:avLst/>
          </a:prstGeom>
        </p:spPr>
      </p:pic>
      <p:sp>
        <p:nvSpPr>
          <p:cNvPr id="5" name="Rectangle 4"/>
          <p:cNvSpPr/>
          <p:nvPr userDrawn="1"/>
        </p:nvSpPr>
        <p:spPr>
          <a:xfrm>
            <a:off x="0" y="2078182"/>
            <a:ext cx="12191999" cy="2514600"/>
          </a:xfrm>
          <a:prstGeom prst="rect">
            <a:avLst/>
          </a:prstGeom>
          <a:gradFill flip="none" rotWithShape="1">
            <a:gsLst>
              <a:gs pos="0">
                <a:srgbClr val="0E6BB9">
                  <a:alpha val="85000"/>
                </a:srgbClr>
              </a:gs>
              <a:gs pos="100000">
                <a:srgbClr val="1055AA"/>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1" name="Rectangle 10"/>
          <p:cNvSpPr/>
          <p:nvPr userDrawn="1"/>
        </p:nvSpPr>
        <p:spPr>
          <a:xfrm>
            <a:off x="0" y="4532998"/>
            <a:ext cx="12192000" cy="73152"/>
          </a:xfrm>
          <a:prstGeom prst="rect">
            <a:avLst/>
          </a:prstGeom>
          <a:solidFill>
            <a:srgbClr val="2B346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cxnSp>
        <p:nvCxnSpPr>
          <p:cNvPr id="7" name="Straight Connector 6"/>
          <p:cNvCxnSpPr/>
          <p:nvPr userDrawn="1"/>
        </p:nvCxnSpPr>
        <p:spPr>
          <a:xfrm>
            <a:off x="472791" y="2753758"/>
            <a:ext cx="4174448"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Title 1"/>
          <p:cNvSpPr>
            <a:spLocks noGrp="1"/>
          </p:cNvSpPr>
          <p:nvPr>
            <p:ph type="title"/>
          </p:nvPr>
        </p:nvSpPr>
        <p:spPr>
          <a:xfrm>
            <a:off x="324851" y="2824376"/>
            <a:ext cx="5949402" cy="1346575"/>
          </a:xfrm>
        </p:spPr>
        <p:txBody>
          <a:bodyPr>
            <a:noAutofit/>
          </a:bodyPr>
          <a:lstStyle>
            <a:lvl1pPr>
              <a:defRPr sz="3939">
                <a:solidFill>
                  <a:schemeClr val="bg1"/>
                </a:solidFill>
              </a:defRPr>
            </a:lvl1pPr>
          </a:lstStyle>
          <a:p>
            <a:r>
              <a:rPr lang="en-US"/>
              <a:t>Click to edit Master title style</a:t>
            </a:r>
          </a:p>
        </p:txBody>
      </p:sp>
      <p:sp>
        <p:nvSpPr>
          <p:cNvPr id="13" name="Slide Number Placeholder 6"/>
          <p:cNvSpPr>
            <a:spLocks noGrp="1"/>
          </p:cNvSpPr>
          <p:nvPr>
            <p:ph type="sldNum" sz="quarter" idx="12"/>
          </p:nvPr>
        </p:nvSpPr>
        <p:spPr>
          <a:xfrm>
            <a:off x="342240" y="6356358"/>
            <a:ext cx="2844800" cy="365125"/>
          </a:xfrm>
        </p:spPr>
        <p:txBody>
          <a:bodyPr/>
          <a:lstStyle/>
          <a:p>
            <a:fld id="{BEEE3D23-30C1-F34A-B827-52BBC0B19443}" type="slidenum">
              <a:rPr lang="en-US" smtClean="0"/>
              <a:t>‹#›</a:t>
            </a:fld>
            <a:endParaRPr lang="en-US"/>
          </a:p>
        </p:txBody>
      </p:sp>
      <p:pic>
        <p:nvPicPr>
          <p:cNvPr id="9" name="Picture 8">
            <a:extLst>
              <a:ext uri="{FF2B5EF4-FFF2-40B4-BE49-F238E27FC236}">
                <a16:creationId xmlns:a16="http://schemas.microsoft.com/office/drawing/2014/main" id="{01C1C9F9-8623-4B67-9C18-326D6859F8CF}"/>
              </a:ext>
            </a:extLst>
          </p:cNvPr>
          <p:cNvPicPr>
            <a:picLocks noChangeAspect="1"/>
          </p:cNvPicPr>
          <p:nvPr userDrawn="1"/>
        </p:nvPicPr>
        <p:blipFill>
          <a:blip r:embed="rId4" cstate="screen">
            <a:alphaModFix amt="35000"/>
            <a:extLst>
              <a:ext uri="{28A0092B-C50C-407E-A947-70E740481C1C}">
                <a14:useLocalDpi xmlns:a14="http://schemas.microsoft.com/office/drawing/2010/main"/>
              </a:ext>
            </a:extLst>
          </a:blip>
          <a:stretch>
            <a:fillRect/>
          </a:stretch>
        </p:blipFill>
        <p:spPr>
          <a:xfrm>
            <a:off x="7374239" y="1937050"/>
            <a:ext cx="4492910" cy="3324425"/>
          </a:xfrm>
          <a:prstGeom prst="rect">
            <a:avLst/>
          </a:prstGeom>
        </p:spPr>
      </p:pic>
    </p:spTree>
    <p:extLst>
      <p:ext uri="{BB962C8B-B14F-4D97-AF65-F5344CB8AC3E}">
        <p14:creationId xmlns:p14="http://schemas.microsoft.com/office/powerpoint/2010/main" val="71615802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Break - Blue 03">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8C8D473-5E1D-4F9B-AD5D-0BBA9C9E9E4D}"/>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rcRect/>
          <a:stretch/>
        </p:blipFill>
        <p:spPr>
          <a:xfrm>
            <a:off x="0" y="2078183"/>
            <a:ext cx="12192000" cy="2527968"/>
          </a:xfrm>
          <a:prstGeom prst="rect">
            <a:avLst/>
          </a:prstGeom>
        </p:spPr>
      </p:pic>
      <p:sp>
        <p:nvSpPr>
          <p:cNvPr id="5" name="Rectangle 4"/>
          <p:cNvSpPr/>
          <p:nvPr userDrawn="1"/>
        </p:nvSpPr>
        <p:spPr>
          <a:xfrm>
            <a:off x="0" y="2078182"/>
            <a:ext cx="12192000" cy="2514600"/>
          </a:xfrm>
          <a:prstGeom prst="rect">
            <a:avLst/>
          </a:prstGeom>
          <a:gradFill flip="none" rotWithShape="1">
            <a:gsLst>
              <a:gs pos="0">
                <a:srgbClr val="0E6BB9">
                  <a:alpha val="85000"/>
                </a:srgbClr>
              </a:gs>
              <a:gs pos="100000">
                <a:srgbClr val="1055AA"/>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9" name="Rectangle 8"/>
          <p:cNvSpPr/>
          <p:nvPr userDrawn="1"/>
        </p:nvSpPr>
        <p:spPr>
          <a:xfrm>
            <a:off x="0" y="4532998"/>
            <a:ext cx="12192000" cy="73152"/>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cxnSp>
        <p:nvCxnSpPr>
          <p:cNvPr id="7" name="Straight Connector 6"/>
          <p:cNvCxnSpPr/>
          <p:nvPr userDrawn="1"/>
        </p:nvCxnSpPr>
        <p:spPr>
          <a:xfrm>
            <a:off x="472791" y="2753758"/>
            <a:ext cx="4174448"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0" name="Slide Number Placeholder 6"/>
          <p:cNvSpPr>
            <a:spLocks noGrp="1"/>
          </p:cNvSpPr>
          <p:nvPr>
            <p:ph type="sldNum" sz="quarter" idx="12"/>
          </p:nvPr>
        </p:nvSpPr>
        <p:spPr>
          <a:xfrm>
            <a:off x="342240" y="6356358"/>
            <a:ext cx="2844800" cy="365125"/>
          </a:xfrm>
        </p:spPr>
        <p:txBody>
          <a:bodyPr/>
          <a:lstStyle/>
          <a:p>
            <a:fld id="{BEEE3D23-30C1-F34A-B827-52BBC0B19443}" type="slidenum">
              <a:rPr lang="en-US" smtClean="0"/>
              <a:t>‹#›</a:t>
            </a:fld>
            <a:endParaRPr lang="en-US"/>
          </a:p>
        </p:txBody>
      </p:sp>
      <p:sp>
        <p:nvSpPr>
          <p:cNvPr id="13" name="Title 1"/>
          <p:cNvSpPr>
            <a:spLocks noGrp="1"/>
          </p:cNvSpPr>
          <p:nvPr>
            <p:ph type="title"/>
          </p:nvPr>
        </p:nvSpPr>
        <p:spPr>
          <a:xfrm>
            <a:off x="324851" y="2824376"/>
            <a:ext cx="5949402" cy="1346575"/>
          </a:xfrm>
        </p:spPr>
        <p:txBody>
          <a:bodyPr>
            <a:noAutofit/>
          </a:bodyPr>
          <a:lstStyle>
            <a:lvl1pPr>
              <a:defRPr sz="3939">
                <a:solidFill>
                  <a:schemeClr val="bg1"/>
                </a:solidFill>
              </a:defRPr>
            </a:lvl1pPr>
          </a:lstStyle>
          <a:p>
            <a:r>
              <a:rPr lang="en-US"/>
              <a:t>Click to edit Master title style</a:t>
            </a:r>
          </a:p>
        </p:txBody>
      </p:sp>
      <p:pic>
        <p:nvPicPr>
          <p:cNvPr id="11" name="Picture 10">
            <a:extLst>
              <a:ext uri="{FF2B5EF4-FFF2-40B4-BE49-F238E27FC236}">
                <a16:creationId xmlns:a16="http://schemas.microsoft.com/office/drawing/2014/main" id="{7E6AF962-9BC5-4993-B892-3B4139730C45}"/>
              </a:ext>
            </a:extLst>
          </p:cNvPr>
          <p:cNvPicPr>
            <a:picLocks noChangeAspect="1"/>
          </p:cNvPicPr>
          <p:nvPr userDrawn="1"/>
        </p:nvPicPr>
        <p:blipFill>
          <a:blip r:embed="rId4" cstate="screen">
            <a:alphaModFix amt="35000"/>
            <a:extLst>
              <a:ext uri="{28A0092B-C50C-407E-A947-70E740481C1C}">
                <a14:useLocalDpi xmlns:a14="http://schemas.microsoft.com/office/drawing/2010/main"/>
              </a:ext>
            </a:extLst>
          </a:blip>
          <a:stretch>
            <a:fillRect/>
          </a:stretch>
        </p:blipFill>
        <p:spPr>
          <a:xfrm>
            <a:off x="7374239" y="1937050"/>
            <a:ext cx="4492910" cy="3324425"/>
          </a:xfrm>
          <a:prstGeom prst="rect">
            <a:avLst/>
          </a:prstGeom>
        </p:spPr>
      </p:pic>
    </p:spTree>
    <p:extLst>
      <p:ext uri="{BB962C8B-B14F-4D97-AF65-F5344CB8AC3E}">
        <p14:creationId xmlns:p14="http://schemas.microsoft.com/office/powerpoint/2010/main" val="10272139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of Contets">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52A1B299-C3FC-4F91-BC27-2FBE32405CDA}"/>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15" name="Rectangle 14">
            <a:extLst>
              <a:ext uri="{FF2B5EF4-FFF2-40B4-BE49-F238E27FC236}">
                <a16:creationId xmlns:a16="http://schemas.microsoft.com/office/drawing/2014/main" id="{61B7A982-1A6D-4EB2-8AF3-C489E5006702}"/>
              </a:ext>
            </a:extLst>
          </p:cNvPr>
          <p:cNvSpPr/>
          <p:nvPr userDrawn="1"/>
        </p:nvSpPr>
        <p:spPr>
          <a:xfrm>
            <a:off x="6" y="8199"/>
            <a:ext cx="12191994" cy="6858000"/>
          </a:xfrm>
          <a:prstGeom prst="rect">
            <a:avLst/>
          </a:prstGeom>
          <a:solidFill>
            <a:schemeClr val="bg1">
              <a:alpha val="89804"/>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600"/>
          </a:p>
        </p:txBody>
      </p:sp>
      <p:sp>
        <p:nvSpPr>
          <p:cNvPr id="2" name="Title 1"/>
          <p:cNvSpPr>
            <a:spLocks noGrp="1"/>
          </p:cNvSpPr>
          <p:nvPr>
            <p:ph type="title"/>
          </p:nvPr>
        </p:nvSpPr>
        <p:spPr>
          <a:xfrm>
            <a:off x="342242" y="194430"/>
            <a:ext cx="11528917" cy="594360"/>
          </a:xfrm>
        </p:spPr>
        <p:txBody>
          <a:bodyPr>
            <a:noAutofit/>
          </a:bodyPr>
          <a:lstStyle>
            <a:lvl1pPr>
              <a:defRPr sz="2585"/>
            </a:lvl1pPr>
          </a:lstStyle>
          <a:p>
            <a:r>
              <a:rPr lang="en-US"/>
              <a:t>Click to edit Master title style</a:t>
            </a:r>
          </a:p>
        </p:txBody>
      </p:sp>
      <p:sp>
        <p:nvSpPr>
          <p:cNvPr id="3" name="Content Placeholder 2"/>
          <p:cNvSpPr>
            <a:spLocks noGrp="1"/>
          </p:cNvSpPr>
          <p:nvPr>
            <p:ph idx="1"/>
          </p:nvPr>
        </p:nvSpPr>
        <p:spPr>
          <a:xfrm>
            <a:off x="342242" y="801390"/>
            <a:ext cx="11528917" cy="5227768"/>
          </a:xfrm>
        </p:spPr>
        <p:txBody>
          <a:bodyPr>
            <a:noAutofit/>
          </a:bodyPr>
          <a:lstStyle>
            <a:lvl1pPr>
              <a:spcAft>
                <a:spcPts val="738"/>
              </a:spcAft>
              <a:defRPr sz="1969"/>
            </a:lvl1pPr>
            <a:lvl2pPr marL="450186">
              <a:defRPr sz="1969"/>
            </a:lvl2pPr>
            <a:lvl3pPr marL="900372">
              <a:defRPr sz="1969"/>
            </a:lvl3pPr>
            <a:lvl4pPr marL="1350558">
              <a:defRPr sz="1969"/>
            </a:lvl4pPr>
            <a:lvl5pPr marL="1800744">
              <a:defRPr sz="196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p:cNvGrpSpPr/>
          <p:nvPr userDrawn="1"/>
        </p:nvGrpSpPr>
        <p:grpSpPr>
          <a:xfrm>
            <a:off x="5" y="6792455"/>
            <a:ext cx="12191999" cy="73745"/>
            <a:chOff x="1" y="6792449"/>
            <a:chExt cx="9143999" cy="73745"/>
          </a:xfrm>
        </p:grpSpPr>
        <p:sp>
          <p:nvSpPr>
            <p:cNvPr id="8" name="Rectangle 7"/>
            <p:cNvSpPr/>
            <p:nvPr/>
          </p:nvSpPr>
          <p:spPr>
            <a:xfrm>
              <a:off x="5486400" y="6792449"/>
              <a:ext cx="1828800" cy="73745"/>
            </a:xfrm>
            <a:prstGeom prst="rect">
              <a:avLst/>
            </a:prstGeom>
            <a:solidFill>
              <a:srgbClr val="1740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9" name="Rectangle 8"/>
            <p:cNvSpPr/>
            <p:nvPr/>
          </p:nvSpPr>
          <p:spPr>
            <a:xfrm>
              <a:off x="1" y="6792449"/>
              <a:ext cx="1828800" cy="73745"/>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0" name="Rectangle 9"/>
            <p:cNvSpPr/>
            <p:nvPr/>
          </p:nvSpPr>
          <p:spPr>
            <a:xfrm>
              <a:off x="1828801" y="6792449"/>
              <a:ext cx="1828800" cy="73745"/>
            </a:xfrm>
            <a:prstGeom prst="rect">
              <a:avLst/>
            </a:prstGeom>
            <a:solidFill>
              <a:srgbClr val="2428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1" name="Rectangle 10"/>
            <p:cNvSpPr/>
            <p:nvPr/>
          </p:nvSpPr>
          <p:spPr>
            <a:xfrm>
              <a:off x="3657601" y="6792450"/>
              <a:ext cx="1828800" cy="73743"/>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2" name="Rectangle 11"/>
            <p:cNvSpPr/>
            <p:nvPr/>
          </p:nvSpPr>
          <p:spPr>
            <a:xfrm>
              <a:off x="7315200" y="6792450"/>
              <a:ext cx="1828800" cy="73743"/>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grpSp>
      <p:pic>
        <p:nvPicPr>
          <p:cNvPr id="17" name="Picture 16" descr="Logo&#10;&#10;Description automatically generated with medium confidence">
            <a:extLst>
              <a:ext uri="{FF2B5EF4-FFF2-40B4-BE49-F238E27FC236}">
                <a16:creationId xmlns:a16="http://schemas.microsoft.com/office/drawing/2014/main" id="{452EA0D7-1119-41BB-BF9D-223494397BE9}"/>
              </a:ext>
            </a:extLst>
          </p:cNvPr>
          <p:cNvPicPr>
            <a:picLocks noChangeAspect="1"/>
          </p:cNvPicPr>
          <p:nvPr userDrawn="1"/>
        </p:nvPicPr>
        <p:blipFill>
          <a:blip r:embed="rId4"/>
          <a:stretch>
            <a:fillRect/>
          </a:stretch>
        </p:blipFill>
        <p:spPr>
          <a:xfrm>
            <a:off x="9581781" y="6234444"/>
            <a:ext cx="2610219" cy="524770"/>
          </a:xfrm>
          <a:prstGeom prst="rect">
            <a:avLst/>
          </a:prstGeom>
        </p:spPr>
      </p:pic>
    </p:spTree>
    <p:extLst>
      <p:ext uri="{BB962C8B-B14F-4D97-AF65-F5344CB8AC3E}">
        <p14:creationId xmlns:p14="http://schemas.microsoft.com/office/powerpoint/2010/main" val="71296429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Break - Blue 04">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C0865AB1-8472-4803-B90A-90F4CA896422}"/>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rcRect/>
          <a:stretch/>
        </p:blipFill>
        <p:spPr>
          <a:xfrm>
            <a:off x="0" y="2078183"/>
            <a:ext cx="12192000" cy="2527968"/>
          </a:xfrm>
          <a:prstGeom prst="rect">
            <a:avLst/>
          </a:prstGeom>
        </p:spPr>
      </p:pic>
      <p:sp>
        <p:nvSpPr>
          <p:cNvPr id="5" name="Rectangle 4"/>
          <p:cNvSpPr/>
          <p:nvPr userDrawn="1"/>
        </p:nvSpPr>
        <p:spPr>
          <a:xfrm>
            <a:off x="0" y="2078182"/>
            <a:ext cx="12192000" cy="2514600"/>
          </a:xfrm>
          <a:prstGeom prst="rect">
            <a:avLst/>
          </a:prstGeom>
          <a:gradFill flip="none" rotWithShape="1">
            <a:gsLst>
              <a:gs pos="0">
                <a:srgbClr val="0E6BB9">
                  <a:alpha val="85000"/>
                </a:srgbClr>
              </a:gs>
              <a:gs pos="100000">
                <a:srgbClr val="1055AA"/>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0" name="Rectangle 9"/>
          <p:cNvSpPr/>
          <p:nvPr userDrawn="1"/>
        </p:nvSpPr>
        <p:spPr>
          <a:xfrm>
            <a:off x="0" y="4532998"/>
            <a:ext cx="12192000" cy="73152"/>
          </a:xfrm>
          <a:prstGeom prst="rect">
            <a:avLst/>
          </a:prstGeom>
          <a:solidFill>
            <a:srgbClr val="1843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cxnSp>
        <p:nvCxnSpPr>
          <p:cNvPr id="7" name="Straight Connector 6"/>
          <p:cNvCxnSpPr/>
          <p:nvPr userDrawn="1"/>
        </p:nvCxnSpPr>
        <p:spPr>
          <a:xfrm>
            <a:off x="472791" y="2753758"/>
            <a:ext cx="4174448"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Slide Number Placeholder 6"/>
          <p:cNvSpPr>
            <a:spLocks noGrp="1"/>
          </p:cNvSpPr>
          <p:nvPr>
            <p:ph type="sldNum" sz="quarter" idx="12"/>
          </p:nvPr>
        </p:nvSpPr>
        <p:spPr>
          <a:xfrm>
            <a:off x="342240" y="6356358"/>
            <a:ext cx="2844800" cy="365125"/>
          </a:xfrm>
        </p:spPr>
        <p:txBody>
          <a:bodyPr/>
          <a:lstStyle/>
          <a:p>
            <a:fld id="{BEEE3D23-30C1-F34A-B827-52BBC0B19443}" type="slidenum">
              <a:rPr lang="en-US" smtClean="0"/>
              <a:t>‹#›</a:t>
            </a:fld>
            <a:endParaRPr lang="en-US"/>
          </a:p>
        </p:txBody>
      </p:sp>
      <p:sp>
        <p:nvSpPr>
          <p:cNvPr id="13" name="Title 1"/>
          <p:cNvSpPr>
            <a:spLocks noGrp="1"/>
          </p:cNvSpPr>
          <p:nvPr>
            <p:ph type="title"/>
          </p:nvPr>
        </p:nvSpPr>
        <p:spPr>
          <a:xfrm>
            <a:off x="324851" y="2824376"/>
            <a:ext cx="5949402" cy="1346575"/>
          </a:xfrm>
        </p:spPr>
        <p:txBody>
          <a:bodyPr>
            <a:noAutofit/>
          </a:bodyPr>
          <a:lstStyle>
            <a:lvl1pPr>
              <a:defRPr sz="3939">
                <a:solidFill>
                  <a:schemeClr val="bg1"/>
                </a:solidFill>
              </a:defRPr>
            </a:lvl1pPr>
          </a:lstStyle>
          <a:p>
            <a:r>
              <a:rPr lang="en-US"/>
              <a:t>Click to edit Master title style</a:t>
            </a:r>
          </a:p>
        </p:txBody>
      </p:sp>
      <p:pic>
        <p:nvPicPr>
          <p:cNvPr id="11" name="Picture 10">
            <a:extLst>
              <a:ext uri="{FF2B5EF4-FFF2-40B4-BE49-F238E27FC236}">
                <a16:creationId xmlns:a16="http://schemas.microsoft.com/office/drawing/2014/main" id="{80E8B67A-C57D-425D-B487-46F5553FC644}"/>
              </a:ext>
            </a:extLst>
          </p:cNvPr>
          <p:cNvPicPr>
            <a:picLocks noChangeAspect="1"/>
          </p:cNvPicPr>
          <p:nvPr userDrawn="1"/>
        </p:nvPicPr>
        <p:blipFill>
          <a:blip r:embed="rId4" cstate="screen">
            <a:alphaModFix amt="35000"/>
            <a:extLst>
              <a:ext uri="{28A0092B-C50C-407E-A947-70E740481C1C}">
                <a14:useLocalDpi xmlns:a14="http://schemas.microsoft.com/office/drawing/2010/main"/>
              </a:ext>
            </a:extLst>
          </a:blip>
          <a:stretch>
            <a:fillRect/>
          </a:stretch>
        </p:blipFill>
        <p:spPr>
          <a:xfrm>
            <a:off x="7374239" y="1937050"/>
            <a:ext cx="4492910" cy="3324425"/>
          </a:xfrm>
          <a:prstGeom prst="rect">
            <a:avLst/>
          </a:prstGeom>
        </p:spPr>
      </p:pic>
    </p:spTree>
    <p:extLst>
      <p:ext uri="{BB962C8B-B14F-4D97-AF65-F5344CB8AC3E}">
        <p14:creationId xmlns:p14="http://schemas.microsoft.com/office/powerpoint/2010/main" val="102721395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Break - Blue 05">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47CEEDB-D286-4C15-8213-CD79C06A1A5F}"/>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rcRect/>
          <a:stretch/>
        </p:blipFill>
        <p:spPr>
          <a:xfrm>
            <a:off x="0" y="2078183"/>
            <a:ext cx="12192000" cy="2527968"/>
          </a:xfrm>
          <a:prstGeom prst="rect">
            <a:avLst/>
          </a:prstGeom>
        </p:spPr>
      </p:pic>
      <p:sp>
        <p:nvSpPr>
          <p:cNvPr id="5" name="Rectangle 4"/>
          <p:cNvSpPr/>
          <p:nvPr userDrawn="1"/>
        </p:nvSpPr>
        <p:spPr>
          <a:xfrm>
            <a:off x="0" y="2078182"/>
            <a:ext cx="12192000" cy="2514600"/>
          </a:xfrm>
          <a:prstGeom prst="rect">
            <a:avLst/>
          </a:prstGeom>
          <a:gradFill flip="none" rotWithShape="1">
            <a:gsLst>
              <a:gs pos="0">
                <a:srgbClr val="0E6BB9">
                  <a:alpha val="85000"/>
                </a:srgbClr>
              </a:gs>
              <a:gs pos="100000">
                <a:srgbClr val="1055AA"/>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0" name="Rectangle 9"/>
          <p:cNvSpPr/>
          <p:nvPr userDrawn="1"/>
        </p:nvSpPr>
        <p:spPr>
          <a:xfrm>
            <a:off x="0" y="4532998"/>
            <a:ext cx="12192000" cy="73152"/>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cxnSp>
        <p:nvCxnSpPr>
          <p:cNvPr id="7" name="Straight Connector 6"/>
          <p:cNvCxnSpPr/>
          <p:nvPr userDrawn="1"/>
        </p:nvCxnSpPr>
        <p:spPr>
          <a:xfrm>
            <a:off x="472791" y="2753758"/>
            <a:ext cx="4174448"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Slide Number Placeholder 6"/>
          <p:cNvSpPr>
            <a:spLocks noGrp="1"/>
          </p:cNvSpPr>
          <p:nvPr>
            <p:ph type="sldNum" sz="quarter" idx="12"/>
          </p:nvPr>
        </p:nvSpPr>
        <p:spPr>
          <a:xfrm>
            <a:off x="342240" y="6356358"/>
            <a:ext cx="2844800" cy="365125"/>
          </a:xfrm>
        </p:spPr>
        <p:txBody>
          <a:bodyPr/>
          <a:lstStyle/>
          <a:p>
            <a:fld id="{BEEE3D23-30C1-F34A-B827-52BBC0B19443}" type="slidenum">
              <a:rPr lang="en-US" smtClean="0"/>
              <a:t>‹#›</a:t>
            </a:fld>
            <a:endParaRPr lang="en-US"/>
          </a:p>
        </p:txBody>
      </p:sp>
      <p:sp>
        <p:nvSpPr>
          <p:cNvPr id="13" name="Title 1"/>
          <p:cNvSpPr>
            <a:spLocks noGrp="1"/>
          </p:cNvSpPr>
          <p:nvPr>
            <p:ph type="title"/>
          </p:nvPr>
        </p:nvSpPr>
        <p:spPr>
          <a:xfrm>
            <a:off x="324851" y="2824376"/>
            <a:ext cx="5949402" cy="1346575"/>
          </a:xfrm>
        </p:spPr>
        <p:txBody>
          <a:bodyPr>
            <a:noAutofit/>
          </a:bodyPr>
          <a:lstStyle>
            <a:lvl1pPr>
              <a:defRPr sz="3939">
                <a:solidFill>
                  <a:schemeClr val="bg1"/>
                </a:solidFill>
              </a:defRPr>
            </a:lvl1pPr>
          </a:lstStyle>
          <a:p>
            <a:r>
              <a:rPr lang="en-US"/>
              <a:t>Click to edit Master title style</a:t>
            </a:r>
          </a:p>
        </p:txBody>
      </p:sp>
      <p:pic>
        <p:nvPicPr>
          <p:cNvPr id="11" name="Picture 10">
            <a:extLst>
              <a:ext uri="{FF2B5EF4-FFF2-40B4-BE49-F238E27FC236}">
                <a16:creationId xmlns:a16="http://schemas.microsoft.com/office/drawing/2014/main" id="{77294B00-FF46-410F-8192-50EC20CA3576}"/>
              </a:ext>
            </a:extLst>
          </p:cNvPr>
          <p:cNvPicPr>
            <a:picLocks noChangeAspect="1"/>
          </p:cNvPicPr>
          <p:nvPr userDrawn="1"/>
        </p:nvPicPr>
        <p:blipFill>
          <a:blip r:embed="rId4" cstate="screen">
            <a:alphaModFix amt="35000"/>
            <a:extLst>
              <a:ext uri="{28A0092B-C50C-407E-A947-70E740481C1C}">
                <a14:useLocalDpi xmlns:a14="http://schemas.microsoft.com/office/drawing/2010/main"/>
              </a:ext>
            </a:extLst>
          </a:blip>
          <a:stretch>
            <a:fillRect/>
          </a:stretch>
        </p:blipFill>
        <p:spPr>
          <a:xfrm>
            <a:off x="7374239" y="1937050"/>
            <a:ext cx="4492910" cy="3324425"/>
          </a:xfrm>
          <a:prstGeom prst="rect">
            <a:avLst/>
          </a:prstGeom>
        </p:spPr>
      </p:pic>
    </p:spTree>
    <p:extLst>
      <p:ext uri="{BB962C8B-B14F-4D97-AF65-F5344CB8AC3E}">
        <p14:creationId xmlns:p14="http://schemas.microsoft.com/office/powerpoint/2010/main" val="102721395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Break - Accent Color 01">
    <p:spTree>
      <p:nvGrpSpPr>
        <p:cNvPr id="1" name=""/>
        <p:cNvGrpSpPr/>
        <p:nvPr/>
      </p:nvGrpSpPr>
      <p:grpSpPr>
        <a:xfrm>
          <a:off x="0" y="0"/>
          <a:ext cx="0" cy="0"/>
          <a:chOff x="0" y="0"/>
          <a:chExt cx="0" cy="0"/>
        </a:xfrm>
      </p:grpSpPr>
      <p:sp>
        <p:nvSpPr>
          <p:cNvPr id="4" name="Rectangle 3"/>
          <p:cNvSpPr/>
          <p:nvPr userDrawn="1"/>
        </p:nvSpPr>
        <p:spPr>
          <a:xfrm>
            <a:off x="0" y="2078182"/>
            <a:ext cx="12192000" cy="2514600"/>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5" name="Rectangle 4"/>
          <p:cNvSpPr/>
          <p:nvPr userDrawn="1"/>
        </p:nvSpPr>
        <p:spPr>
          <a:xfrm>
            <a:off x="0" y="4532998"/>
            <a:ext cx="12192000" cy="73152"/>
          </a:xfrm>
          <a:prstGeom prst="rect">
            <a:avLst/>
          </a:prstGeom>
          <a:solidFill>
            <a:srgbClr val="1573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cxnSp>
        <p:nvCxnSpPr>
          <p:cNvPr id="6" name="Straight Connector 5"/>
          <p:cNvCxnSpPr/>
          <p:nvPr userDrawn="1"/>
        </p:nvCxnSpPr>
        <p:spPr>
          <a:xfrm>
            <a:off x="472791" y="2753758"/>
            <a:ext cx="4174448"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0" name="Slide Number Placeholder 6"/>
          <p:cNvSpPr>
            <a:spLocks noGrp="1"/>
          </p:cNvSpPr>
          <p:nvPr>
            <p:ph type="sldNum" sz="quarter" idx="12"/>
          </p:nvPr>
        </p:nvSpPr>
        <p:spPr>
          <a:xfrm>
            <a:off x="342240" y="6356358"/>
            <a:ext cx="2844800" cy="365125"/>
          </a:xfrm>
        </p:spPr>
        <p:txBody>
          <a:bodyPr/>
          <a:lstStyle/>
          <a:p>
            <a:fld id="{BEEE3D23-30C1-F34A-B827-52BBC0B19443}" type="slidenum">
              <a:rPr lang="en-US" smtClean="0"/>
              <a:t>‹#›</a:t>
            </a:fld>
            <a:endParaRPr lang="en-US"/>
          </a:p>
        </p:txBody>
      </p:sp>
      <p:sp>
        <p:nvSpPr>
          <p:cNvPr id="12" name="Title 1"/>
          <p:cNvSpPr>
            <a:spLocks noGrp="1"/>
          </p:cNvSpPr>
          <p:nvPr>
            <p:ph type="title"/>
          </p:nvPr>
        </p:nvSpPr>
        <p:spPr>
          <a:xfrm>
            <a:off x="324851" y="2824376"/>
            <a:ext cx="5949402" cy="1346575"/>
          </a:xfrm>
        </p:spPr>
        <p:txBody>
          <a:bodyPr>
            <a:noAutofit/>
          </a:bodyPr>
          <a:lstStyle>
            <a:lvl1pPr>
              <a:defRPr sz="3939">
                <a:solidFill>
                  <a:schemeClr val="bg1"/>
                </a:solidFill>
              </a:defRPr>
            </a:lvl1pPr>
          </a:lstStyle>
          <a:p>
            <a:r>
              <a:rPr lang="en-US"/>
              <a:t>Click to edit Master title style</a:t>
            </a:r>
          </a:p>
        </p:txBody>
      </p:sp>
      <p:pic>
        <p:nvPicPr>
          <p:cNvPr id="8" name="Picture 7">
            <a:extLst>
              <a:ext uri="{FF2B5EF4-FFF2-40B4-BE49-F238E27FC236}">
                <a16:creationId xmlns:a16="http://schemas.microsoft.com/office/drawing/2014/main" id="{DEB85114-7622-419D-B1AC-F15A45CA6BF5}"/>
              </a:ext>
            </a:extLst>
          </p:cNvPr>
          <p:cNvPicPr>
            <a:picLocks noChangeAspect="1"/>
          </p:cNvPicPr>
          <p:nvPr userDrawn="1"/>
        </p:nvPicPr>
        <p:blipFill>
          <a:blip r:embed="rId2" cstate="screen">
            <a:alphaModFix amt="35000"/>
            <a:extLst>
              <a:ext uri="{28A0092B-C50C-407E-A947-70E740481C1C}">
                <a14:useLocalDpi xmlns:a14="http://schemas.microsoft.com/office/drawing/2010/main"/>
              </a:ext>
            </a:extLst>
          </a:blip>
          <a:stretch>
            <a:fillRect/>
          </a:stretch>
        </p:blipFill>
        <p:spPr>
          <a:xfrm>
            <a:off x="7374239" y="1937050"/>
            <a:ext cx="4492910" cy="3324425"/>
          </a:xfrm>
          <a:prstGeom prst="rect">
            <a:avLst/>
          </a:prstGeom>
        </p:spPr>
      </p:pic>
    </p:spTree>
    <p:extLst>
      <p:ext uri="{BB962C8B-B14F-4D97-AF65-F5344CB8AC3E}">
        <p14:creationId xmlns:p14="http://schemas.microsoft.com/office/powerpoint/2010/main" val="309371823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Break - Accent Color 02">
    <p:spTree>
      <p:nvGrpSpPr>
        <p:cNvPr id="1" name=""/>
        <p:cNvGrpSpPr/>
        <p:nvPr/>
      </p:nvGrpSpPr>
      <p:grpSpPr>
        <a:xfrm>
          <a:off x="0" y="0"/>
          <a:ext cx="0" cy="0"/>
          <a:chOff x="0" y="0"/>
          <a:chExt cx="0" cy="0"/>
        </a:xfrm>
      </p:grpSpPr>
      <p:sp>
        <p:nvSpPr>
          <p:cNvPr id="18" name="Rectangle 17"/>
          <p:cNvSpPr/>
          <p:nvPr userDrawn="1"/>
        </p:nvSpPr>
        <p:spPr>
          <a:xfrm>
            <a:off x="0" y="2078182"/>
            <a:ext cx="12192000" cy="2514600"/>
          </a:xfrm>
          <a:prstGeom prst="rect">
            <a:avLst/>
          </a:prstGeom>
          <a:solidFill>
            <a:srgbClr val="2A346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24" name="Rectangle 23"/>
          <p:cNvSpPr/>
          <p:nvPr userDrawn="1"/>
        </p:nvSpPr>
        <p:spPr>
          <a:xfrm>
            <a:off x="0" y="4546366"/>
            <a:ext cx="12192000" cy="73152"/>
          </a:xfrm>
          <a:prstGeom prst="rect">
            <a:avLst/>
          </a:prstGeom>
          <a:solidFill>
            <a:srgbClr val="1573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cxnSp>
        <p:nvCxnSpPr>
          <p:cNvPr id="20" name="Straight Connector 19"/>
          <p:cNvCxnSpPr/>
          <p:nvPr userDrawn="1"/>
        </p:nvCxnSpPr>
        <p:spPr>
          <a:xfrm>
            <a:off x="472791" y="2753758"/>
            <a:ext cx="4174448"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userDrawn="1"/>
        </p:nvCxnSpPr>
        <p:spPr>
          <a:xfrm>
            <a:off x="472791" y="2753758"/>
            <a:ext cx="4174448"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Slide Number Placeholder 6"/>
          <p:cNvSpPr>
            <a:spLocks noGrp="1"/>
          </p:cNvSpPr>
          <p:nvPr>
            <p:ph type="sldNum" sz="quarter" idx="12"/>
          </p:nvPr>
        </p:nvSpPr>
        <p:spPr>
          <a:xfrm>
            <a:off x="342240" y="6356358"/>
            <a:ext cx="2844800" cy="365125"/>
          </a:xfrm>
        </p:spPr>
        <p:txBody>
          <a:bodyPr/>
          <a:lstStyle/>
          <a:p>
            <a:fld id="{BEEE3D23-30C1-F34A-B827-52BBC0B19443}" type="slidenum">
              <a:rPr lang="en-US" smtClean="0"/>
              <a:t>‹#›</a:t>
            </a:fld>
            <a:endParaRPr lang="en-US"/>
          </a:p>
        </p:txBody>
      </p:sp>
      <p:sp>
        <p:nvSpPr>
          <p:cNvPr id="26" name="Title 1"/>
          <p:cNvSpPr>
            <a:spLocks noGrp="1"/>
          </p:cNvSpPr>
          <p:nvPr>
            <p:ph type="title"/>
          </p:nvPr>
        </p:nvSpPr>
        <p:spPr>
          <a:xfrm>
            <a:off x="324851" y="2824376"/>
            <a:ext cx="5949402" cy="1346575"/>
          </a:xfrm>
        </p:spPr>
        <p:txBody>
          <a:bodyPr>
            <a:noAutofit/>
          </a:bodyPr>
          <a:lstStyle>
            <a:lvl1pPr>
              <a:defRPr sz="3939">
                <a:solidFill>
                  <a:schemeClr val="bg1"/>
                </a:solidFill>
              </a:defRPr>
            </a:lvl1pPr>
          </a:lstStyle>
          <a:p>
            <a:r>
              <a:rPr lang="en-US"/>
              <a:t>Click to edit Master title style</a:t>
            </a:r>
          </a:p>
        </p:txBody>
      </p:sp>
      <p:pic>
        <p:nvPicPr>
          <p:cNvPr id="10" name="Picture 9">
            <a:extLst>
              <a:ext uri="{FF2B5EF4-FFF2-40B4-BE49-F238E27FC236}">
                <a16:creationId xmlns:a16="http://schemas.microsoft.com/office/drawing/2014/main" id="{8196C54B-284A-41BD-A378-60BCF994C283}"/>
              </a:ext>
            </a:extLst>
          </p:cNvPr>
          <p:cNvPicPr>
            <a:picLocks noChangeAspect="1"/>
          </p:cNvPicPr>
          <p:nvPr userDrawn="1"/>
        </p:nvPicPr>
        <p:blipFill>
          <a:blip r:embed="rId2" cstate="screen">
            <a:alphaModFix amt="35000"/>
            <a:extLst>
              <a:ext uri="{28A0092B-C50C-407E-A947-70E740481C1C}">
                <a14:useLocalDpi xmlns:a14="http://schemas.microsoft.com/office/drawing/2010/main"/>
              </a:ext>
            </a:extLst>
          </a:blip>
          <a:stretch>
            <a:fillRect/>
          </a:stretch>
        </p:blipFill>
        <p:spPr>
          <a:xfrm>
            <a:off x="7374239" y="1937050"/>
            <a:ext cx="4492910" cy="3324425"/>
          </a:xfrm>
          <a:prstGeom prst="rect">
            <a:avLst/>
          </a:prstGeom>
        </p:spPr>
      </p:pic>
    </p:spTree>
    <p:extLst>
      <p:ext uri="{BB962C8B-B14F-4D97-AF65-F5344CB8AC3E}">
        <p14:creationId xmlns:p14="http://schemas.microsoft.com/office/powerpoint/2010/main" val="313253822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Break - Accent Color 03">
    <p:spTree>
      <p:nvGrpSpPr>
        <p:cNvPr id="1" name=""/>
        <p:cNvGrpSpPr/>
        <p:nvPr/>
      </p:nvGrpSpPr>
      <p:grpSpPr>
        <a:xfrm>
          <a:off x="0" y="0"/>
          <a:ext cx="0" cy="0"/>
          <a:chOff x="0" y="0"/>
          <a:chExt cx="0" cy="0"/>
        </a:xfrm>
      </p:grpSpPr>
      <p:sp>
        <p:nvSpPr>
          <p:cNvPr id="5" name="Rectangle 4"/>
          <p:cNvSpPr/>
          <p:nvPr userDrawn="1"/>
        </p:nvSpPr>
        <p:spPr>
          <a:xfrm>
            <a:off x="0" y="2078182"/>
            <a:ext cx="12192000" cy="2514600"/>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6" name="Rectangle 15"/>
          <p:cNvSpPr/>
          <p:nvPr userDrawn="1"/>
        </p:nvSpPr>
        <p:spPr>
          <a:xfrm>
            <a:off x="0" y="4546366"/>
            <a:ext cx="12192000" cy="73152"/>
          </a:xfrm>
          <a:prstGeom prst="rect">
            <a:avLst/>
          </a:prstGeom>
          <a:solidFill>
            <a:srgbClr val="1573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cxnSp>
        <p:nvCxnSpPr>
          <p:cNvPr id="7" name="Straight Connector 6"/>
          <p:cNvCxnSpPr/>
          <p:nvPr userDrawn="1"/>
        </p:nvCxnSpPr>
        <p:spPr>
          <a:xfrm>
            <a:off x="472791" y="2753758"/>
            <a:ext cx="4174448"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Slide Number Placeholder 6"/>
          <p:cNvSpPr>
            <a:spLocks noGrp="1"/>
          </p:cNvSpPr>
          <p:nvPr>
            <p:ph type="sldNum" sz="quarter" idx="12"/>
          </p:nvPr>
        </p:nvSpPr>
        <p:spPr>
          <a:xfrm>
            <a:off x="342240" y="6356358"/>
            <a:ext cx="2844800" cy="365125"/>
          </a:xfrm>
        </p:spPr>
        <p:txBody>
          <a:bodyPr/>
          <a:lstStyle/>
          <a:p>
            <a:fld id="{BEEE3D23-30C1-F34A-B827-52BBC0B19443}" type="slidenum">
              <a:rPr lang="en-US" smtClean="0"/>
              <a:t>‹#›</a:t>
            </a:fld>
            <a:endParaRPr lang="en-US"/>
          </a:p>
        </p:txBody>
      </p:sp>
      <p:sp>
        <p:nvSpPr>
          <p:cNvPr id="17" name="Title 1"/>
          <p:cNvSpPr>
            <a:spLocks noGrp="1"/>
          </p:cNvSpPr>
          <p:nvPr>
            <p:ph type="title"/>
          </p:nvPr>
        </p:nvSpPr>
        <p:spPr>
          <a:xfrm>
            <a:off x="324851" y="2824376"/>
            <a:ext cx="5949402" cy="1346575"/>
          </a:xfrm>
        </p:spPr>
        <p:txBody>
          <a:bodyPr>
            <a:noAutofit/>
          </a:bodyPr>
          <a:lstStyle>
            <a:lvl1pPr>
              <a:defRPr sz="3939">
                <a:solidFill>
                  <a:schemeClr val="bg1"/>
                </a:solidFill>
              </a:defRPr>
            </a:lvl1pPr>
          </a:lstStyle>
          <a:p>
            <a:r>
              <a:rPr lang="en-US"/>
              <a:t>Click to edit Master title style</a:t>
            </a:r>
          </a:p>
        </p:txBody>
      </p:sp>
      <p:pic>
        <p:nvPicPr>
          <p:cNvPr id="10" name="Picture 9">
            <a:extLst>
              <a:ext uri="{FF2B5EF4-FFF2-40B4-BE49-F238E27FC236}">
                <a16:creationId xmlns:a16="http://schemas.microsoft.com/office/drawing/2014/main" id="{B2A739F8-C651-4461-BE32-FBAFE9FF2EEF}"/>
              </a:ext>
            </a:extLst>
          </p:cNvPr>
          <p:cNvPicPr>
            <a:picLocks noChangeAspect="1"/>
          </p:cNvPicPr>
          <p:nvPr userDrawn="1"/>
        </p:nvPicPr>
        <p:blipFill>
          <a:blip r:embed="rId2" cstate="screen">
            <a:alphaModFix amt="35000"/>
            <a:extLst>
              <a:ext uri="{28A0092B-C50C-407E-A947-70E740481C1C}">
                <a14:useLocalDpi xmlns:a14="http://schemas.microsoft.com/office/drawing/2010/main"/>
              </a:ext>
            </a:extLst>
          </a:blip>
          <a:stretch>
            <a:fillRect/>
          </a:stretch>
        </p:blipFill>
        <p:spPr>
          <a:xfrm>
            <a:off x="7374239" y="1937050"/>
            <a:ext cx="4492910" cy="3324425"/>
          </a:xfrm>
          <a:prstGeom prst="rect">
            <a:avLst/>
          </a:prstGeom>
        </p:spPr>
      </p:pic>
    </p:spTree>
    <p:extLst>
      <p:ext uri="{BB962C8B-B14F-4D97-AF65-F5344CB8AC3E}">
        <p14:creationId xmlns:p14="http://schemas.microsoft.com/office/powerpoint/2010/main" val="313253822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Break - Accent Color 04">
    <p:spTree>
      <p:nvGrpSpPr>
        <p:cNvPr id="1" name=""/>
        <p:cNvGrpSpPr/>
        <p:nvPr/>
      </p:nvGrpSpPr>
      <p:grpSpPr>
        <a:xfrm>
          <a:off x="0" y="0"/>
          <a:ext cx="0" cy="0"/>
          <a:chOff x="0" y="0"/>
          <a:chExt cx="0" cy="0"/>
        </a:xfrm>
      </p:grpSpPr>
      <p:sp>
        <p:nvSpPr>
          <p:cNvPr id="5" name="Rectangle 4"/>
          <p:cNvSpPr/>
          <p:nvPr userDrawn="1"/>
        </p:nvSpPr>
        <p:spPr>
          <a:xfrm>
            <a:off x="0" y="2078182"/>
            <a:ext cx="12192000" cy="2514600"/>
          </a:xfrm>
          <a:prstGeom prst="rect">
            <a:avLst/>
          </a:prstGeom>
          <a:solidFill>
            <a:srgbClr val="1740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1" name="Rectangle 10"/>
          <p:cNvSpPr/>
          <p:nvPr userDrawn="1"/>
        </p:nvSpPr>
        <p:spPr>
          <a:xfrm>
            <a:off x="0" y="4546366"/>
            <a:ext cx="12192000" cy="73152"/>
          </a:xfrm>
          <a:prstGeom prst="rect">
            <a:avLst/>
          </a:prstGeom>
          <a:solidFill>
            <a:srgbClr val="1573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3" name="Slide Number Placeholder 2"/>
          <p:cNvSpPr>
            <a:spLocks noGrp="1"/>
          </p:cNvSpPr>
          <p:nvPr>
            <p:ph type="sldNum" sz="quarter" idx="10"/>
          </p:nvPr>
        </p:nvSpPr>
        <p:spPr/>
        <p:txBody>
          <a:bodyPr/>
          <a:lstStyle/>
          <a:p>
            <a:fld id="{BEEE3D23-30C1-F34A-B827-52BBC0B19443}" type="slidenum">
              <a:rPr lang="en-US" smtClean="0"/>
              <a:pPr/>
              <a:t>‹#›</a:t>
            </a:fld>
            <a:endParaRPr lang="en-US"/>
          </a:p>
        </p:txBody>
      </p:sp>
      <p:cxnSp>
        <p:nvCxnSpPr>
          <p:cNvPr id="7" name="Straight Connector 6"/>
          <p:cNvCxnSpPr/>
          <p:nvPr userDrawn="1"/>
        </p:nvCxnSpPr>
        <p:spPr>
          <a:xfrm>
            <a:off x="472791" y="2753758"/>
            <a:ext cx="4174448"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Title 1"/>
          <p:cNvSpPr>
            <a:spLocks noGrp="1"/>
          </p:cNvSpPr>
          <p:nvPr>
            <p:ph type="title"/>
          </p:nvPr>
        </p:nvSpPr>
        <p:spPr>
          <a:xfrm>
            <a:off x="324851" y="2824376"/>
            <a:ext cx="5949402" cy="1346575"/>
          </a:xfrm>
        </p:spPr>
        <p:txBody>
          <a:bodyPr>
            <a:noAutofit/>
          </a:bodyPr>
          <a:lstStyle>
            <a:lvl1pPr>
              <a:defRPr sz="3939">
                <a:solidFill>
                  <a:schemeClr val="bg1"/>
                </a:solidFill>
              </a:defRPr>
            </a:lvl1pPr>
          </a:lstStyle>
          <a:p>
            <a:r>
              <a:rPr lang="en-US"/>
              <a:t>Click to edit Master title style</a:t>
            </a:r>
          </a:p>
        </p:txBody>
      </p:sp>
      <p:pic>
        <p:nvPicPr>
          <p:cNvPr id="9" name="Picture 8">
            <a:extLst>
              <a:ext uri="{FF2B5EF4-FFF2-40B4-BE49-F238E27FC236}">
                <a16:creationId xmlns:a16="http://schemas.microsoft.com/office/drawing/2014/main" id="{0B3F1FDD-C682-40F5-A4F0-9A55A4C6B0F2}"/>
              </a:ext>
            </a:extLst>
          </p:cNvPr>
          <p:cNvPicPr>
            <a:picLocks noChangeAspect="1"/>
          </p:cNvPicPr>
          <p:nvPr userDrawn="1"/>
        </p:nvPicPr>
        <p:blipFill>
          <a:blip r:embed="rId2" cstate="screen">
            <a:alphaModFix amt="35000"/>
            <a:extLst>
              <a:ext uri="{28A0092B-C50C-407E-A947-70E740481C1C}">
                <a14:useLocalDpi xmlns:a14="http://schemas.microsoft.com/office/drawing/2010/main"/>
              </a:ext>
            </a:extLst>
          </a:blip>
          <a:stretch>
            <a:fillRect/>
          </a:stretch>
        </p:blipFill>
        <p:spPr>
          <a:xfrm>
            <a:off x="7374239" y="1937050"/>
            <a:ext cx="4492910" cy="3324425"/>
          </a:xfrm>
          <a:prstGeom prst="rect">
            <a:avLst/>
          </a:prstGeom>
        </p:spPr>
      </p:pic>
    </p:spTree>
    <p:extLst>
      <p:ext uri="{BB962C8B-B14F-4D97-AF65-F5344CB8AC3E}">
        <p14:creationId xmlns:p14="http://schemas.microsoft.com/office/powerpoint/2010/main" val="179298640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Break - Accent Color 05">
    <p:spTree>
      <p:nvGrpSpPr>
        <p:cNvPr id="1" name=""/>
        <p:cNvGrpSpPr/>
        <p:nvPr/>
      </p:nvGrpSpPr>
      <p:grpSpPr>
        <a:xfrm>
          <a:off x="0" y="0"/>
          <a:ext cx="0" cy="0"/>
          <a:chOff x="0" y="0"/>
          <a:chExt cx="0" cy="0"/>
        </a:xfrm>
      </p:grpSpPr>
      <p:sp>
        <p:nvSpPr>
          <p:cNvPr id="5" name="Rectangle 4"/>
          <p:cNvSpPr/>
          <p:nvPr userDrawn="1"/>
        </p:nvSpPr>
        <p:spPr>
          <a:xfrm>
            <a:off x="0" y="2078182"/>
            <a:ext cx="12192000" cy="2514600"/>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1" name="Rectangle 10"/>
          <p:cNvSpPr/>
          <p:nvPr userDrawn="1"/>
        </p:nvSpPr>
        <p:spPr>
          <a:xfrm>
            <a:off x="0" y="4546366"/>
            <a:ext cx="12192000" cy="73152"/>
          </a:xfrm>
          <a:prstGeom prst="rect">
            <a:avLst/>
          </a:prstGeom>
          <a:solidFill>
            <a:srgbClr val="1573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3" name="Slide Number Placeholder 2"/>
          <p:cNvSpPr>
            <a:spLocks noGrp="1"/>
          </p:cNvSpPr>
          <p:nvPr>
            <p:ph type="sldNum" sz="quarter" idx="10"/>
          </p:nvPr>
        </p:nvSpPr>
        <p:spPr/>
        <p:txBody>
          <a:bodyPr/>
          <a:lstStyle/>
          <a:p>
            <a:fld id="{BEEE3D23-30C1-F34A-B827-52BBC0B19443}" type="slidenum">
              <a:rPr lang="en-US" smtClean="0"/>
              <a:pPr/>
              <a:t>‹#›</a:t>
            </a:fld>
            <a:endParaRPr lang="en-US"/>
          </a:p>
        </p:txBody>
      </p:sp>
      <p:cxnSp>
        <p:nvCxnSpPr>
          <p:cNvPr id="7" name="Straight Connector 6"/>
          <p:cNvCxnSpPr/>
          <p:nvPr userDrawn="1"/>
        </p:nvCxnSpPr>
        <p:spPr>
          <a:xfrm>
            <a:off x="472791" y="2753758"/>
            <a:ext cx="4174448" cy="0"/>
          </a:xfrm>
          <a:prstGeom prst="line">
            <a:avLst/>
          </a:prstGeom>
          <a:ln w="1905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Title 1"/>
          <p:cNvSpPr>
            <a:spLocks noGrp="1"/>
          </p:cNvSpPr>
          <p:nvPr>
            <p:ph type="title"/>
          </p:nvPr>
        </p:nvSpPr>
        <p:spPr>
          <a:xfrm>
            <a:off x="324851" y="2824376"/>
            <a:ext cx="5949402" cy="1346575"/>
          </a:xfrm>
        </p:spPr>
        <p:txBody>
          <a:bodyPr>
            <a:noAutofit/>
          </a:bodyPr>
          <a:lstStyle>
            <a:lvl1pPr>
              <a:defRPr sz="3939">
                <a:solidFill>
                  <a:schemeClr val="bg1"/>
                </a:solidFill>
              </a:defRPr>
            </a:lvl1pPr>
          </a:lstStyle>
          <a:p>
            <a:r>
              <a:rPr lang="en-US"/>
              <a:t>Click to edit Master title style</a:t>
            </a:r>
          </a:p>
        </p:txBody>
      </p:sp>
      <p:pic>
        <p:nvPicPr>
          <p:cNvPr id="9" name="Picture 8">
            <a:extLst>
              <a:ext uri="{FF2B5EF4-FFF2-40B4-BE49-F238E27FC236}">
                <a16:creationId xmlns:a16="http://schemas.microsoft.com/office/drawing/2014/main" id="{35232120-72FA-41D4-88AB-D6AA1F9BE48C}"/>
              </a:ext>
            </a:extLst>
          </p:cNvPr>
          <p:cNvPicPr>
            <a:picLocks noChangeAspect="1"/>
          </p:cNvPicPr>
          <p:nvPr userDrawn="1"/>
        </p:nvPicPr>
        <p:blipFill>
          <a:blip r:embed="rId2" cstate="screen">
            <a:alphaModFix amt="35000"/>
            <a:extLst>
              <a:ext uri="{28A0092B-C50C-407E-A947-70E740481C1C}">
                <a14:useLocalDpi xmlns:a14="http://schemas.microsoft.com/office/drawing/2010/main"/>
              </a:ext>
            </a:extLst>
          </a:blip>
          <a:stretch>
            <a:fillRect/>
          </a:stretch>
        </p:blipFill>
        <p:spPr>
          <a:xfrm>
            <a:off x="7374239" y="1937050"/>
            <a:ext cx="4492910" cy="3324425"/>
          </a:xfrm>
          <a:prstGeom prst="rect">
            <a:avLst/>
          </a:prstGeom>
        </p:spPr>
      </p:pic>
    </p:spTree>
    <p:extLst>
      <p:ext uri="{BB962C8B-B14F-4D97-AF65-F5344CB8AC3E}">
        <p14:creationId xmlns:p14="http://schemas.microsoft.com/office/powerpoint/2010/main" val="398312855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cSld name="Body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Slide Number Placeholder 5"/>
          <p:cNvSpPr>
            <a:spLocks noGrp="1"/>
          </p:cNvSpPr>
          <p:nvPr>
            <p:ph type="sldNum" sz="quarter" idx="12"/>
          </p:nvPr>
        </p:nvSpPr>
        <p:spPr/>
        <p:txBody>
          <a:bodyPr/>
          <a:lstStyle/>
          <a:p>
            <a:fld id="{2066355A-084C-D24E-9AD2-7E4FC41EA627}" type="slidenum">
              <a:rPr lang="en-US" smtClean="0"/>
              <a:pPr/>
              <a:t>‹#›</a:t>
            </a:fld>
            <a:endParaRPr lang="en-US"/>
          </a:p>
        </p:txBody>
      </p:sp>
    </p:spTree>
    <p:extLst>
      <p:ext uri="{BB962C8B-B14F-4D97-AF65-F5344CB8AC3E}">
        <p14:creationId xmlns:p14="http://schemas.microsoft.com/office/powerpoint/2010/main" val="6218498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69EE29D-97E5-4EAE-BA26-C4FCAA049970}"/>
              </a:ext>
            </a:extLst>
          </p:cNvPr>
          <p:cNvSpPr>
            <a:spLocks noGrp="1"/>
          </p:cNvSpPr>
          <p:nvPr>
            <p:ph type="sldNum" sz="quarter" idx="10"/>
          </p:nvPr>
        </p:nvSpPr>
        <p:spPr/>
        <p:txBody>
          <a:bodyPr/>
          <a:lstStyle/>
          <a:p>
            <a:fld id="{4F1FA912-FC24-3D46-8310-EAE10B51E2A1}" type="slidenum">
              <a:rPr lang="en-US" smtClean="0"/>
              <a:t>‹#›</a:t>
            </a:fld>
            <a:endParaRPr lang="en-US"/>
          </a:p>
        </p:txBody>
      </p:sp>
    </p:spTree>
    <p:extLst>
      <p:ext uri="{BB962C8B-B14F-4D97-AF65-F5344CB8AC3E}">
        <p14:creationId xmlns:p14="http://schemas.microsoft.com/office/powerpoint/2010/main" val="294177844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Content Slide - 01B" userDrawn="1">
  <p:cSld name="1_Content Slide - 01B">
    <p:spTree>
      <p:nvGrpSpPr>
        <p:cNvPr id="1" name="Shape 36"/>
        <p:cNvGrpSpPr/>
        <p:nvPr/>
      </p:nvGrpSpPr>
      <p:grpSpPr>
        <a:xfrm>
          <a:off x="0" y="0"/>
          <a:ext cx="0" cy="0"/>
          <a:chOff x="0" y="0"/>
          <a:chExt cx="0" cy="0"/>
        </a:xfrm>
      </p:grpSpPr>
      <p:sp>
        <p:nvSpPr>
          <p:cNvPr id="37" name="Google Shape;37;p42"/>
          <p:cNvSpPr/>
          <p:nvPr/>
        </p:nvSpPr>
        <p:spPr>
          <a:xfrm>
            <a:off x="1" y="6754747"/>
            <a:ext cx="12192000" cy="73745"/>
          </a:xfrm>
          <a:prstGeom prst="rect">
            <a:avLst/>
          </a:prstGeom>
          <a:solidFill>
            <a:srgbClr val="50A2B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215" b="0" i="0" u="none" strike="noStrike" cap="none">
              <a:solidFill>
                <a:schemeClr val="lt1"/>
              </a:solidFill>
              <a:latin typeface="Arial"/>
              <a:ea typeface="Arial"/>
              <a:cs typeface="Arial"/>
              <a:sym typeface="Arial"/>
            </a:endParaRPr>
          </a:p>
        </p:txBody>
      </p:sp>
      <p:sp>
        <p:nvSpPr>
          <p:cNvPr id="10" name="Google Shape;27;p41">
            <a:extLst>
              <a:ext uri="{FF2B5EF4-FFF2-40B4-BE49-F238E27FC236}">
                <a16:creationId xmlns:a16="http://schemas.microsoft.com/office/drawing/2014/main" id="{19F32062-B143-9040-8C3C-179A29287F56}"/>
              </a:ext>
            </a:extLst>
          </p:cNvPr>
          <p:cNvSpPr txBox="1">
            <a:spLocks noGrp="1"/>
          </p:cNvSpPr>
          <p:nvPr>
            <p:ph type="title"/>
          </p:nvPr>
        </p:nvSpPr>
        <p:spPr>
          <a:xfrm>
            <a:off x="663083" y="559555"/>
            <a:ext cx="5556485" cy="594360"/>
          </a:xfrm>
          <a:prstGeom prst="rect">
            <a:avLst/>
          </a:prstGeom>
          <a:noFill/>
          <a:ln>
            <a:noFill/>
          </a:ln>
        </p:spPr>
        <p:txBody>
          <a:bodyPr spcFirstLastPara="1" wrap="square" lIns="0" tIns="45700" rIns="91425" bIns="45700" anchor="t" anchorCtr="0">
            <a:noAutofit/>
          </a:bodyPr>
          <a:lstStyle>
            <a:lvl1pPr lvl="0" algn="l">
              <a:spcBef>
                <a:spcPts val="0"/>
              </a:spcBef>
              <a:spcAft>
                <a:spcPts val="0"/>
              </a:spcAft>
              <a:buClr>
                <a:srgbClr val="1573C5"/>
              </a:buClr>
              <a:buSzPts val="2585"/>
              <a:buFont typeface="Arial"/>
              <a:buNone/>
              <a:defRPr sz="2585">
                <a:solidFill>
                  <a:srgbClr val="34333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 name="Google Shape;28;p41">
            <a:extLst>
              <a:ext uri="{FF2B5EF4-FFF2-40B4-BE49-F238E27FC236}">
                <a16:creationId xmlns:a16="http://schemas.microsoft.com/office/drawing/2014/main" id="{73E547E6-F81B-0747-A8E1-B5994F5CD7C6}"/>
              </a:ext>
            </a:extLst>
          </p:cNvPr>
          <p:cNvSpPr txBox="1">
            <a:spLocks noGrp="1"/>
          </p:cNvSpPr>
          <p:nvPr>
            <p:ph type="body" idx="1"/>
          </p:nvPr>
        </p:nvSpPr>
        <p:spPr>
          <a:xfrm>
            <a:off x="663083" y="1680165"/>
            <a:ext cx="5070655" cy="4019207"/>
          </a:xfrm>
          <a:prstGeom prst="rect">
            <a:avLst/>
          </a:prstGeom>
          <a:noFill/>
          <a:ln>
            <a:noFill/>
          </a:ln>
        </p:spPr>
        <p:txBody>
          <a:bodyPr spcFirstLastPara="1" wrap="square" lIns="0" tIns="45700" rIns="91425" bIns="45700" anchor="t" anchorCtr="0">
            <a:noAutofit/>
          </a:bodyPr>
          <a:lstStyle>
            <a:lvl1pPr marL="457200" lvl="0" indent="-366134" algn="l">
              <a:spcBef>
                <a:spcPts val="394"/>
              </a:spcBef>
              <a:spcAft>
                <a:spcPts val="0"/>
              </a:spcAft>
              <a:buSzPts val="2166"/>
              <a:buChar char="•"/>
              <a:defRPr sz="1400"/>
            </a:lvl1pPr>
            <a:lvl2pPr marL="914400" lvl="1" indent="-341128" algn="l">
              <a:spcBef>
                <a:spcPts val="738"/>
              </a:spcBef>
              <a:spcAft>
                <a:spcPts val="0"/>
              </a:spcAft>
              <a:buSzPts val="1772"/>
              <a:buChar char="o"/>
              <a:defRPr sz="1969"/>
            </a:lvl2pPr>
            <a:lvl3pPr marL="1371600" lvl="2" indent="-366134" algn="l">
              <a:spcBef>
                <a:spcPts val="738"/>
              </a:spcBef>
              <a:spcAft>
                <a:spcPts val="0"/>
              </a:spcAft>
              <a:buSzPts val="2166"/>
              <a:buChar char="•"/>
              <a:defRPr sz="1969"/>
            </a:lvl3pPr>
            <a:lvl4pPr marL="1828800" lvl="3" indent="-328625" algn="l">
              <a:spcBef>
                <a:spcPts val="738"/>
              </a:spcBef>
              <a:spcAft>
                <a:spcPts val="0"/>
              </a:spcAft>
              <a:buSzPts val="1575"/>
              <a:buChar char="o"/>
              <a:defRPr sz="1969"/>
            </a:lvl4pPr>
            <a:lvl5pPr marL="2286000" lvl="4" indent="-353631" algn="l">
              <a:spcBef>
                <a:spcPts val="738"/>
              </a:spcBef>
              <a:spcAft>
                <a:spcPts val="0"/>
              </a:spcAft>
              <a:buSzPts val="1969"/>
              <a:buChar char="•"/>
              <a:defRPr sz="1969"/>
            </a:lvl5pPr>
            <a:lvl6pPr marL="2743200" lvl="5" indent="-342900" algn="l">
              <a:spcBef>
                <a:spcPts val="738"/>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8919560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Table of Contets">
    <p:spTree>
      <p:nvGrpSpPr>
        <p:cNvPr id="1" name=""/>
        <p:cNvGrpSpPr/>
        <p:nvPr/>
      </p:nvGrpSpPr>
      <p:grpSpPr>
        <a:xfrm>
          <a:off x="0" y="0"/>
          <a:ext cx="0" cy="0"/>
          <a:chOff x="0" y="0"/>
          <a:chExt cx="0" cy="0"/>
        </a:xfrm>
      </p:grpSpPr>
      <p:sp>
        <p:nvSpPr>
          <p:cNvPr id="2" name="Title 1"/>
          <p:cNvSpPr>
            <a:spLocks noGrp="1"/>
          </p:cNvSpPr>
          <p:nvPr>
            <p:ph type="title"/>
          </p:nvPr>
        </p:nvSpPr>
        <p:spPr>
          <a:xfrm>
            <a:off x="342242" y="194430"/>
            <a:ext cx="11528917" cy="594360"/>
          </a:xfrm>
        </p:spPr>
        <p:txBody>
          <a:bodyPr>
            <a:noAutofit/>
          </a:bodyPr>
          <a:lstStyle>
            <a:lvl1pPr>
              <a:defRPr sz="2585"/>
            </a:lvl1pPr>
          </a:lstStyle>
          <a:p>
            <a:r>
              <a:rPr lang="en-US"/>
              <a:t>Click to edit Master title style</a:t>
            </a:r>
          </a:p>
        </p:txBody>
      </p:sp>
      <p:sp>
        <p:nvSpPr>
          <p:cNvPr id="3" name="Content Placeholder 2"/>
          <p:cNvSpPr>
            <a:spLocks noGrp="1"/>
          </p:cNvSpPr>
          <p:nvPr>
            <p:ph idx="1"/>
          </p:nvPr>
        </p:nvSpPr>
        <p:spPr>
          <a:xfrm>
            <a:off x="342242" y="801390"/>
            <a:ext cx="11528917" cy="5227768"/>
          </a:xfrm>
        </p:spPr>
        <p:txBody>
          <a:bodyPr>
            <a:noAutofit/>
          </a:bodyPr>
          <a:lstStyle>
            <a:lvl1pPr>
              <a:spcAft>
                <a:spcPts val="738"/>
              </a:spcAft>
              <a:defRPr sz="1969"/>
            </a:lvl1pPr>
            <a:lvl2pPr marL="450186">
              <a:defRPr sz="1969"/>
            </a:lvl2pPr>
            <a:lvl3pPr marL="900372">
              <a:defRPr sz="1969"/>
            </a:lvl3pPr>
            <a:lvl4pPr marL="1350558">
              <a:defRPr sz="1969"/>
            </a:lvl4pPr>
            <a:lvl5pPr marL="1800744">
              <a:defRPr sz="196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p:cNvGrpSpPr/>
          <p:nvPr userDrawn="1"/>
        </p:nvGrpSpPr>
        <p:grpSpPr>
          <a:xfrm>
            <a:off x="5" y="6765821"/>
            <a:ext cx="12191999" cy="73745"/>
            <a:chOff x="1" y="6792449"/>
            <a:chExt cx="9143999" cy="73745"/>
          </a:xfrm>
        </p:grpSpPr>
        <p:sp>
          <p:nvSpPr>
            <p:cNvPr id="8" name="Rectangle 7"/>
            <p:cNvSpPr/>
            <p:nvPr/>
          </p:nvSpPr>
          <p:spPr>
            <a:xfrm>
              <a:off x="5486400" y="6792449"/>
              <a:ext cx="1828800" cy="73745"/>
            </a:xfrm>
            <a:prstGeom prst="rect">
              <a:avLst/>
            </a:prstGeom>
            <a:solidFill>
              <a:srgbClr val="1740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9" name="Rectangle 8"/>
            <p:cNvSpPr/>
            <p:nvPr/>
          </p:nvSpPr>
          <p:spPr>
            <a:xfrm>
              <a:off x="1" y="6792449"/>
              <a:ext cx="1828800" cy="73745"/>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0" name="Rectangle 9"/>
            <p:cNvSpPr/>
            <p:nvPr/>
          </p:nvSpPr>
          <p:spPr>
            <a:xfrm>
              <a:off x="1828801" y="6792449"/>
              <a:ext cx="1828800" cy="73745"/>
            </a:xfrm>
            <a:prstGeom prst="rect">
              <a:avLst/>
            </a:prstGeom>
            <a:solidFill>
              <a:srgbClr val="2428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1" name="Rectangle 10"/>
            <p:cNvSpPr/>
            <p:nvPr/>
          </p:nvSpPr>
          <p:spPr>
            <a:xfrm>
              <a:off x="3657601" y="6792450"/>
              <a:ext cx="1828800" cy="73743"/>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2" name="Rectangle 11"/>
            <p:cNvSpPr/>
            <p:nvPr/>
          </p:nvSpPr>
          <p:spPr>
            <a:xfrm>
              <a:off x="7315200" y="6792450"/>
              <a:ext cx="1828800" cy="73743"/>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grpSp>
    </p:spTree>
    <p:extLst>
      <p:ext uri="{BB962C8B-B14F-4D97-AF65-F5344CB8AC3E}">
        <p14:creationId xmlns:p14="http://schemas.microsoft.com/office/powerpoint/2010/main" val="273902876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Title Slide" userDrawn="1">
  <p:cSld name="Title Slide">
    <p:spTree>
      <p:nvGrpSpPr>
        <p:cNvPr id="1" name="Shape 14"/>
        <p:cNvGrpSpPr/>
        <p:nvPr/>
      </p:nvGrpSpPr>
      <p:grpSpPr>
        <a:xfrm>
          <a:off x="0" y="0"/>
          <a:ext cx="0" cy="0"/>
          <a:chOff x="0" y="0"/>
          <a:chExt cx="0" cy="0"/>
        </a:xfrm>
      </p:grpSpPr>
      <p:pic>
        <p:nvPicPr>
          <p:cNvPr id="7" name="Picture 6">
            <a:extLst>
              <a:ext uri="{FF2B5EF4-FFF2-40B4-BE49-F238E27FC236}">
                <a16:creationId xmlns:a16="http://schemas.microsoft.com/office/drawing/2014/main" id="{EC19F61D-4453-D04E-8333-D7CE3F195639}"/>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17" name="Google Shape;17;p40"/>
          <p:cNvSpPr txBox="1">
            <a:spLocks noGrp="1"/>
          </p:cNvSpPr>
          <p:nvPr>
            <p:ph type="ctrTitle" hasCustomPrompt="1"/>
          </p:nvPr>
        </p:nvSpPr>
        <p:spPr>
          <a:xfrm>
            <a:off x="576991" y="1810379"/>
            <a:ext cx="5981938" cy="1319999"/>
          </a:xfrm>
          <a:prstGeom prst="rect">
            <a:avLst/>
          </a:prstGeom>
          <a:noFill/>
          <a:ln>
            <a:noFill/>
          </a:ln>
        </p:spPr>
        <p:txBody>
          <a:bodyPr spcFirstLastPara="1" wrap="square" lIns="0" tIns="0" rIns="0" bIns="0" anchor="t" anchorCtr="0">
            <a:noAutofit/>
          </a:bodyPr>
          <a:lstStyle>
            <a:lvl1pPr lvl="0" algn="l">
              <a:spcBef>
                <a:spcPts val="0"/>
              </a:spcBef>
              <a:spcAft>
                <a:spcPts val="0"/>
              </a:spcAft>
              <a:buClr>
                <a:srgbClr val="1573C5"/>
              </a:buClr>
              <a:buSzPts val="3939"/>
              <a:buFont typeface="Arial"/>
              <a:buNone/>
              <a:defRPr sz="3939">
                <a:latin typeface="Bebas Neue" panose="020B0606020202050201" pitchFamily="34" charset="0"/>
                <a:ea typeface="Bebas Neue" panose="020B0606020202050201" pitchFamily="34" charset="0"/>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add title </a:t>
            </a:r>
            <a:br>
              <a:rPr lang="en-US"/>
            </a:br>
            <a:r>
              <a:rPr lang="en-US"/>
              <a:t> </a:t>
            </a:r>
            <a:endParaRPr/>
          </a:p>
        </p:txBody>
      </p:sp>
      <p:pic>
        <p:nvPicPr>
          <p:cNvPr id="26" name="Graphic 25">
            <a:extLst>
              <a:ext uri="{FF2B5EF4-FFF2-40B4-BE49-F238E27FC236}">
                <a16:creationId xmlns:a16="http://schemas.microsoft.com/office/drawing/2014/main" id="{841AE263-21D9-0348-A163-B099E3DA137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01993" y="468239"/>
            <a:ext cx="2520300" cy="498810"/>
          </a:xfrm>
          <a:prstGeom prst="rect">
            <a:avLst/>
          </a:prstGeom>
        </p:spPr>
      </p:pic>
      <p:sp>
        <p:nvSpPr>
          <p:cNvPr id="5" name="Text Placeholder 4">
            <a:extLst>
              <a:ext uri="{FF2B5EF4-FFF2-40B4-BE49-F238E27FC236}">
                <a16:creationId xmlns:a16="http://schemas.microsoft.com/office/drawing/2014/main" id="{6CB52A46-583F-BB47-8DF2-8F3ACE38E429}"/>
              </a:ext>
            </a:extLst>
          </p:cNvPr>
          <p:cNvSpPr>
            <a:spLocks noGrp="1"/>
          </p:cNvSpPr>
          <p:nvPr>
            <p:ph type="body" sz="quarter" idx="10" hasCustomPrompt="1"/>
          </p:nvPr>
        </p:nvSpPr>
        <p:spPr>
          <a:xfrm>
            <a:off x="2848652" y="3306125"/>
            <a:ext cx="2241550" cy="650875"/>
          </a:xfrm>
        </p:spPr>
        <p:txBody>
          <a:bodyPr lIns="0"/>
          <a:lstStyle>
            <a:lvl1pPr marL="91066" indent="0">
              <a:buNone/>
              <a:defRPr sz="1000">
                <a:solidFill>
                  <a:srgbClr val="9ECDE0"/>
                </a:solidFill>
                <a:latin typeface="Calibre Light" panose="020B0303030202060203" charset="0"/>
              </a:defRPr>
            </a:lvl1pPr>
          </a:lstStyle>
          <a:p>
            <a:pPr lvl="0"/>
            <a:r>
              <a:rPr lang="en-GB"/>
              <a:t>Date</a:t>
            </a:r>
            <a:endParaRPr lang="en-US"/>
          </a:p>
        </p:txBody>
      </p:sp>
      <p:sp>
        <p:nvSpPr>
          <p:cNvPr id="29" name="Text Placeholder 4">
            <a:extLst>
              <a:ext uri="{FF2B5EF4-FFF2-40B4-BE49-F238E27FC236}">
                <a16:creationId xmlns:a16="http://schemas.microsoft.com/office/drawing/2014/main" id="{2738C972-1632-6D47-9F7E-526E1E4A06E7}"/>
              </a:ext>
            </a:extLst>
          </p:cNvPr>
          <p:cNvSpPr>
            <a:spLocks noGrp="1"/>
          </p:cNvSpPr>
          <p:nvPr>
            <p:ph type="body" sz="quarter" idx="11" hasCustomPrompt="1"/>
          </p:nvPr>
        </p:nvSpPr>
        <p:spPr>
          <a:xfrm>
            <a:off x="511089" y="3306125"/>
            <a:ext cx="2241550" cy="650875"/>
          </a:xfrm>
        </p:spPr>
        <p:txBody>
          <a:bodyPr lIns="0"/>
          <a:lstStyle>
            <a:lvl1pPr marL="91066" indent="0">
              <a:buNone/>
              <a:defRPr sz="1000">
                <a:solidFill>
                  <a:srgbClr val="9ECDE0"/>
                </a:solidFill>
                <a:latin typeface="Calibre Light" panose="020B0303030202060203" charset="0"/>
              </a:defRPr>
            </a:lvl1pPr>
          </a:lstStyle>
          <a:p>
            <a:pPr lvl="0"/>
            <a:r>
              <a:rPr lang="en-US"/>
              <a:t>SUBTITLE </a:t>
            </a:r>
          </a:p>
        </p:txBody>
      </p:sp>
    </p:spTree>
    <p:extLst>
      <p:ext uri="{BB962C8B-B14F-4D97-AF65-F5344CB8AC3E}">
        <p14:creationId xmlns:p14="http://schemas.microsoft.com/office/powerpoint/2010/main" val="205614016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cxnSp>
        <p:nvCxnSpPr>
          <p:cNvPr id="9" name="Straight Connector 8"/>
          <p:cNvCxnSpPr/>
          <p:nvPr userDrawn="1"/>
        </p:nvCxnSpPr>
        <p:spPr>
          <a:xfrm>
            <a:off x="595729" y="1288310"/>
            <a:ext cx="4174448" cy="0"/>
          </a:xfrm>
          <a:prstGeom prst="line">
            <a:avLst/>
          </a:prstGeom>
          <a:ln w="28575" cmpd="sng">
            <a:solidFill>
              <a:srgbClr val="1562AF"/>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ctrTitle"/>
          </p:nvPr>
        </p:nvSpPr>
        <p:spPr>
          <a:xfrm>
            <a:off x="595730" y="1345036"/>
            <a:ext cx="10971428" cy="602536"/>
          </a:xfrm>
        </p:spPr>
        <p:txBody>
          <a:bodyPr lIns="0" tIns="0" rIns="0" bIns="0" anchor="t">
            <a:noAutofit/>
          </a:bodyPr>
          <a:lstStyle>
            <a:lvl1pPr algn="l">
              <a:defRPr sz="3939">
                <a:latin typeface="Arial"/>
                <a:cs typeface="Arial"/>
              </a:defRPr>
            </a:lvl1pPr>
          </a:lstStyle>
          <a:p>
            <a:endParaRPr lang="en-US" b="1">
              <a:solidFill>
                <a:srgbClr val="1573C5"/>
              </a:solidFill>
              <a:latin typeface="Arial"/>
              <a:cs typeface="Arial"/>
            </a:endParaRPr>
          </a:p>
        </p:txBody>
      </p:sp>
      <p:sp>
        <p:nvSpPr>
          <p:cNvPr id="3" name="Subtitle 2"/>
          <p:cNvSpPr>
            <a:spLocks noGrp="1"/>
          </p:cNvSpPr>
          <p:nvPr>
            <p:ph type="subTitle" idx="1"/>
          </p:nvPr>
        </p:nvSpPr>
        <p:spPr>
          <a:xfrm>
            <a:off x="595730" y="2616881"/>
            <a:ext cx="10971428" cy="649843"/>
          </a:xfrm>
        </p:spPr>
        <p:txBody>
          <a:bodyPr lIns="0" rIns="0">
            <a:noAutofit/>
          </a:bodyPr>
          <a:lstStyle>
            <a:lvl1pPr marL="0" indent="0" algn="l">
              <a:buNone/>
              <a:defRPr sz="1969" b="1">
                <a:solidFill>
                  <a:schemeClr val="tx1">
                    <a:tint val="75000"/>
                  </a:schemeClr>
                </a:solidFill>
                <a:latin typeface="Arial"/>
                <a:cs typeface="Arial"/>
              </a:defRPr>
            </a:lvl1pPr>
            <a:lvl2pPr marL="562733" indent="0" algn="ctr">
              <a:buNone/>
              <a:defRPr>
                <a:solidFill>
                  <a:schemeClr val="tx1">
                    <a:tint val="75000"/>
                  </a:schemeClr>
                </a:solidFill>
              </a:defRPr>
            </a:lvl2pPr>
            <a:lvl3pPr marL="1125466" indent="0" algn="ctr">
              <a:buNone/>
              <a:defRPr>
                <a:solidFill>
                  <a:schemeClr val="tx1">
                    <a:tint val="75000"/>
                  </a:schemeClr>
                </a:solidFill>
              </a:defRPr>
            </a:lvl3pPr>
            <a:lvl4pPr marL="1688197" indent="0" algn="ctr">
              <a:buNone/>
              <a:defRPr>
                <a:solidFill>
                  <a:schemeClr val="tx1">
                    <a:tint val="75000"/>
                  </a:schemeClr>
                </a:solidFill>
              </a:defRPr>
            </a:lvl4pPr>
            <a:lvl5pPr marL="2250930" indent="0" algn="ctr">
              <a:buNone/>
              <a:defRPr>
                <a:solidFill>
                  <a:schemeClr val="tx1">
                    <a:tint val="75000"/>
                  </a:schemeClr>
                </a:solidFill>
              </a:defRPr>
            </a:lvl5pPr>
            <a:lvl6pPr marL="2813663" indent="0" algn="ctr">
              <a:buNone/>
              <a:defRPr>
                <a:solidFill>
                  <a:schemeClr val="tx1">
                    <a:tint val="75000"/>
                  </a:schemeClr>
                </a:solidFill>
              </a:defRPr>
            </a:lvl6pPr>
            <a:lvl7pPr marL="3376397" indent="0" algn="ctr">
              <a:buNone/>
              <a:defRPr>
                <a:solidFill>
                  <a:schemeClr val="tx1">
                    <a:tint val="75000"/>
                  </a:schemeClr>
                </a:solidFill>
              </a:defRPr>
            </a:lvl7pPr>
            <a:lvl8pPr marL="3939127" indent="0" algn="ctr">
              <a:buNone/>
              <a:defRPr>
                <a:solidFill>
                  <a:schemeClr val="tx1">
                    <a:tint val="75000"/>
                  </a:schemeClr>
                </a:solidFill>
              </a:defRPr>
            </a:lvl8pPr>
            <a:lvl9pPr marL="4501860" indent="0" algn="ctr">
              <a:buNone/>
              <a:defRPr>
                <a:solidFill>
                  <a:schemeClr val="tx1">
                    <a:tint val="75000"/>
                  </a:schemeClr>
                </a:solidFill>
              </a:defRPr>
            </a:lvl9pPr>
          </a:lstStyle>
          <a:p>
            <a:endParaRPr lang="en-US"/>
          </a:p>
        </p:txBody>
      </p:sp>
      <p:grpSp>
        <p:nvGrpSpPr>
          <p:cNvPr id="10" name="Group 9"/>
          <p:cNvGrpSpPr/>
          <p:nvPr userDrawn="1"/>
        </p:nvGrpSpPr>
        <p:grpSpPr>
          <a:xfrm>
            <a:off x="5" y="6792455"/>
            <a:ext cx="12191999" cy="73745"/>
            <a:chOff x="1" y="6792449"/>
            <a:chExt cx="9143999" cy="73745"/>
          </a:xfrm>
        </p:grpSpPr>
        <p:sp>
          <p:nvSpPr>
            <p:cNvPr id="11" name="Rectangle 10"/>
            <p:cNvSpPr/>
            <p:nvPr/>
          </p:nvSpPr>
          <p:spPr>
            <a:xfrm>
              <a:off x="5486400" y="6792449"/>
              <a:ext cx="1828800" cy="73745"/>
            </a:xfrm>
            <a:prstGeom prst="rect">
              <a:avLst/>
            </a:prstGeom>
            <a:solidFill>
              <a:srgbClr val="1740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2" name="Rectangle 11"/>
            <p:cNvSpPr/>
            <p:nvPr/>
          </p:nvSpPr>
          <p:spPr>
            <a:xfrm>
              <a:off x="1" y="6792449"/>
              <a:ext cx="1828800" cy="73745"/>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3" name="Rectangle 12"/>
            <p:cNvSpPr/>
            <p:nvPr/>
          </p:nvSpPr>
          <p:spPr>
            <a:xfrm>
              <a:off x="1828801" y="6792449"/>
              <a:ext cx="1828800" cy="73745"/>
            </a:xfrm>
            <a:prstGeom prst="rect">
              <a:avLst/>
            </a:prstGeom>
            <a:solidFill>
              <a:srgbClr val="2428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4" name="Rectangle 13"/>
            <p:cNvSpPr/>
            <p:nvPr/>
          </p:nvSpPr>
          <p:spPr>
            <a:xfrm>
              <a:off x="3657601" y="6792450"/>
              <a:ext cx="1828800" cy="73743"/>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5" name="Rectangle 14"/>
            <p:cNvSpPr/>
            <p:nvPr/>
          </p:nvSpPr>
          <p:spPr>
            <a:xfrm>
              <a:off x="7315200" y="6792450"/>
              <a:ext cx="1828800" cy="73743"/>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grpSp>
      <p:sp>
        <p:nvSpPr>
          <p:cNvPr id="18" name="Rectangle 17">
            <a:extLst>
              <a:ext uri="{FF2B5EF4-FFF2-40B4-BE49-F238E27FC236}">
                <a16:creationId xmlns:a16="http://schemas.microsoft.com/office/drawing/2014/main" id="{E5173B9B-BE72-42C7-A148-B67DB546D627}"/>
              </a:ext>
            </a:extLst>
          </p:cNvPr>
          <p:cNvSpPr/>
          <p:nvPr userDrawn="1"/>
        </p:nvSpPr>
        <p:spPr>
          <a:xfrm>
            <a:off x="0" y="5708317"/>
            <a:ext cx="12192000" cy="1149684"/>
          </a:xfrm>
          <a:prstGeom prst="rect">
            <a:avLst/>
          </a:prstGeom>
          <a:solidFill>
            <a:srgbClr val="1573C5"/>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9" name="Text Placeholder 25">
            <a:extLst>
              <a:ext uri="{FF2B5EF4-FFF2-40B4-BE49-F238E27FC236}">
                <a16:creationId xmlns:a16="http://schemas.microsoft.com/office/drawing/2014/main" id="{25BB2BCF-2931-415B-8CD9-7AC14691D010}"/>
              </a:ext>
            </a:extLst>
          </p:cNvPr>
          <p:cNvSpPr>
            <a:spLocks noGrp="1"/>
          </p:cNvSpPr>
          <p:nvPr>
            <p:ph type="body" sz="quarter" idx="11" hasCustomPrompt="1"/>
          </p:nvPr>
        </p:nvSpPr>
        <p:spPr>
          <a:xfrm>
            <a:off x="758197" y="5882105"/>
            <a:ext cx="10971428" cy="735264"/>
          </a:xfrm>
        </p:spPr>
        <p:txBody>
          <a:bodyPr/>
          <a:lstStyle>
            <a:lvl1pPr marL="0" indent="0">
              <a:buNone/>
              <a:defRPr sz="1477">
                <a:solidFill>
                  <a:schemeClr val="bg1"/>
                </a:solidFill>
              </a:defRPr>
            </a:lvl1pPr>
            <a:lvl2pPr>
              <a:defRPr sz="1477">
                <a:solidFill>
                  <a:schemeClr val="bg1"/>
                </a:solidFill>
              </a:defRPr>
            </a:lvl2pPr>
            <a:lvl3pPr>
              <a:defRPr sz="1477">
                <a:solidFill>
                  <a:schemeClr val="bg1"/>
                </a:solidFill>
              </a:defRPr>
            </a:lvl3pPr>
            <a:lvl4pPr>
              <a:defRPr sz="1477">
                <a:solidFill>
                  <a:schemeClr val="bg1"/>
                </a:solidFill>
              </a:defRPr>
            </a:lvl4pPr>
            <a:lvl5pPr>
              <a:defRPr sz="1477">
                <a:solidFill>
                  <a:schemeClr val="bg1"/>
                </a:solidFill>
              </a:defRPr>
            </a:lvl5pPr>
          </a:lstStyle>
          <a:p>
            <a:pPr lvl="0"/>
            <a:r>
              <a:rPr lang="en-US"/>
              <a:t>PARTICIPANTS:</a:t>
            </a:r>
          </a:p>
        </p:txBody>
      </p:sp>
      <p:pic>
        <p:nvPicPr>
          <p:cNvPr id="21" name="Picture 20" descr="photo.jpg">
            <a:extLst>
              <a:ext uri="{FF2B5EF4-FFF2-40B4-BE49-F238E27FC236}">
                <a16:creationId xmlns:a16="http://schemas.microsoft.com/office/drawing/2014/main" id="{1C0300A9-FA5E-4164-AFD0-C6D5369FAA7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5729" y="249051"/>
            <a:ext cx="1842676" cy="660634"/>
          </a:xfrm>
          <a:prstGeom prst="rect">
            <a:avLst/>
          </a:prstGeom>
        </p:spPr>
      </p:pic>
    </p:spTree>
    <p:extLst>
      <p:ext uri="{BB962C8B-B14F-4D97-AF65-F5344CB8AC3E}">
        <p14:creationId xmlns:p14="http://schemas.microsoft.com/office/powerpoint/2010/main" val="383909049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cxnSp>
        <p:nvCxnSpPr>
          <p:cNvPr id="9" name="Straight Connector 8"/>
          <p:cNvCxnSpPr/>
          <p:nvPr userDrawn="1"/>
        </p:nvCxnSpPr>
        <p:spPr>
          <a:xfrm>
            <a:off x="595729" y="1288310"/>
            <a:ext cx="4174448" cy="0"/>
          </a:xfrm>
          <a:prstGeom prst="line">
            <a:avLst/>
          </a:prstGeom>
          <a:ln w="28575" cmpd="sng">
            <a:solidFill>
              <a:srgbClr val="1562AF"/>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ctrTitle"/>
          </p:nvPr>
        </p:nvSpPr>
        <p:spPr>
          <a:xfrm>
            <a:off x="595730" y="1345036"/>
            <a:ext cx="10971428" cy="602536"/>
          </a:xfrm>
        </p:spPr>
        <p:txBody>
          <a:bodyPr lIns="0" tIns="0" rIns="0" bIns="0" anchor="t">
            <a:noAutofit/>
          </a:bodyPr>
          <a:lstStyle>
            <a:lvl1pPr algn="l">
              <a:defRPr sz="3939">
                <a:latin typeface="Arial"/>
                <a:cs typeface="Arial"/>
              </a:defRPr>
            </a:lvl1pPr>
          </a:lstStyle>
          <a:p>
            <a:endParaRPr lang="en-US" b="1">
              <a:solidFill>
                <a:srgbClr val="1573C5"/>
              </a:solidFill>
              <a:latin typeface="Arial"/>
              <a:cs typeface="Arial"/>
            </a:endParaRPr>
          </a:p>
        </p:txBody>
      </p:sp>
      <p:sp>
        <p:nvSpPr>
          <p:cNvPr id="3" name="Subtitle 2"/>
          <p:cNvSpPr>
            <a:spLocks noGrp="1"/>
          </p:cNvSpPr>
          <p:nvPr>
            <p:ph type="subTitle" idx="1"/>
          </p:nvPr>
        </p:nvSpPr>
        <p:spPr>
          <a:xfrm>
            <a:off x="595730" y="2654592"/>
            <a:ext cx="10971428" cy="649843"/>
          </a:xfrm>
        </p:spPr>
        <p:txBody>
          <a:bodyPr lIns="0" tIns="0" rIns="0" bIns="0">
            <a:noAutofit/>
          </a:bodyPr>
          <a:lstStyle>
            <a:lvl1pPr marL="0" indent="0" algn="l">
              <a:buNone/>
              <a:defRPr sz="1969" b="1">
                <a:solidFill>
                  <a:schemeClr val="tx1">
                    <a:tint val="75000"/>
                  </a:schemeClr>
                </a:solidFill>
                <a:latin typeface="Arial"/>
                <a:cs typeface="Arial"/>
              </a:defRPr>
            </a:lvl1pPr>
            <a:lvl2pPr marL="562733" indent="0" algn="ctr">
              <a:buNone/>
              <a:defRPr>
                <a:solidFill>
                  <a:schemeClr val="tx1">
                    <a:tint val="75000"/>
                  </a:schemeClr>
                </a:solidFill>
              </a:defRPr>
            </a:lvl2pPr>
            <a:lvl3pPr marL="1125466" indent="0" algn="ctr">
              <a:buNone/>
              <a:defRPr>
                <a:solidFill>
                  <a:schemeClr val="tx1">
                    <a:tint val="75000"/>
                  </a:schemeClr>
                </a:solidFill>
              </a:defRPr>
            </a:lvl3pPr>
            <a:lvl4pPr marL="1688197" indent="0" algn="ctr">
              <a:buNone/>
              <a:defRPr>
                <a:solidFill>
                  <a:schemeClr val="tx1">
                    <a:tint val="75000"/>
                  </a:schemeClr>
                </a:solidFill>
              </a:defRPr>
            </a:lvl4pPr>
            <a:lvl5pPr marL="2250930" indent="0" algn="ctr">
              <a:buNone/>
              <a:defRPr>
                <a:solidFill>
                  <a:schemeClr val="tx1">
                    <a:tint val="75000"/>
                  </a:schemeClr>
                </a:solidFill>
              </a:defRPr>
            </a:lvl5pPr>
            <a:lvl6pPr marL="2813663" indent="0" algn="ctr">
              <a:buNone/>
              <a:defRPr>
                <a:solidFill>
                  <a:schemeClr val="tx1">
                    <a:tint val="75000"/>
                  </a:schemeClr>
                </a:solidFill>
              </a:defRPr>
            </a:lvl6pPr>
            <a:lvl7pPr marL="3376397" indent="0" algn="ctr">
              <a:buNone/>
              <a:defRPr>
                <a:solidFill>
                  <a:schemeClr val="tx1">
                    <a:tint val="75000"/>
                  </a:schemeClr>
                </a:solidFill>
              </a:defRPr>
            </a:lvl7pPr>
            <a:lvl8pPr marL="3939127" indent="0" algn="ctr">
              <a:buNone/>
              <a:defRPr>
                <a:solidFill>
                  <a:schemeClr val="tx1">
                    <a:tint val="75000"/>
                  </a:schemeClr>
                </a:solidFill>
              </a:defRPr>
            </a:lvl8pPr>
            <a:lvl9pPr marL="4501860" indent="0" algn="ctr">
              <a:buNone/>
              <a:defRPr>
                <a:solidFill>
                  <a:schemeClr val="tx1">
                    <a:tint val="75000"/>
                  </a:schemeClr>
                </a:solidFill>
              </a:defRPr>
            </a:lvl9pPr>
          </a:lstStyle>
          <a:p>
            <a:endParaRPr lang="en-US"/>
          </a:p>
        </p:txBody>
      </p:sp>
      <p:grpSp>
        <p:nvGrpSpPr>
          <p:cNvPr id="10" name="Group 9"/>
          <p:cNvGrpSpPr/>
          <p:nvPr userDrawn="1"/>
        </p:nvGrpSpPr>
        <p:grpSpPr>
          <a:xfrm>
            <a:off x="5" y="6792455"/>
            <a:ext cx="12191999" cy="73745"/>
            <a:chOff x="1" y="6792449"/>
            <a:chExt cx="9143999" cy="73745"/>
          </a:xfrm>
        </p:grpSpPr>
        <p:sp>
          <p:nvSpPr>
            <p:cNvPr id="11" name="Rectangle 10"/>
            <p:cNvSpPr/>
            <p:nvPr/>
          </p:nvSpPr>
          <p:spPr>
            <a:xfrm>
              <a:off x="5486400" y="6792449"/>
              <a:ext cx="1828800" cy="73745"/>
            </a:xfrm>
            <a:prstGeom prst="rect">
              <a:avLst/>
            </a:prstGeom>
            <a:solidFill>
              <a:srgbClr val="1740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2" name="Rectangle 11"/>
            <p:cNvSpPr/>
            <p:nvPr/>
          </p:nvSpPr>
          <p:spPr>
            <a:xfrm>
              <a:off x="1" y="6792449"/>
              <a:ext cx="1828800" cy="73745"/>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3" name="Rectangle 12"/>
            <p:cNvSpPr/>
            <p:nvPr/>
          </p:nvSpPr>
          <p:spPr>
            <a:xfrm>
              <a:off x="1828801" y="6792449"/>
              <a:ext cx="1828800" cy="73745"/>
            </a:xfrm>
            <a:prstGeom prst="rect">
              <a:avLst/>
            </a:prstGeom>
            <a:solidFill>
              <a:srgbClr val="2428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4" name="Rectangle 13"/>
            <p:cNvSpPr/>
            <p:nvPr/>
          </p:nvSpPr>
          <p:spPr>
            <a:xfrm>
              <a:off x="3657601" y="6792450"/>
              <a:ext cx="1828800" cy="73743"/>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5" name="Rectangle 14"/>
            <p:cNvSpPr/>
            <p:nvPr/>
          </p:nvSpPr>
          <p:spPr>
            <a:xfrm>
              <a:off x="7315200" y="6792450"/>
              <a:ext cx="1828800" cy="73743"/>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grpSp>
      <p:pic>
        <p:nvPicPr>
          <p:cNvPr id="16" name="Picture 15" descr="photo.jpg">
            <a:extLst>
              <a:ext uri="{FF2B5EF4-FFF2-40B4-BE49-F238E27FC236}">
                <a16:creationId xmlns:a16="http://schemas.microsoft.com/office/drawing/2014/main" id="{6571FE89-962D-445D-A235-BDF1F82D897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5729" y="249051"/>
            <a:ext cx="1842676" cy="660634"/>
          </a:xfrm>
          <a:prstGeom prst="rect">
            <a:avLst/>
          </a:prstGeom>
        </p:spPr>
      </p:pic>
    </p:spTree>
    <p:extLst>
      <p:ext uri="{BB962C8B-B14F-4D97-AF65-F5344CB8AC3E}">
        <p14:creationId xmlns:p14="http://schemas.microsoft.com/office/powerpoint/2010/main" val="322371246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9186C554-4180-440F-95DD-93ED44D18809}"/>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cxnSp>
        <p:nvCxnSpPr>
          <p:cNvPr id="9" name="Straight Connector 8"/>
          <p:cNvCxnSpPr/>
          <p:nvPr userDrawn="1"/>
        </p:nvCxnSpPr>
        <p:spPr>
          <a:xfrm>
            <a:off x="595729" y="1288310"/>
            <a:ext cx="4174448" cy="0"/>
          </a:xfrm>
          <a:prstGeom prst="line">
            <a:avLst/>
          </a:prstGeom>
          <a:ln w="28575" cmpd="sng">
            <a:solidFill>
              <a:srgbClr val="1562AF"/>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ctrTitle"/>
          </p:nvPr>
        </p:nvSpPr>
        <p:spPr>
          <a:xfrm>
            <a:off x="595730" y="1345036"/>
            <a:ext cx="10971428" cy="602536"/>
          </a:xfrm>
        </p:spPr>
        <p:txBody>
          <a:bodyPr lIns="0" tIns="0" rIns="0" bIns="0" anchor="t">
            <a:noAutofit/>
          </a:bodyPr>
          <a:lstStyle>
            <a:lvl1pPr algn="l">
              <a:defRPr sz="3939">
                <a:latin typeface="Arial"/>
                <a:cs typeface="Arial"/>
              </a:defRPr>
            </a:lvl1pPr>
          </a:lstStyle>
          <a:p>
            <a:endParaRPr lang="en-US" b="1">
              <a:solidFill>
                <a:srgbClr val="1573C5"/>
              </a:solidFill>
              <a:latin typeface="Arial"/>
              <a:cs typeface="Arial"/>
            </a:endParaRPr>
          </a:p>
        </p:txBody>
      </p:sp>
      <p:sp>
        <p:nvSpPr>
          <p:cNvPr id="3" name="Subtitle 2"/>
          <p:cNvSpPr>
            <a:spLocks noGrp="1"/>
          </p:cNvSpPr>
          <p:nvPr>
            <p:ph type="subTitle" idx="1"/>
          </p:nvPr>
        </p:nvSpPr>
        <p:spPr>
          <a:xfrm>
            <a:off x="595730" y="2616881"/>
            <a:ext cx="10971428" cy="649843"/>
          </a:xfrm>
        </p:spPr>
        <p:txBody>
          <a:bodyPr lIns="0" rIns="0">
            <a:noAutofit/>
          </a:bodyPr>
          <a:lstStyle>
            <a:lvl1pPr marL="0" indent="0" algn="l">
              <a:buNone/>
              <a:defRPr sz="1969" b="1">
                <a:solidFill>
                  <a:schemeClr val="tx1">
                    <a:tint val="75000"/>
                  </a:schemeClr>
                </a:solidFill>
                <a:latin typeface="Arial"/>
                <a:cs typeface="Arial"/>
              </a:defRPr>
            </a:lvl1pPr>
            <a:lvl2pPr marL="562733" indent="0" algn="ctr">
              <a:buNone/>
              <a:defRPr>
                <a:solidFill>
                  <a:schemeClr val="tx1">
                    <a:tint val="75000"/>
                  </a:schemeClr>
                </a:solidFill>
              </a:defRPr>
            </a:lvl2pPr>
            <a:lvl3pPr marL="1125466" indent="0" algn="ctr">
              <a:buNone/>
              <a:defRPr>
                <a:solidFill>
                  <a:schemeClr val="tx1">
                    <a:tint val="75000"/>
                  </a:schemeClr>
                </a:solidFill>
              </a:defRPr>
            </a:lvl3pPr>
            <a:lvl4pPr marL="1688197" indent="0" algn="ctr">
              <a:buNone/>
              <a:defRPr>
                <a:solidFill>
                  <a:schemeClr val="tx1">
                    <a:tint val="75000"/>
                  </a:schemeClr>
                </a:solidFill>
              </a:defRPr>
            </a:lvl4pPr>
            <a:lvl5pPr marL="2250930" indent="0" algn="ctr">
              <a:buNone/>
              <a:defRPr>
                <a:solidFill>
                  <a:schemeClr val="tx1">
                    <a:tint val="75000"/>
                  </a:schemeClr>
                </a:solidFill>
              </a:defRPr>
            </a:lvl5pPr>
            <a:lvl6pPr marL="2813663" indent="0" algn="ctr">
              <a:buNone/>
              <a:defRPr>
                <a:solidFill>
                  <a:schemeClr val="tx1">
                    <a:tint val="75000"/>
                  </a:schemeClr>
                </a:solidFill>
              </a:defRPr>
            </a:lvl6pPr>
            <a:lvl7pPr marL="3376397" indent="0" algn="ctr">
              <a:buNone/>
              <a:defRPr>
                <a:solidFill>
                  <a:schemeClr val="tx1">
                    <a:tint val="75000"/>
                  </a:schemeClr>
                </a:solidFill>
              </a:defRPr>
            </a:lvl7pPr>
            <a:lvl8pPr marL="3939127" indent="0" algn="ctr">
              <a:buNone/>
              <a:defRPr>
                <a:solidFill>
                  <a:schemeClr val="tx1">
                    <a:tint val="75000"/>
                  </a:schemeClr>
                </a:solidFill>
              </a:defRPr>
            </a:lvl8pPr>
            <a:lvl9pPr marL="4501860" indent="0" algn="ctr">
              <a:buNone/>
              <a:defRPr>
                <a:solidFill>
                  <a:schemeClr val="tx1">
                    <a:tint val="75000"/>
                  </a:schemeClr>
                </a:solidFill>
              </a:defRPr>
            </a:lvl9pPr>
          </a:lstStyle>
          <a:p>
            <a:endParaRPr lang="en-US"/>
          </a:p>
        </p:txBody>
      </p:sp>
      <p:grpSp>
        <p:nvGrpSpPr>
          <p:cNvPr id="10" name="Group 9"/>
          <p:cNvGrpSpPr/>
          <p:nvPr userDrawn="1"/>
        </p:nvGrpSpPr>
        <p:grpSpPr>
          <a:xfrm>
            <a:off x="5" y="6792455"/>
            <a:ext cx="12191999" cy="73745"/>
            <a:chOff x="1" y="6792449"/>
            <a:chExt cx="9143999" cy="73745"/>
          </a:xfrm>
        </p:grpSpPr>
        <p:sp>
          <p:nvSpPr>
            <p:cNvPr id="11" name="Rectangle 10"/>
            <p:cNvSpPr/>
            <p:nvPr/>
          </p:nvSpPr>
          <p:spPr>
            <a:xfrm>
              <a:off x="5486400" y="6792449"/>
              <a:ext cx="1828800" cy="73745"/>
            </a:xfrm>
            <a:prstGeom prst="rect">
              <a:avLst/>
            </a:prstGeom>
            <a:solidFill>
              <a:srgbClr val="1740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2" name="Rectangle 11"/>
            <p:cNvSpPr/>
            <p:nvPr/>
          </p:nvSpPr>
          <p:spPr>
            <a:xfrm>
              <a:off x="1" y="6792449"/>
              <a:ext cx="1828800" cy="73745"/>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3" name="Rectangle 12"/>
            <p:cNvSpPr/>
            <p:nvPr/>
          </p:nvSpPr>
          <p:spPr>
            <a:xfrm>
              <a:off x="1828801" y="6792449"/>
              <a:ext cx="1828800" cy="73745"/>
            </a:xfrm>
            <a:prstGeom prst="rect">
              <a:avLst/>
            </a:prstGeom>
            <a:solidFill>
              <a:srgbClr val="2428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4" name="Rectangle 13"/>
            <p:cNvSpPr/>
            <p:nvPr/>
          </p:nvSpPr>
          <p:spPr>
            <a:xfrm>
              <a:off x="3657601" y="6792450"/>
              <a:ext cx="1828800" cy="73743"/>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5" name="Rectangle 14"/>
            <p:cNvSpPr/>
            <p:nvPr/>
          </p:nvSpPr>
          <p:spPr>
            <a:xfrm>
              <a:off x="7315200" y="6792450"/>
              <a:ext cx="1828800" cy="73743"/>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grpSp>
      <p:sp>
        <p:nvSpPr>
          <p:cNvPr id="18" name="Rectangle 17">
            <a:extLst>
              <a:ext uri="{FF2B5EF4-FFF2-40B4-BE49-F238E27FC236}">
                <a16:creationId xmlns:a16="http://schemas.microsoft.com/office/drawing/2014/main" id="{E5173B9B-BE72-42C7-A148-B67DB546D627}"/>
              </a:ext>
            </a:extLst>
          </p:cNvPr>
          <p:cNvSpPr/>
          <p:nvPr userDrawn="1"/>
        </p:nvSpPr>
        <p:spPr>
          <a:xfrm>
            <a:off x="0" y="5708317"/>
            <a:ext cx="12192000" cy="1149684"/>
          </a:xfrm>
          <a:prstGeom prst="rect">
            <a:avLst/>
          </a:prstGeom>
          <a:solidFill>
            <a:srgbClr val="1573C5"/>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9" name="Text Placeholder 25">
            <a:extLst>
              <a:ext uri="{FF2B5EF4-FFF2-40B4-BE49-F238E27FC236}">
                <a16:creationId xmlns:a16="http://schemas.microsoft.com/office/drawing/2014/main" id="{25BB2BCF-2931-415B-8CD9-7AC14691D010}"/>
              </a:ext>
            </a:extLst>
          </p:cNvPr>
          <p:cNvSpPr>
            <a:spLocks noGrp="1"/>
          </p:cNvSpPr>
          <p:nvPr>
            <p:ph type="body" sz="quarter" idx="11" hasCustomPrompt="1"/>
          </p:nvPr>
        </p:nvSpPr>
        <p:spPr>
          <a:xfrm>
            <a:off x="758197" y="5882105"/>
            <a:ext cx="10971428" cy="735264"/>
          </a:xfrm>
        </p:spPr>
        <p:txBody>
          <a:bodyPr/>
          <a:lstStyle>
            <a:lvl1pPr marL="0" indent="0">
              <a:buNone/>
              <a:defRPr sz="1477">
                <a:solidFill>
                  <a:schemeClr val="bg1"/>
                </a:solidFill>
              </a:defRPr>
            </a:lvl1pPr>
            <a:lvl2pPr>
              <a:defRPr sz="1477">
                <a:solidFill>
                  <a:schemeClr val="bg1"/>
                </a:solidFill>
              </a:defRPr>
            </a:lvl2pPr>
            <a:lvl3pPr>
              <a:defRPr sz="1477">
                <a:solidFill>
                  <a:schemeClr val="bg1"/>
                </a:solidFill>
              </a:defRPr>
            </a:lvl3pPr>
            <a:lvl4pPr>
              <a:defRPr sz="1477">
                <a:solidFill>
                  <a:schemeClr val="bg1"/>
                </a:solidFill>
              </a:defRPr>
            </a:lvl4pPr>
            <a:lvl5pPr>
              <a:defRPr sz="1477">
                <a:solidFill>
                  <a:schemeClr val="bg1"/>
                </a:solidFill>
              </a:defRPr>
            </a:lvl5pPr>
          </a:lstStyle>
          <a:p>
            <a:pPr lvl="0"/>
            <a:r>
              <a:rPr lang="en-US"/>
              <a:t>PARTICIPANTS:</a:t>
            </a:r>
          </a:p>
        </p:txBody>
      </p:sp>
      <p:pic>
        <p:nvPicPr>
          <p:cNvPr id="21" name="Picture 20" descr="photo.jpg">
            <a:extLst>
              <a:ext uri="{FF2B5EF4-FFF2-40B4-BE49-F238E27FC236}">
                <a16:creationId xmlns:a16="http://schemas.microsoft.com/office/drawing/2014/main" id="{1C0300A9-FA5E-4164-AFD0-C6D5369FAA79}"/>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595729" y="249051"/>
            <a:ext cx="1842676" cy="660634"/>
          </a:xfrm>
          <a:prstGeom prst="rect">
            <a:avLst/>
          </a:prstGeom>
        </p:spPr>
      </p:pic>
    </p:spTree>
    <p:extLst>
      <p:ext uri="{BB962C8B-B14F-4D97-AF65-F5344CB8AC3E}">
        <p14:creationId xmlns:p14="http://schemas.microsoft.com/office/powerpoint/2010/main" val="383909049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B653680-D897-444C-9CBA-40DF2BC795FA}"/>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cxnSp>
        <p:nvCxnSpPr>
          <p:cNvPr id="9" name="Straight Connector 8"/>
          <p:cNvCxnSpPr/>
          <p:nvPr userDrawn="1"/>
        </p:nvCxnSpPr>
        <p:spPr>
          <a:xfrm>
            <a:off x="595729" y="1288310"/>
            <a:ext cx="4174448" cy="0"/>
          </a:xfrm>
          <a:prstGeom prst="line">
            <a:avLst/>
          </a:prstGeom>
          <a:ln w="28575" cmpd="sng">
            <a:solidFill>
              <a:srgbClr val="1562AF"/>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ctrTitle"/>
          </p:nvPr>
        </p:nvSpPr>
        <p:spPr>
          <a:xfrm>
            <a:off x="595730" y="1345036"/>
            <a:ext cx="10971428" cy="602536"/>
          </a:xfrm>
        </p:spPr>
        <p:txBody>
          <a:bodyPr lIns="0" tIns="0" rIns="0" bIns="0" anchor="t">
            <a:noAutofit/>
          </a:bodyPr>
          <a:lstStyle>
            <a:lvl1pPr algn="l">
              <a:defRPr sz="3939">
                <a:latin typeface="Arial"/>
                <a:cs typeface="Arial"/>
              </a:defRPr>
            </a:lvl1pPr>
          </a:lstStyle>
          <a:p>
            <a:endParaRPr lang="en-US" b="1">
              <a:solidFill>
                <a:srgbClr val="1573C5"/>
              </a:solidFill>
              <a:latin typeface="Arial"/>
              <a:cs typeface="Arial"/>
            </a:endParaRPr>
          </a:p>
        </p:txBody>
      </p:sp>
      <p:sp>
        <p:nvSpPr>
          <p:cNvPr id="3" name="Subtitle 2"/>
          <p:cNvSpPr>
            <a:spLocks noGrp="1"/>
          </p:cNvSpPr>
          <p:nvPr>
            <p:ph type="subTitle" idx="1"/>
          </p:nvPr>
        </p:nvSpPr>
        <p:spPr>
          <a:xfrm>
            <a:off x="595730" y="2654592"/>
            <a:ext cx="10971428" cy="649843"/>
          </a:xfrm>
        </p:spPr>
        <p:txBody>
          <a:bodyPr lIns="0" tIns="0" rIns="0" bIns="0">
            <a:noAutofit/>
          </a:bodyPr>
          <a:lstStyle>
            <a:lvl1pPr marL="0" indent="0" algn="l">
              <a:buNone/>
              <a:defRPr sz="1969" b="1">
                <a:solidFill>
                  <a:schemeClr val="tx1">
                    <a:tint val="75000"/>
                  </a:schemeClr>
                </a:solidFill>
                <a:latin typeface="Arial"/>
                <a:cs typeface="Arial"/>
              </a:defRPr>
            </a:lvl1pPr>
            <a:lvl2pPr marL="562733" indent="0" algn="ctr">
              <a:buNone/>
              <a:defRPr>
                <a:solidFill>
                  <a:schemeClr val="tx1">
                    <a:tint val="75000"/>
                  </a:schemeClr>
                </a:solidFill>
              </a:defRPr>
            </a:lvl2pPr>
            <a:lvl3pPr marL="1125466" indent="0" algn="ctr">
              <a:buNone/>
              <a:defRPr>
                <a:solidFill>
                  <a:schemeClr val="tx1">
                    <a:tint val="75000"/>
                  </a:schemeClr>
                </a:solidFill>
              </a:defRPr>
            </a:lvl3pPr>
            <a:lvl4pPr marL="1688197" indent="0" algn="ctr">
              <a:buNone/>
              <a:defRPr>
                <a:solidFill>
                  <a:schemeClr val="tx1">
                    <a:tint val="75000"/>
                  </a:schemeClr>
                </a:solidFill>
              </a:defRPr>
            </a:lvl4pPr>
            <a:lvl5pPr marL="2250930" indent="0" algn="ctr">
              <a:buNone/>
              <a:defRPr>
                <a:solidFill>
                  <a:schemeClr val="tx1">
                    <a:tint val="75000"/>
                  </a:schemeClr>
                </a:solidFill>
              </a:defRPr>
            </a:lvl5pPr>
            <a:lvl6pPr marL="2813663" indent="0" algn="ctr">
              <a:buNone/>
              <a:defRPr>
                <a:solidFill>
                  <a:schemeClr val="tx1">
                    <a:tint val="75000"/>
                  </a:schemeClr>
                </a:solidFill>
              </a:defRPr>
            </a:lvl6pPr>
            <a:lvl7pPr marL="3376397" indent="0" algn="ctr">
              <a:buNone/>
              <a:defRPr>
                <a:solidFill>
                  <a:schemeClr val="tx1">
                    <a:tint val="75000"/>
                  </a:schemeClr>
                </a:solidFill>
              </a:defRPr>
            </a:lvl7pPr>
            <a:lvl8pPr marL="3939127" indent="0" algn="ctr">
              <a:buNone/>
              <a:defRPr>
                <a:solidFill>
                  <a:schemeClr val="tx1">
                    <a:tint val="75000"/>
                  </a:schemeClr>
                </a:solidFill>
              </a:defRPr>
            </a:lvl8pPr>
            <a:lvl9pPr marL="4501860" indent="0" algn="ctr">
              <a:buNone/>
              <a:defRPr>
                <a:solidFill>
                  <a:schemeClr val="tx1">
                    <a:tint val="75000"/>
                  </a:schemeClr>
                </a:solidFill>
              </a:defRPr>
            </a:lvl9pPr>
          </a:lstStyle>
          <a:p>
            <a:endParaRPr lang="en-US"/>
          </a:p>
        </p:txBody>
      </p:sp>
      <p:grpSp>
        <p:nvGrpSpPr>
          <p:cNvPr id="10" name="Group 9"/>
          <p:cNvGrpSpPr/>
          <p:nvPr userDrawn="1"/>
        </p:nvGrpSpPr>
        <p:grpSpPr>
          <a:xfrm>
            <a:off x="5" y="6792455"/>
            <a:ext cx="12191999" cy="73745"/>
            <a:chOff x="1" y="6792449"/>
            <a:chExt cx="9143999" cy="73745"/>
          </a:xfrm>
        </p:grpSpPr>
        <p:sp>
          <p:nvSpPr>
            <p:cNvPr id="11" name="Rectangle 10"/>
            <p:cNvSpPr/>
            <p:nvPr/>
          </p:nvSpPr>
          <p:spPr>
            <a:xfrm>
              <a:off x="5486400" y="6792449"/>
              <a:ext cx="1828800" cy="73745"/>
            </a:xfrm>
            <a:prstGeom prst="rect">
              <a:avLst/>
            </a:prstGeom>
            <a:solidFill>
              <a:srgbClr val="1740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2" name="Rectangle 11"/>
            <p:cNvSpPr/>
            <p:nvPr/>
          </p:nvSpPr>
          <p:spPr>
            <a:xfrm>
              <a:off x="1" y="6792449"/>
              <a:ext cx="1828800" cy="73745"/>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3" name="Rectangle 12"/>
            <p:cNvSpPr/>
            <p:nvPr/>
          </p:nvSpPr>
          <p:spPr>
            <a:xfrm>
              <a:off x="1828801" y="6792449"/>
              <a:ext cx="1828800" cy="73745"/>
            </a:xfrm>
            <a:prstGeom prst="rect">
              <a:avLst/>
            </a:prstGeom>
            <a:solidFill>
              <a:srgbClr val="2428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4" name="Rectangle 13"/>
            <p:cNvSpPr/>
            <p:nvPr/>
          </p:nvSpPr>
          <p:spPr>
            <a:xfrm>
              <a:off x="3657601" y="6792450"/>
              <a:ext cx="1828800" cy="73743"/>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5" name="Rectangle 14"/>
            <p:cNvSpPr/>
            <p:nvPr/>
          </p:nvSpPr>
          <p:spPr>
            <a:xfrm>
              <a:off x="7315200" y="6792450"/>
              <a:ext cx="1828800" cy="73743"/>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grpSp>
      <p:pic>
        <p:nvPicPr>
          <p:cNvPr id="16" name="Picture 15" descr="photo.jpg">
            <a:extLst>
              <a:ext uri="{FF2B5EF4-FFF2-40B4-BE49-F238E27FC236}">
                <a16:creationId xmlns:a16="http://schemas.microsoft.com/office/drawing/2014/main" id="{6571FE89-962D-445D-A235-BDF1F82D8976}"/>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595729" y="249051"/>
            <a:ext cx="1842676" cy="660634"/>
          </a:xfrm>
          <a:prstGeom prst="rect">
            <a:avLst/>
          </a:prstGeom>
        </p:spPr>
      </p:pic>
    </p:spTree>
    <p:extLst>
      <p:ext uri="{BB962C8B-B14F-4D97-AF65-F5344CB8AC3E}">
        <p14:creationId xmlns:p14="http://schemas.microsoft.com/office/powerpoint/2010/main" val="322371246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1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95730" y="1345036"/>
            <a:ext cx="10971428" cy="602536"/>
          </a:xfrm>
        </p:spPr>
        <p:txBody>
          <a:bodyPr lIns="0" tIns="0" rIns="0" bIns="0" anchor="t">
            <a:noAutofit/>
          </a:bodyPr>
          <a:lstStyle>
            <a:lvl1pPr algn="l">
              <a:defRPr sz="3939">
                <a:solidFill>
                  <a:schemeClr val="bg1"/>
                </a:solidFill>
                <a:latin typeface="Arial"/>
                <a:cs typeface="Arial"/>
              </a:defRPr>
            </a:lvl1pPr>
          </a:lstStyle>
          <a:p>
            <a:endParaRPr lang="en-US" b="1">
              <a:solidFill>
                <a:srgbClr val="1573C5"/>
              </a:solidFill>
              <a:latin typeface="Arial"/>
              <a:cs typeface="Arial"/>
            </a:endParaRPr>
          </a:p>
        </p:txBody>
      </p:sp>
      <p:sp>
        <p:nvSpPr>
          <p:cNvPr id="3" name="Subtitle 2"/>
          <p:cNvSpPr>
            <a:spLocks noGrp="1"/>
          </p:cNvSpPr>
          <p:nvPr>
            <p:ph type="subTitle" idx="1"/>
          </p:nvPr>
        </p:nvSpPr>
        <p:spPr>
          <a:xfrm>
            <a:off x="595730" y="2656405"/>
            <a:ext cx="10971428" cy="649843"/>
          </a:xfrm>
        </p:spPr>
        <p:txBody>
          <a:bodyPr lIns="0" tIns="0" rIns="0" bIns="0">
            <a:noAutofit/>
          </a:bodyPr>
          <a:lstStyle>
            <a:lvl1pPr marL="0" indent="0" algn="l">
              <a:buNone/>
              <a:defRPr sz="1969" b="1">
                <a:solidFill>
                  <a:schemeClr val="bg1"/>
                </a:solidFill>
                <a:latin typeface="Arial"/>
                <a:cs typeface="Arial"/>
              </a:defRPr>
            </a:lvl1pPr>
            <a:lvl2pPr marL="562733" indent="0" algn="ctr">
              <a:buNone/>
              <a:defRPr>
                <a:solidFill>
                  <a:schemeClr val="tx1">
                    <a:tint val="75000"/>
                  </a:schemeClr>
                </a:solidFill>
              </a:defRPr>
            </a:lvl2pPr>
            <a:lvl3pPr marL="1125466" indent="0" algn="ctr">
              <a:buNone/>
              <a:defRPr>
                <a:solidFill>
                  <a:schemeClr val="tx1">
                    <a:tint val="75000"/>
                  </a:schemeClr>
                </a:solidFill>
              </a:defRPr>
            </a:lvl3pPr>
            <a:lvl4pPr marL="1688197" indent="0" algn="ctr">
              <a:buNone/>
              <a:defRPr>
                <a:solidFill>
                  <a:schemeClr val="tx1">
                    <a:tint val="75000"/>
                  </a:schemeClr>
                </a:solidFill>
              </a:defRPr>
            </a:lvl4pPr>
            <a:lvl5pPr marL="2250930" indent="0" algn="ctr">
              <a:buNone/>
              <a:defRPr>
                <a:solidFill>
                  <a:schemeClr val="tx1">
                    <a:tint val="75000"/>
                  </a:schemeClr>
                </a:solidFill>
              </a:defRPr>
            </a:lvl5pPr>
            <a:lvl6pPr marL="2813663" indent="0" algn="ctr">
              <a:buNone/>
              <a:defRPr>
                <a:solidFill>
                  <a:schemeClr val="tx1">
                    <a:tint val="75000"/>
                  </a:schemeClr>
                </a:solidFill>
              </a:defRPr>
            </a:lvl6pPr>
            <a:lvl7pPr marL="3376397" indent="0" algn="ctr">
              <a:buNone/>
              <a:defRPr>
                <a:solidFill>
                  <a:schemeClr val="tx1">
                    <a:tint val="75000"/>
                  </a:schemeClr>
                </a:solidFill>
              </a:defRPr>
            </a:lvl7pPr>
            <a:lvl8pPr marL="3939127" indent="0" algn="ctr">
              <a:buNone/>
              <a:defRPr>
                <a:solidFill>
                  <a:schemeClr val="tx1">
                    <a:tint val="75000"/>
                  </a:schemeClr>
                </a:solidFill>
              </a:defRPr>
            </a:lvl8pPr>
            <a:lvl9pPr marL="4501860" indent="0" algn="ctr">
              <a:buNone/>
              <a:defRPr>
                <a:solidFill>
                  <a:schemeClr val="tx1">
                    <a:tint val="75000"/>
                  </a:schemeClr>
                </a:solidFill>
              </a:defRPr>
            </a:lvl9pPr>
          </a:lstStyle>
          <a:p>
            <a:endParaRPr lang="en-US"/>
          </a:p>
        </p:txBody>
      </p:sp>
      <p:grpSp>
        <p:nvGrpSpPr>
          <p:cNvPr id="10" name="Group 9"/>
          <p:cNvGrpSpPr/>
          <p:nvPr userDrawn="1"/>
        </p:nvGrpSpPr>
        <p:grpSpPr>
          <a:xfrm>
            <a:off x="5" y="6792455"/>
            <a:ext cx="12191999" cy="73745"/>
            <a:chOff x="1" y="6792449"/>
            <a:chExt cx="9143999" cy="73745"/>
          </a:xfrm>
        </p:grpSpPr>
        <p:sp>
          <p:nvSpPr>
            <p:cNvPr id="11" name="Rectangle 10"/>
            <p:cNvSpPr/>
            <p:nvPr/>
          </p:nvSpPr>
          <p:spPr>
            <a:xfrm>
              <a:off x="5486400" y="6792449"/>
              <a:ext cx="1828800" cy="73745"/>
            </a:xfrm>
            <a:prstGeom prst="rect">
              <a:avLst/>
            </a:prstGeom>
            <a:solidFill>
              <a:srgbClr val="1740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2" name="Rectangle 11"/>
            <p:cNvSpPr/>
            <p:nvPr/>
          </p:nvSpPr>
          <p:spPr>
            <a:xfrm>
              <a:off x="1" y="6792449"/>
              <a:ext cx="1828800" cy="73745"/>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3" name="Rectangle 12"/>
            <p:cNvSpPr/>
            <p:nvPr/>
          </p:nvSpPr>
          <p:spPr>
            <a:xfrm>
              <a:off x="1828801" y="6792449"/>
              <a:ext cx="1828800" cy="73745"/>
            </a:xfrm>
            <a:prstGeom prst="rect">
              <a:avLst/>
            </a:prstGeom>
            <a:solidFill>
              <a:srgbClr val="2428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4" name="Rectangle 13"/>
            <p:cNvSpPr/>
            <p:nvPr/>
          </p:nvSpPr>
          <p:spPr>
            <a:xfrm>
              <a:off x="3657601" y="6792450"/>
              <a:ext cx="1828800" cy="73743"/>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5" name="Rectangle 14"/>
            <p:cNvSpPr/>
            <p:nvPr/>
          </p:nvSpPr>
          <p:spPr>
            <a:xfrm>
              <a:off x="7315200" y="6792450"/>
              <a:ext cx="1828800" cy="73743"/>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grpSp>
      <p:cxnSp>
        <p:nvCxnSpPr>
          <p:cNvPr id="22" name="Straight Connector 21">
            <a:extLst>
              <a:ext uri="{FF2B5EF4-FFF2-40B4-BE49-F238E27FC236}">
                <a16:creationId xmlns:a16="http://schemas.microsoft.com/office/drawing/2014/main" id="{1CFC3B59-03A6-4E0A-8446-0F0D17C1D4B3}"/>
              </a:ext>
            </a:extLst>
          </p:cNvPr>
          <p:cNvCxnSpPr/>
          <p:nvPr userDrawn="1"/>
        </p:nvCxnSpPr>
        <p:spPr>
          <a:xfrm>
            <a:off x="595729" y="1288310"/>
            <a:ext cx="4174448" cy="0"/>
          </a:xfrm>
          <a:prstGeom prst="line">
            <a:avLst/>
          </a:prstGeom>
          <a:ln w="28575" cmpd="sng">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6400604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 preserve="1">
  <p:cSld name="9_Title Slide">
    <p:spTree>
      <p:nvGrpSpPr>
        <p:cNvPr id="1" name=""/>
        <p:cNvGrpSpPr/>
        <p:nvPr/>
      </p:nvGrpSpPr>
      <p:grpSpPr>
        <a:xfrm>
          <a:off x="0" y="0"/>
          <a:ext cx="0" cy="0"/>
          <a:chOff x="0" y="0"/>
          <a:chExt cx="0" cy="0"/>
        </a:xfrm>
      </p:grpSpPr>
      <p:cxnSp>
        <p:nvCxnSpPr>
          <p:cNvPr id="9" name="Straight Connector 8"/>
          <p:cNvCxnSpPr/>
          <p:nvPr userDrawn="1"/>
        </p:nvCxnSpPr>
        <p:spPr>
          <a:xfrm>
            <a:off x="595729" y="1288310"/>
            <a:ext cx="4174448" cy="0"/>
          </a:xfrm>
          <a:prstGeom prst="line">
            <a:avLst/>
          </a:prstGeom>
          <a:ln w="28575"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ctrTitle"/>
          </p:nvPr>
        </p:nvSpPr>
        <p:spPr>
          <a:xfrm>
            <a:off x="595730" y="1345036"/>
            <a:ext cx="10971428" cy="602536"/>
          </a:xfrm>
        </p:spPr>
        <p:txBody>
          <a:bodyPr lIns="0" tIns="0" rIns="0" bIns="0" anchor="t">
            <a:noAutofit/>
          </a:bodyPr>
          <a:lstStyle>
            <a:lvl1pPr algn="l">
              <a:defRPr sz="3939">
                <a:solidFill>
                  <a:schemeClr val="bg1"/>
                </a:solidFill>
                <a:latin typeface="Arial"/>
                <a:cs typeface="Arial"/>
              </a:defRPr>
            </a:lvl1pPr>
          </a:lstStyle>
          <a:p>
            <a:endParaRPr lang="en-US" b="1">
              <a:solidFill>
                <a:srgbClr val="1573C5"/>
              </a:solidFill>
              <a:latin typeface="Arial"/>
              <a:cs typeface="Arial"/>
            </a:endParaRPr>
          </a:p>
        </p:txBody>
      </p:sp>
      <p:sp>
        <p:nvSpPr>
          <p:cNvPr id="3" name="Subtitle 2"/>
          <p:cNvSpPr>
            <a:spLocks noGrp="1"/>
          </p:cNvSpPr>
          <p:nvPr>
            <p:ph type="subTitle" idx="1"/>
          </p:nvPr>
        </p:nvSpPr>
        <p:spPr>
          <a:xfrm>
            <a:off x="595730" y="2656405"/>
            <a:ext cx="10971428" cy="649843"/>
          </a:xfrm>
        </p:spPr>
        <p:txBody>
          <a:bodyPr lIns="0" tIns="0" rIns="0" bIns="0">
            <a:noAutofit/>
          </a:bodyPr>
          <a:lstStyle>
            <a:lvl1pPr marL="0" indent="0" algn="l">
              <a:buNone/>
              <a:defRPr sz="1969" b="1">
                <a:solidFill>
                  <a:schemeClr val="bg1"/>
                </a:solidFill>
                <a:latin typeface="Arial"/>
                <a:cs typeface="Arial"/>
              </a:defRPr>
            </a:lvl1pPr>
            <a:lvl2pPr marL="562733" indent="0" algn="ctr">
              <a:buNone/>
              <a:defRPr>
                <a:solidFill>
                  <a:schemeClr val="tx1">
                    <a:tint val="75000"/>
                  </a:schemeClr>
                </a:solidFill>
              </a:defRPr>
            </a:lvl2pPr>
            <a:lvl3pPr marL="1125466" indent="0" algn="ctr">
              <a:buNone/>
              <a:defRPr>
                <a:solidFill>
                  <a:schemeClr val="tx1">
                    <a:tint val="75000"/>
                  </a:schemeClr>
                </a:solidFill>
              </a:defRPr>
            </a:lvl3pPr>
            <a:lvl4pPr marL="1688197" indent="0" algn="ctr">
              <a:buNone/>
              <a:defRPr>
                <a:solidFill>
                  <a:schemeClr val="tx1">
                    <a:tint val="75000"/>
                  </a:schemeClr>
                </a:solidFill>
              </a:defRPr>
            </a:lvl4pPr>
            <a:lvl5pPr marL="2250930" indent="0" algn="ctr">
              <a:buNone/>
              <a:defRPr>
                <a:solidFill>
                  <a:schemeClr val="tx1">
                    <a:tint val="75000"/>
                  </a:schemeClr>
                </a:solidFill>
              </a:defRPr>
            </a:lvl5pPr>
            <a:lvl6pPr marL="2813663" indent="0" algn="ctr">
              <a:buNone/>
              <a:defRPr>
                <a:solidFill>
                  <a:schemeClr val="tx1">
                    <a:tint val="75000"/>
                  </a:schemeClr>
                </a:solidFill>
              </a:defRPr>
            </a:lvl6pPr>
            <a:lvl7pPr marL="3376397" indent="0" algn="ctr">
              <a:buNone/>
              <a:defRPr>
                <a:solidFill>
                  <a:schemeClr val="tx1">
                    <a:tint val="75000"/>
                  </a:schemeClr>
                </a:solidFill>
              </a:defRPr>
            </a:lvl7pPr>
            <a:lvl8pPr marL="3939127" indent="0" algn="ctr">
              <a:buNone/>
              <a:defRPr>
                <a:solidFill>
                  <a:schemeClr val="tx1">
                    <a:tint val="75000"/>
                  </a:schemeClr>
                </a:solidFill>
              </a:defRPr>
            </a:lvl8pPr>
            <a:lvl9pPr marL="4501860" indent="0" algn="ctr">
              <a:buNone/>
              <a:defRPr>
                <a:solidFill>
                  <a:schemeClr val="tx1">
                    <a:tint val="75000"/>
                  </a:schemeClr>
                </a:solidFill>
              </a:defRPr>
            </a:lvl9pPr>
          </a:lstStyle>
          <a:p>
            <a:endParaRPr lang="en-US"/>
          </a:p>
        </p:txBody>
      </p:sp>
      <p:grpSp>
        <p:nvGrpSpPr>
          <p:cNvPr id="10" name="Group 9"/>
          <p:cNvGrpSpPr/>
          <p:nvPr userDrawn="1"/>
        </p:nvGrpSpPr>
        <p:grpSpPr>
          <a:xfrm>
            <a:off x="5" y="6792455"/>
            <a:ext cx="12191999" cy="73745"/>
            <a:chOff x="1" y="6792449"/>
            <a:chExt cx="9143999" cy="73745"/>
          </a:xfrm>
        </p:grpSpPr>
        <p:sp>
          <p:nvSpPr>
            <p:cNvPr id="11" name="Rectangle 10"/>
            <p:cNvSpPr/>
            <p:nvPr/>
          </p:nvSpPr>
          <p:spPr>
            <a:xfrm>
              <a:off x="5486400" y="6792449"/>
              <a:ext cx="1828800" cy="73745"/>
            </a:xfrm>
            <a:prstGeom prst="rect">
              <a:avLst/>
            </a:prstGeom>
            <a:solidFill>
              <a:srgbClr val="1740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2" name="Rectangle 11"/>
            <p:cNvSpPr/>
            <p:nvPr/>
          </p:nvSpPr>
          <p:spPr>
            <a:xfrm>
              <a:off x="1" y="6792449"/>
              <a:ext cx="1828800" cy="73745"/>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3" name="Rectangle 12"/>
            <p:cNvSpPr/>
            <p:nvPr/>
          </p:nvSpPr>
          <p:spPr>
            <a:xfrm>
              <a:off x="1828801" y="6792449"/>
              <a:ext cx="1828800" cy="73745"/>
            </a:xfrm>
            <a:prstGeom prst="rect">
              <a:avLst/>
            </a:prstGeom>
            <a:solidFill>
              <a:srgbClr val="2428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4" name="Rectangle 13"/>
            <p:cNvSpPr/>
            <p:nvPr/>
          </p:nvSpPr>
          <p:spPr>
            <a:xfrm>
              <a:off x="3657601" y="6792450"/>
              <a:ext cx="1828800" cy="73743"/>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5" name="Rectangle 14"/>
            <p:cNvSpPr/>
            <p:nvPr/>
          </p:nvSpPr>
          <p:spPr>
            <a:xfrm>
              <a:off x="7315200" y="6792450"/>
              <a:ext cx="1828800" cy="73743"/>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grpSp>
      <p:pic>
        <p:nvPicPr>
          <p:cNvPr id="19" name="Graphic 18">
            <a:extLst>
              <a:ext uri="{FF2B5EF4-FFF2-40B4-BE49-F238E27FC236}">
                <a16:creationId xmlns:a16="http://schemas.microsoft.com/office/drawing/2014/main" id="{470AC07A-5090-444A-8131-96F0B1D6BFA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5729" y="285180"/>
            <a:ext cx="1842676" cy="614225"/>
          </a:xfrm>
          <a:prstGeom prst="rect">
            <a:avLst/>
          </a:prstGeom>
        </p:spPr>
      </p:pic>
    </p:spTree>
    <p:extLst>
      <p:ext uri="{BB962C8B-B14F-4D97-AF65-F5344CB8AC3E}">
        <p14:creationId xmlns:p14="http://schemas.microsoft.com/office/powerpoint/2010/main" val="17541795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reserve="1">
  <p:cSld name="8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AB8A9DD-AB8F-4138-9EA2-044B28DCCE09}"/>
              </a:ext>
            </a:extLst>
          </p:cNvPr>
          <p:cNvSpPr/>
          <p:nvPr userDrawn="1"/>
        </p:nvSpPr>
        <p:spPr>
          <a:xfrm>
            <a:off x="-1" y="-1"/>
            <a:ext cx="12191996" cy="6866199"/>
          </a:xfrm>
          <a:prstGeom prst="rect">
            <a:avLst/>
          </a:prstGeom>
          <a:solidFill>
            <a:srgbClr val="00B0F0">
              <a:alpha val="89804"/>
            </a:srgb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600"/>
          </a:p>
        </p:txBody>
      </p:sp>
      <p:pic>
        <p:nvPicPr>
          <p:cNvPr id="17" name="Google Shape;64;p10" descr="comic-03.png">
            <a:extLst>
              <a:ext uri="{FF2B5EF4-FFF2-40B4-BE49-F238E27FC236}">
                <a16:creationId xmlns:a16="http://schemas.microsoft.com/office/drawing/2014/main" id="{7F4F2FA1-5393-4E34-B19B-9631AD8B31D1}"/>
              </a:ext>
            </a:extLst>
          </p:cNvPr>
          <p:cNvPicPr preferRelativeResize="0"/>
          <p:nvPr userDrawn="1"/>
        </p:nvPicPr>
        <p:blipFill>
          <a:blip r:embed="rId2">
            <a:alphaModFix amt="10000"/>
          </a:blip>
          <a:stretch>
            <a:fillRect/>
          </a:stretch>
        </p:blipFill>
        <p:spPr>
          <a:xfrm>
            <a:off x="0" y="12151"/>
            <a:ext cx="12192000" cy="6858000"/>
          </a:xfrm>
          <a:prstGeom prst="rect">
            <a:avLst/>
          </a:prstGeom>
          <a:noFill/>
          <a:ln>
            <a:noFill/>
          </a:ln>
        </p:spPr>
      </p:pic>
      <p:sp>
        <p:nvSpPr>
          <p:cNvPr id="2" name="Title 1"/>
          <p:cNvSpPr>
            <a:spLocks noGrp="1"/>
          </p:cNvSpPr>
          <p:nvPr>
            <p:ph type="ctrTitle"/>
          </p:nvPr>
        </p:nvSpPr>
        <p:spPr>
          <a:xfrm>
            <a:off x="595730" y="1345036"/>
            <a:ext cx="10971428" cy="602536"/>
          </a:xfrm>
        </p:spPr>
        <p:txBody>
          <a:bodyPr lIns="0" tIns="0" rIns="0" bIns="0" anchor="t">
            <a:noAutofit/>
          </a:bodyPr>
          <a:lstStyle>
            <a:lvl1pPr algn="l">
              <a:defRPr sz="3939">
                <a:solidFill>
                  <a:schemeClr val="bg1"/>
                </a:solidFill>
                <a:latin typeface="Arial"/>
                <a:cs typeface="Arial"/>
              </a:defRPr>
            </a:lvl1pPr>
          </a:lstStyle>
          <a:p>
            <a:endParaRPr lang="en-US" b="1">
              <a:solidFill>
                <a:srgbClr val="1573C5"/>
              </a:solidFill>
              <a:latin typeface="Arial"/>
              <a:cs typeface="Arial"/>
            </a:endParaRPr>
          </a:p>
        </p:txBody>
      </p:sp>
      <p:sp>
        <p:nvSpPr>
          <p:cNvPr id="3" name="Subtitle 2"/>
          <p:cNvSpPr>
            <a:spLocks noGrp="1"/>
          </p:cNvSpPr>
          <p:nvPr>
            <p:ph type="subTitle" idx="1"/>
          </p:nvPr>
        </p:nvSpPr>
        <p:spPr>
          <a:xfrm>
            <a:off x="595730" y="2656405"/>
            <a:ext cx="10971428" cy="649843"/>
          </a:xfrm>
        </p:spPr>
        <p:txBody>
          <a:bodyPr lIns="0" tIns="0" rIns="0" bIns="0">
            <a:noAutofit/>
          </a:bodyPr>
          <a:lstStyle>
            <a:lvl1pPr marL="0" indent="0" algn="l">
              <a:buNone/>
              <a:defRPr sz="1969" b="1">
                <a:solidFill>
                  <a:schemeClr val="bg1"/>
                </a:solidFill>
                <a:latin typeface="Arial"/>
                <a:cs typeface="Arial"/>
              </a:defRPr>
            </a:lvl1pPr>
            <a:lvl2pPr marL="562733" indent="0" algn="ctr">
              <a:buNone/>
              <a:defRPr>
                <a:solidFill>
                  <a:schemeClr val="tx1">
                    <a:tint val="75000"/>
                  </a:schemeClr>
                </a:solidFill>
              </a:defRPr>
            </a:lvl2pPr>
            <a:lvl3pPr marL="1125466" indent="0" algn="ctr">
              <a:buNone/>
              <a:defRPr>
                <a:solidFill>
                  <a:schemeClr val="tx1">
                    <a:tint val="75000"/>
                  </a:schemeClr>
                </a:solidFill>
              </a:defRPr>
            </a:lvl3pPr>
            <a:lvl4pPr marL="1688197" indent="0" algn="ctr">
              <a:buNone/>
              <a:defRPr>
                <a:solidFill>
                  <a:schemeClr val="tx1">
                    <a:tint val="75000"/>
                  </a:schemeClr>
                </a:solidFill>
              </a:defRPr>
            </a:lvl4pPr>
            <a:lvl5pPr marL="2250930" indent="0" algn="ctr">
              <a:buNone/>
              <a:defRPr>
                <a:solidFill>
                  <a:schemeClr val="tx1">
                    <a:tint val="75000"/>
                  </a:schemeClr>
                </a:solidFill>
              </a:defRPr>
            </a:lvl5pPr>
            <a:lvl6pPr marL="2813663" indent="0" algn="ctr">
              <a:buNone/>
              <a:defRPr>
                <a:solidFill>
                  <a:schemeClr val="tx1">
                    <a:tint val="75000"/>
                  </a:schemeClr>
                </a:solidFill>
              </a:defRPr>
            </a:lvl6pPr>
            <a:lvl7pPr marL="3376397" indent="0" algn="ctr">
              <a:buNone/>
              <a:defRPr>
                <a:solidFill>
                  <a:schemeClr val="tx1">
                    <a:tint val="75000"/>
                  </a:schemeClr>
                </a:solidFill>
              </a:defRPr>
            </a:lvl7pPr>
            <a:lvl8pPr marL="3939127" indent="0" algn="ctr">
              <a:buNone/>
              <a:defRPr>
                <a:solidFill>
                  <a:schemeClr val="tx1">
                    <a:tint val="75000"/>
                  </a:schemeClr>
                </a:solidFill>
              </a:defRPr>
            </a:lvl8pPr>
            <a:lvl9pPr marL="4501860" indent="0" algn="ctr">
              <a:buNone/>
              <a:defRPr>
                <a:solidFill>
                  <a:schemeClr val="tx1">
                    <a:tint val="75000"/>
                  </a:schemeClr>
                </a:solidFill>
              </a:defRPr>
            </a:lvl9pPr>
          </a:lstStyle>
          <a:p>
            <a:endParaRPr lang="en-US"/>
          </a:p>
        </p:txBody>
      </p:sp>
      <p:grpSp>
        <p:nvGrpSpPr>
          <p:cNvPr id="10" name="Group 9"/>
          <p:cNvGrpSpPr/>
          <p:nvPr userDrawn="1"/>
        </p:nvGrpSpPr>
        <p:grpSpPr>
          <a:xfrm>
            <a:off x="5" y="6792455"/>
            <a:ext cx="12191999" cy="73745"/>
            <a:chOff x="1" y="6792449"/>
            <a:chExt cx="9143999" cy="73745"/>
          </a:xfrm>
        </p:grpSpPr>
        <p:sp>
          <p:nvSpPr>
            <p:cNvPr id="11" name="Rectangle 10"/>
            <p:cNvSpPr/>
            <p:nvPr/>
          </p:nvSpPr>
          <p:spPr>
            <a:xfrm>
              <a:off x="5486400" y="6792449"/>
              <a:ext cx="1828800" cy="73745"/>
            </a:xfrm>
            <a:prstGeom prst="rect">
              <a:avLst/>
            </a:prstGeom>
            <a:solidFill>
              <a:srgbClr val="1740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2" name="Rectangle 11"/>
            <p:cNvSpPr/>
            <p:nvPr/>
          </p:nvSpPr>
          <p:spPr>
            <a:xfrm>
              <a:off x="1" y="6792449"/>
              <a:ext cx="1828800" cy="73745"/>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3" name="Rectangle 12"/>
            <p:cNvSpPr/>
            <p:nvPr/>
          </p:nvSpPr>
          <p:spPr>
            <a:xfrm>
              <a:off x="1828801" y="6792449"/>
              <a:ext cx="1828800" cy="73745"/>
            </a:xfrm>
            <a:prstGeom prst="rect">
              <a:avLst/>
            </a:prstGeom>
            <a:solidFill>
              <a:srgbClr val="2428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4" name="Rectangle 13"/>
            <p:cNvSpPr/>
            <p:nvPr/>
          </p:nvSpPr>
          <p:spPr>
            <a:xfrm>
              <a:off x="3657601" y="6792450"/>
              <a:ext cx="1828800" cy="73743"/>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5" name="Rectangle 14"/>
            <p:cNvSpPr/>
            <p:nvPr/>
          </p:nvSpPr>
          <p:spPr>
            <a:xfrm>
              <a:off x="7315200" y="6792450"/>
              <a:ext cx="1828800" cy="73743"/>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grpSp>
    </p:spTree>
    <p:extLst>
      <p:ext uri="{BB962C8B-B14F-4D97-AF65-F5344CB8AC3E}">
        <p14:creationId xmlns:p14="http://schemas.microsoft.com/office/powerpoint/2010/main" val="54391665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10_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27684B8-B317-4A50-9091-A574CD74CCB1}"/>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4" name="Rectangle 3">
            <a:extLst>
              <a:ext uri="{FF2B5EF4-FFF2-40B4-BE49-F238E27FC236}">
                <a16:creationId xmlns:a16="http://schemas.microsoft.com/office/drawing/2014/main" id="{FAB8A9DD-AB8F-4138-9EA2-044B28DCCE09}"/>
              </a:ext>
            </a:extLst>
          </p:cNvPr>
          <p:cNvSpPr/>
          <p:nvPr userDrawn="1"/>
        </p:nvSpPr>
        <p:spPr>
          <a:xfrm>
            <a:off x="0" y="-1"/>
            <a:ext cx="12192000" cy="6866199"/>
          </a:xfrm>
          <a:prstGeom prst="rect">
            <a:avLst/>
          </a:prstGeom>
          <a:solidFill>
            <a:srgbClr val="17425A">
              <a:alpha val="89804"/>
            </a:srgb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600"/>
          </a:p>
        </p:txBody>
      </p:sp>
      <p:cxnSp>
        <p:nvCxnSpPr>
          <p:cNvPr id="9" name="Straight Connector 8"/>
          <p:cNvCxnSpPr/>
          <p:nvPr userDrawn="1"/>
        </p:nvCxnSpPr>
        <p:spPr>
          <a:xfrm>
            <a:off x="595729" y="1288310"/>
            <a:ext cx="4174448" cy="0"/>
          </a:xfrm>
          <a:prstGeom prst="line">
            <a:avLst/>
          </a:prstGeom>
          <a:ln w="28575"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ctrTitle"/>
          </p:nvPr>
        </p:nvSpPr>
        <p:spPr>
          <a:xfrm>
            <a:off x="595730" y="1345036"/>
            <a:ext cx="10971428" cy="602536"/>
          </a:xfrm>
        </p:spPr>
        <p:txBody>
          <a:bodyPr lIns="0" tIns="0" rIns="0" bIns="0" anchor="t">
            <a:noAutofit/>
          </a:bodyPr>
          <a:lstStyle>
            <a:lvl1pPr algn="l">
              <a:defRPr sz="3939">
                <a:solidFill>
                  <a:schemeClr val="bg1"/>
                </a:solidFill>
                <a:latin typeface="Arial"/>
                <a:cs typeface="Arial"/>
              </a:defRPr>
            </a:lvl1pPr>
          </a:lstStyle>
          <a:p>
            <a:endParaRPr lang="en-US" b="1">
              <a:solidFill>
                <a:srgbClr val="1573C5"/>
              </a:solidFill>
              <a:latin typeface="Arial"/>
              <a:cs typeface="Arial"/>
            </a:endParaRPr>
          </a:p>
        </p:txBody>
      </p:sp>
      <p:sp>
        <p:nvSpPr>
          <p:cNvPr id="3" name="Subtitle 2"/>
          <p:cNvSpPr>
            <a:spLocks noGrp="1"/>
          </p:cNvSpPr>
          <p:nvPr>
            <p:ph type="subTitle" idx="1"/>
          </p:nvPr>
        </p:nvSpPr>
        <p:spPr>
          <a:xfrm>
            <a:off x="595730" y="2656405"/>
            <a:ext cx="10971428" cy="649843"/>
          </a:xfrm>
        </p:spPr>
        <p:txBody>
          <a:bodyPr lIns="0" tIns="0" rIns="0" bIns="0">
            <a:noAutofit/>
          </a:bodyPr>
          <a:lstStyle>
            <a:lvl1pPr marL="0" indent="0" algn="l">
              <a:buNone/>
              <a:defRPr sz="1969" b="1">
                <a:solidFill>
                  <a:schemeClr val="bg1"/>
                </a:solidFill>
                <a:latin typeface="Arial"/>
                <a:cs typeface="Arial"/>
              </a:defRPr>
            </a:lvl1pPr>
            <a:lvl2pPr marL="562733" indent="0" algn="ctr">
              <a:buNone/>
              <a:defRPr>
                <a:solidFill>
                  <a:schemeClr val="tx1">
                    <a:tint val="75000"/>
                  </a:schemeClr>
                </a:solidFill>
              </a:defRPr>
            </a:lvl2pPr>
            <a:lvl3pPr marL="1125466" indent="0" algn="ctr">
              <a:buNone/>
              <a:defRPr>
                <a:solidFill>
                  <a:schemeClr val="tx1">
                    <a:tint val="75000"/>
                  </a:schemeClr>
                </a:solidFill>
              </a:defRPr>
            </a:lvl3pPr>
            <a:lvl4pPr marL="1688197" indent="0" algn="ctr">
              <a:buNone/>
              <a:defRPr>
                <a:solidFill>
                  <a:schemeClr val="tx1">
                    <a:tint val="75000"/>
                  </a:schemeClr>
                </a:solidFill>
              </a:defRPr>
            </a:lvl4pPr>
            <a:lvl5pPr marL="2250930" indent="0" algn="ctr">
              <a:buNone/>
              <a:defRPr>
                <a:solidFill>
                  <a:schemeClr val="tx1">
                    <a:tint val="75000"/>
                  </a:schemeClr>
                </a:solidFill>
              </a:defRPr>
            </a:lvl5pPr>
            <a:lvl6pPr marL="2813663" indent="0" algn="ctr">
              <a:buNone/>
              <a:defRPr>
                <a:solidFill>
                  <a:schemeClr val="tx1">
                    <a:tint val="75000"/>
                  </a:schemeClr>
                </a:solidFill>
              </a:defRPr>
            </a:lvl6pPr>
            <a:lvl7pPr marL="3376397" indent="0" algn="ctr">
              <a:buNone/>
              <a:defRPr>
                <a:solidFill>
                  <a:schemeClr val="tx1">
                    <a:tint val="75000"/>
                  </a:schemeClr>
                </a:solidFill>
              </a:defRPr>
            </a:lvl7pPr>
            <a:lvl8pPr marL="3939127" indent="0" algn="ctr">
              <a:buNone/>
              <a:defRPr>
                <a:solidFill>
                  <a:schemeClr val="tx1">
                    <a:tint val="75000"/>
                  </a:schemeClr>
                </a:solidFill>
              </a:defRPr>
            </a:lvl8pPr>
            <a:lvl9pPr marL="4501860" indent="0" algn="ctr">
              <a:buNone/>
              <a:defRPr>
                <a:solidFill>
                  <a:schemeClr val="tx1">
                    <a:tint val="75000"/>
                  </a:schemeClr>
                </a:solidFill>
              </a:defRPr>
            </a:lvl9pPr>
          </a:lstStyle>
          <a:p>
            <a:endParaRPr lang="en-US"/>
          </a:p>
        </p:txBody>
      </p:sp>
      <p:grpSp>
        <p:nvGrpSpPr>
          <p:cNvPr id="10" name="Group 9"/>
          <p:cNvGrpSpPr/>
          <p:nvPr userDrawn="1"/>
        </p:nvGrpSpPr>
        <p:grpSpPr>
          <a:xfrm>
            <a:off x="5" y="6792455"/>
            <a:ext cx="12191999" cy="73745"/>
            <a:chOff x="1" y="6792449"/>
            <a:chExt cx="9143999" cy="73745"/>
          </a:xfrm>
        </p:grpSpPr>
        <p:sp>
          <p:nvSpPr>
            <p:cNvPr id="11" name="Rectangle 10"/>
            <p:cNvSpPr/>
            <p:nvPr/>
          </p:nvSpPr>
          <p:spPr>
            <a:xfrm>
              <a:off x="5486400" y="6792449"/>
              <a:ext cx="1828800" cy="73745"/>
            </a:xfrm>
            <a:prstGeom prst="rect">
              <a:avLst/>
            </a:prstGeom>
            <a:solidFill>
              <a:srgbClr val="1740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2" name="Rectangle 11"/>
            <p:cNvSpPr/>
            <p:nvPr/>
          </p:nvSpPr>
          <p:spPr>
            <a:xfrm>
              <a:off x="1" y="6792449"/>
              <a:ext cx="1828800" cy="73745"/>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3" name="Rectangle 12"/>
            <p:cNvSpPr/>
            <p:nvPr/>
          </p:nvSpPr>
          <p:spPr>
            <a:xfrm>
              <a:off x="1828801" y="6792449"/>
              <a:ext cx="1828800" cy="73745"/>
            </a:xfrm>
            <a:prstGeom prst="rect">
              <a:avLst/>
            </a:prstGeom>
            <a:solidFill>
              <a:srgbClr val="2428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4" name="Rectangle 13"/>
            <p:cNvSpPr/>
            <p:nvPr/>
          </p:nvSpPr>
          <p:spPr>
            <a:xfrm>
              <a:off x="3657601" y="6792450"/>
              <a:ext cx="1828800" cy="73743"/>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5" name="Rectangle 14"/>
            <p:cNvSpPr/>
            <p:nvPr/>
          </p:nvSpPr>
          <p:spPr>
            <a:xfrm>
              <a:off x="7315200" y="6792450"/>
              <a:ext cx="1828800" cy="73743"/>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grpSp>
      <p:pic>
        <p:nvPicPr>
          <p:cNvPr id="19" name="Graphic 18">
            <a:extLst>
              <a:ext uri="{FF2B5EF4-FFF2-40B4-BE49-F238E27FC236}">
                <a16:creationId xmlns:a16="http://schemas.microsoft.com/office/drawing/2014/main" id="{470AC07A-5090-444A-8131-96F0B1D6BFA5}"/>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95729" y="285180"/>
            <a:ext cx="1842676" cy="614225"/>
          </a:xfrm>
          <a:prstGeom prst="rect">
            <a:avLst/>
          </a:prstGeom>
        </p:spPr>
      </p:pic>
    </p:spTree>
    <p:extLst>
      <p:ext uri="{BB962C8B-B14F-4D97-AF65-F5344CB8AC3E}">
        <p14:creationId xmlns:p14="http://schemas.microsoft.com/office/powerpoint/2010/main" val="420393907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able of Contets">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52A1B299-C3FC-4F91-BC27-2FBE32405CDA}"/>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15" name="Rectangle 14">
            <a:extLst>
              <a:ext uri="{FF2B5EF4-FFF2-40B4-BE49-F238E27FC236}">
                <a16:creationId xmlns:a16="http://schemas.microsoft.com/office/drawing/2014/main" id="{61B7A982-1A6D-4EB2-8AF3-C489E5006702}"/>
              </a:ext>
            </a:extLst>
          </p:cNvPr>
          <p:cNvSpPr/>
          <p:nvPr userDrawn="1"/>
        </p:nvSpPr>
        <p:spPr>
          <a:xfrm>
            <a:off x="1" y="0"/>
            <a:ext cx="12191994" cy="6858000"/>
          </a:xfrm>
          <a:prstGeom prst="rect">
            <a:avLst/>
          </a:prstGeom>
          <a:solidFill>
            <a:schemeClr val="bg1">
              <a:alpha val="89804"/>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600"/>
          </a:p>
        </p:txBody>
      </p:sp>
      <p:sp>
        <p:nvSpPr>
          <p:cNvPr id="2" name="Title 1"/>
          <p:cNvSpPr>
            <a:spLocks noGrp="1"/>
          </p:cNvSpPr>
          <p:nvPr>
            <p:ph type="title"/>
          </p:nvPr>
        </p:nvSpPr>
        <p:spPr>
          <a:xfrm>
            <a:off x="342242" y="194430"/>
            <a:ext cx="11528917" cy="594360"/>
          </a:xfrm>
        </p:spPr>
        <p:txBody>
          <a:bodyPr>
            <a:noAutofit/>
          </a:bodyPr>
          <a:lstStyle>
            <a:lvl1pPr>
              <a:defRPr sz="2585"/>
            </a:lvl1pPr>
          </a:lstStyle>
          <a:p>
            <a:r>
              <a:rPr lang="en-US"/>
              <a:t>Click to edit Master title style</a:t>
            </a:r>
          </a:p>
        </p:txBody>
      </p:sp>
      <p:sp>
        <p:nvSpPr>
          <p:cNvPr id="3" name="Content Placeholder 2"/>
          <p:cNvSpPr>
            <a:spLocks noGrp="1"/>
          </p:cNvSpPr>
          <p:nvPr>
            <p:ph idx="1"/>
          </p:nvPr>
        </p:nvSpPr>
        <p:spPr>
          <a:xfrm>
            <a:off x="342242" y="801390"/>
            <a:ext cx="11528917" cy="5227768"/>
          </a:xfrm>
        </p:spPr>
        <p:txBody>
          <a:bodyPr>
            <a:noAutofit/>
          </a:bodyPr>
          <a:lstStyle>
            <a:lvl1pPr>
              <a:spcAft>
                <a:spcPts val="738"/>
              </a:spcAft>
              <a:defRPr sz="1969"/>
            </a:lvl1pPr>
            <a:lvl2pPr marL="450186">
              <a:defRPr sz="1969"/>
            </a:lvl2pPr>
            <a:lvl3pPr marL="900372">
              <a:defRPr sz="1969"/>
            </a:lvl3pPr>
            <a:lvl4pPr marL="1350558">
              <a:defRPr sz="1969"/>
            </a:lvl4pPr>
            <a:lvl5pPr marL="1800744">
              <a:defRPr sz="196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p:cNvGrpSpPr/>
          <p:nvPr userDrawn="1"/>
        </p:nvGrpSpPr>
        <p:grpSpPr>
          <a:xfrm>
            <a:off x="5" y="6792455"/>
            <a:ext cx="12191999" cy="73745"/>
            <a:chOff x="1" y="6792449"/>
            <a:chExt cx="9143999" cy="73745"/>
          </a:xfrm>
        </p:grpSpPr>
        <p:sp>
          <p:nvSpPr>
            <p:cNvPr id="8" name="Rectangle 7"/>
            <p:cNvSpPr/>
            <p:nvPr/>
          </p:nvSpPr>
          <p:spPr>
            <a:xfrm>
              <a:off x="5486400" y="6792449"/>
              <a:ext cx="1828800" cy="73745"/>
            </a:xfrm>
            <a:prstGeom prst="rect">
              <a:avLst/>
            </a:prstGeom>
            <a:solidFill>
              <a:srgbClr val="1740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9" name="Rectangle 8"/>
            <p:cNvSpPr/>
            <p:nvPr/>
          </p:nvSpPr>
          <p:spPr>
            <a:xfrm>
              <a:off x="1" y="6792449"/>
              <a:ext cx="1828800" cy="73745"/>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0" name="Rectangle 9"/>
            <p:cNvSpPr/>
            <p:nvPr/>
          </p:nvSpPr>
          <p:spPr>
            <a:xfrm>
              <a:off x="1828801" y="6792449"/>
              <a:ext cx="1828800" cy="73745"/>
            </a:xfrm>
            <a:prstGeom prst="rect">
              <a:avLst/>
            </a:prstGeom>
            <a:solidFill>
              <a:srgbClr val="2428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1" name="Rectangle 10"/>
            <p:cNvSpPr/>
            <p:nvPr/>
          </p:nvSpPr>
          <p:spPr>
            <a:xfrm>
              <a:off x="3657601" y="6792450"/>
              <a:ext cx="1828800" cy="73743"/>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2" name="Rectangle 11"/>
            <p:cNvSpPr/>
            <p:nvPr/>
          </p:nvSpPr>
          <p:spPr>
            <a:xfrm>
              <a:off x="7315200" y="6792450"/>
              <a:ext cx="1828800" cy="73743"/>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grpSp>
      <p:sp>
        <p:nvSpPr>
          <p:cNvPr id="14" name="Slide Number Placeholder 5"/>
          <p:cNvSpPr>
            <a:spLocks noGrp="1"/>
          </p:cNvSpPr>
          <p:nvPr>
            <p:ph type="sldNum" sz="quarter" idx="4"/>
          </p:nvPr>
        </p:nvSpPr>
        <p:spPr>
          <a:xfrm>
            <a:off x="342240" y="6356358"/>
            <a:ext cx="2844800" cy="365125"/>
          </a:xfrm>
          <a:prstGeom prst="rect">
            <a:avLst/>
          </a:prstGeom>
        </p:spPr>
        <p:txBody>
          <a:bodyPr vert="horz" lIns="91440" tIns="45720" rIns="91440" bIns="45720" rtlCol="0" anchor="ctr"/>
          <a:lstStyle>
            <a:lvl1pPr algn="l">
              <a:defRPr sz="985" b="1">
                <a:solidFill>
                  <a:schemeClr val="tx1"/>
                </a:solidFill>
              </a:defRPr>
            </a:lvl1pPr>
          </a:lstStyle>
          <a:p>
            <a:fld id="{4F1FA912-FC24-3D46-8310-EAE10B51E2A1}" type="slidenum">
              <a:rPr lang="en-US" smtClean="0"/>
              <a:t>‹#›</a:t>
            </a:fld>
            <a:endParaRPr lang="en-US"/>
          </a:p>
        </p:txBody>
      </p:sp>
    </p:spTree>
    <p:extLst>
      <p:ext uri="{BB962C8B-B14F-4D97-AF65-F5344CB8AC3E}">
        <p14:creationId xmlns:p14="http://schemas.microsoft.com/office/powerpoint/2010/main" val="7129642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Table of Contet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435A095-F4D2-46B5-A433-148E542CB892}"/>
              </a:ext>
            </a:extLst>
          </p:cNvPr>
          <p:cNvSpPr/>
          <p:nvPr userDrawn="1"/>
        </p:nvSpPr>
        <p:spPr>
          <a:xfrm>
            <a:off x="0" y="0"/>
            <a:ext cx="12191999" cy="6858000"/>
          </a:xfrm>
          <a:prstGeom prst="rect">
            <a:avLst/>
          </a:prstGeom>
          <a:solidFill>
            <a:srgbClr val="1573C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600"/>
          </a:p>
        </p:txBody>
      </p:sp>
      <p:sp>
        <p:nvSpPr>
          <p:cNvPr id="2" name="Title 1"/>
          <p:cNvSpPr>
            <a:spLocks noGrp="1"/>
          </p:cNvSpPr>
          <p:nvPr>
            <p:ph type="title"/>
          </p:nvPr>
        </p:nvSpPr>
        <p:spPr>
          <a:xfrm>
            <a:off x="342242" y="194430"/>
            <a:ext cx="11528917" cy="594360"/>
          </a:xfrm>
        </p:spPr>
        <p:txBody>
          <a:bodyPr>
            <a:noAutofit/>
          </a:bodyPr>
          <a:lstStyle>
            <a:lvl1pPr>
              <a:defRPr sz="2585">
                <a:solidFill>
                  <a:schemeClr val="bg1"/>
                </a:solidFill>
              </a:defRPr>
            </a:lvl1pPr>
          </a:lstStyle>
          <a:p>
            <a:r>
              <a:rPr lang="en-US"/>
              <a:t>Click to edit Master title style</a:t>
            </a:r>
          </a:p>
        </p:txBody>
      </p:sp>
      <p:sp>
        <p:nvSpPr>
          <p:cNvPr id="3" name="Content Placeholder 2"/>
          <p:cNvSpPr>
            <a:spLocks noGrp="1"/>
          </p:cNvSpPr>
          <p:nvPr>
            <p:ph idx="1"/>
          </p:nvPr>
        </p:nvSpPr>
        <p:spPr>
          <a:xfrm>
            <a:off x="342242" y="801390"/>
            <a:ext cx="11528917" cy="5227768"/>
          </a:xfrm>
        </p:spPr>
        <p:txBody>
          <a:bodyPr>
            <a:noAutofit/>
          </a:bodyPr>
          <a:lstStyle>
            <a:lvl1pPr>
              <a:spcAft>
                <a:spcPts val="738"/>
              </a:spcAft>
              <a:defRPr sz="1969"/>
            </a:lvl1pPr>
            <a:lvl2pPr marL="450186">
              <a:defRPr sz="1969"/>
            </a:lvl2pPr>
            <a:lvl3pPr marL="900372">
              <a:defRPr sz="1969"/>
            </a:lvl3pPr>
            <a:lvl4pPr marL="1350558">
              <a:defRPr sz="1969"/>
            </a:lvl4pPr>
            <a:lvl5pPr marL="1800744">
              <a:defRPr sz="196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p:cNvGrpSpPr/>
          <p:nvPr userDrawn="1"/>
        </p:nvGrpSpPr>
        <p:grpSpPr>
          <a:xfrm>
            <a:off x="5" y="6792455"/>
            <a:ext cx="12191999" cy="73745"/>
            <a:chOff x="1" y="6792449"/>
            <a:chExt cx="9143999" cy="73745"/>
          </a:xfrm>
        </p:grpSpPr>
        <p:sp>
          <p:nvSpPr>
            <p:cNvPr id="8" name="Rectangle 7"/>
            <p:cNvSpPr/>
            <p:nvPr/>
          </p:nvSpPr>
          <p:spPr>
            <a:xfrm>
              <a:off x="5486400" y="6792449"/>
              <a:ext cx="1828800" cy="73745"/>
            </a:xfrm>
            <a:prstGeom prst="rect">
              <a:avLst/>
            </a:prstGeom>
            <a:solidFill>
              <a:srgbClr val="1740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9" name="Rectangle 8"/>
            <p:cNvSpPr/>
            <p:nvPr/>
          </p:nvSpPr>
          <p:spPr>
            <a:xfrm>
              <a:off x="1" y="6792449"/>
              <a:ext cx="1828800" cy="73745"/>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0" name="Rectangle 9"/>
            <p:cNvSpPr/>
            <p:nvPr/>
          </p:nvSpPr>
          <p:spPr>
            <a:xfrm>
              <a:off x="1828801" y="6792449"/>
              <a:ext cx="1828800" cy="73745"/>
            </a:xfrm>
            <a:prstGeom prst="rect">
              <a:avLst/>
            </a:prstGeom>
            <a:solidFill>
              <a:srgbClr val="2428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1" name="Rectangle 10"/>
            <p:cNvSpPr/>
            <p:nvPr/>
          </p:nvSpPr>
          <p:spPr>
            <a:xfrm>
              <a:off x="3657601" y="6792450"/>
              <a:ext cx="1828800" cy="73743"/>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2" name="Rectangle 11"/>
            <p:cNvSpPr/>
            <p:nvPr/>
          </p:nvSpPr>
          <p:spPr>
            <a:xfrm>
              <a:off x="7315200" y="6792450"/>
              <a:ext cx="1828800" cy="73743"/>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grpSp>
      <p:sp>
        <p:nvSpPr>
          <p:cNvPr id="14" name="Slide Number Placeholder 5"/>
          <p:cNvSpPr>
            <a:spLocks noGrp="1"/>
          </p:cNvSpPr>
          <p:nvPr>
            <p:ph type="sldNum" sz="quarter" idx="4"/>
          </p:nvPr>
        </p:nvSpPr>
        <p:spPr>
          <a:xfrm>
            <a:off x="342240" y="6356358"/>
            <a:ext cx="2844800" cy="365125"/>
          </a:xfrm>
          <a:prstGeom prst="rect">
            <a:avLst/>
          </a:prstGeom>
        </p:spPr>
        <p:txBody>
          <a:bodyPr vert="horz" lIns="91440" tIns="45720" rIns="91440" bIns="45720" rtlCol="0" anchor="ctr"/>
          <a:lstStyle>
            <a:lvl1pPr algn="l">
              <a:defRPr sz="985" b="1">
                <a:solidFill>
                  <a:schemeClr val="tx1"/>
                </a:solidFill>
              </a:defRPr>
            </a:lvl1pPr>
          </a:lstStyle>
          <a:p>
            <a:fld id="{4F1FA912-FC24-3D46-8310-EAE10B51E2A1}" type="slidenum">
              <a:rPr lang="en-US" smtClean="0"/>
              <a:t>‹#›</a:t>
            </a:fld>
            <a:endParaRPr lang="en-US"/>
          </a:p>
        </p:txBody>
      </p:sp>
    </p:spTree>
    <p:extLst>
      <p:ext uri="{BB962C8B-B14F-4D97-AF65-F5344CB8AC3E}">
        <p14:creationId xmlns:p14="http://schemas.microsoft.com/office/powerpoint/2010/main" val="278735864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6_Table of Contets">
    <p:spTree>
      <p:nvGrpSpPr>
        <p:cNvPr id="1" name=""/>
        <p:cNvGrpSpPr/>
        <p:nvPr/>
      </p:nvGrpSpPr>
      <p:grpSpPr>
        <a:xfrm>
          <a:off x="0" y="0"/>
          <a:ext cx="0" cy="0"/>
          <a:chOff x="0" y="0"/>
          <a:chExt cx="0" cy="0"/>
        </a:xfrm>
      </p:grpSpPr>
      <p:sp>
        <p:nvSpPr>
          <p:cNvPr id="2" name="Title 1"/>
          <p:cNvSpPr>
            <a:spLocks noGrp="1"/>
          </p:cNvSpPr>
          <p:nvPr>
            <p:ph type="title"/>
          </p:nvPr>
        </p:nvSpPr>
        <p:spPr>
          <a:xfrm>
            <a:off x="342242" y="194430"/>
            <a:ext cx="11528917" cy="594360"/>
          </a:xfrm>
        </p:spPr>
        <p:txBody>
          <a:bodyPr>
            <a:noAutofit/>
          </a:bodyPr>
          <a:lstStyle>
            <a:lvl1pPr>
              <a:defRPr sz="2585"/>
            </a:lvl1pPr>
          </a:lstStyle>
          <a:p>
            <a:r>
              <a:rPr lang="en-US"/>
              <a:t>Click to edit Master title style</a:t>
            </a:r>
          </a:p>
        </p:txBody>
      </p:sp>
      <p:sp>
        <p:nvSpPr>
          <p:cNvPr id="3" name="Content Placeholder 2"/>
          <p:cNvSpPr>
            <a:spLocks noGrp="1"/>
          </p:cNvSpPr>
          <p:nvPr>
            <p:ph idx="1"/>
          </p:nvPr>
        </p:nvSpPr>
        <p:spPr>
          <a:xfrm>
            <a:off x="342242" y="801390"/>
            <a:ext cx="11528917" cy="5227768"/>
          </a:xfrm>
        </p:spPr>
        <p:txBody>
          <a:bodyPr>
            <a:noAutofit/>
          </a:bodyPr>
          <a:lstStyle>
            <a:lvl1pPr>
              <a:spcAft>
                <a:spcPts val="738"/>
              </a:spcAft>
              <a:defRPr sz="1969"/>
            </a:lvl1pPr>
            <a:lvl2pPr marL="450186">
              <a:defRPr sz="1969"/>
            </a:lvl2pPr>
            <a:lvl3pPr marL="900372">
              <a:defRPr sz="1969"/>
            </a:lvl3pPr>
            <a:lvl4pPr marL="1350558">
              <a:defRPr sz="1969"/>
            </a:lvl4pPr>
            <a:lvl5pPr marL="1800744">
              <a:defRPr sz="196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p:cNvGrpSpPr/>
          <p:nvPr userDrawn="1"/>
        </p:nvGrpSpPr>
        <p:grpSpPr>
          <a:xfrm>
            <a:off x="5" y="6792455"/>
            <a:ext cx="12191999" cy="73745"/>
            <a:chOff x="1" y="6792449"/>
            <a:chExt cx="9143999" cy="73745"/>
          </a:xfrm>
        </p:grpSpPr>
        <p:sp>
          <p:nvSpPr>
            <p:cNvPr id="8" name="Rectangle 7"/>
            <p:cNvSpPr/>
            <p:nvPr/>
          </p:nvSpPr>
          <p:spPr>
            <a:xfrm>
              <a:off x="5486400" y="6792449"/>
              <a:ext cx="1828800" cy="73745"/>
            </a:xfrm>
            <a:prstGeom prst="rect">
              <a:avLst/>
            </a:prstGeom>
            <a:solidFill>
              <a:srgbClr val="1740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9" name="Rectangle 8"/>
            <p:cNvSpPr/>
            <p:nvPr/>
          </p:nvSpPr>
          <p:spPr>
            <a:xfrm>
              <a:off x="1" y="6792449"/>
              <a:ext cx="1828800" cy="73745"/>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0" name="Rectangle 9"/>
            <p:cNvSpPr/>
            <p:nvPr/>
          </p:nvSpPr>
          <p:spPr>
            <a:xfrm>
              <a:off x="1828801" y="6792449"/>
              <a:ext cx="1828800" cy="73745"/>
            </a:xfrm>
            <a:prstGeom prst="rect">
              <a:avLst/>
            </a:prstGeom>
            <a:solidFill>
              <a:srgbClr val="2428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1" name="Rectangle 10"/>
            <p:cNvSpPr/>
            <p:nvPr/>
          </p:nvSpPr>
          <p:spPr>
            <a:xfrm>
              <a:off x="3657601" y="6792450"/>
              <a:ext cx="1828800" cy="73743"/>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2" name="Rectangle 11"/>
            <p:cNvSpPr/>
            <p:nvPr/>
          </p:nvSpPr>
          <p:spPr>
            <a:xfrm>
              <a:off x="7315200" y="6792450"/>
              <a:ext cx="1828800" cy="73743"/>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grpSp>
      <p:sp>
        <p:nvSpPr>
          <p:cNvPr id="14" name="Slide Number Placeholder 5"/>
          <p:cNvSpPr>
            <a:spLocks noGrp="1"/>
          </p:cNvSpPr>
          <p:nvPr>
            <p:ph type="sldNum" sz="quarter" idx="4"/>
          </p:nvPr>
        </p:nvSpPr>
        <p:spPr>
          <a:xfrm>
            <a:off x="342240" y="6356358"/>
            <a:ext cx="2844800" cy="365125"/>
          </a:xfrm>
          <a:prstGeom prst="rect">
            <a:avLst/>
          </a:prstGeom>
        </p:spPr>
        <p:txBody>
          <a:bodyPr vert="horz" lIns="91440" tIns="45720" rIns="91440" bIns="45720" rtlCol="0" anchor="ctr"/>
          <a:lstStyle>
            <a:lvl1pPr algn="l">
              <a:defRPr sz="985" b="1">
                <a:solidFill>
                  <a:schemeClr val="tx1"/>
                </a:solidFill>
              </a:defRPr>
            </a:lvl1pPr>
          </a:lstStyle>
          <a:p>
            <a:fld id="{4F1FA912-FC24-3D46-8310-EAE10B51E2A1}" type="slidenum">
              <a:rPr lang="en-US" smtClean="0"/>
              <a:t>‹#›</a:t>
            </a:fld>
            <a:endParaRPr lang="en-US"/>
          </a:p>
        </p:txBody>
      </p:sp>
    </p:spTree>
    <p:extLst>
      <p:ext uri="{BB962C8B-B14F-4D97-AF65-F5344CB8AC3E}">
        <p14:creationId xmlns:p14="http://schemas.microsoft.com/office/powerpoint/2010/main" val="273902876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7_Table of Contet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435A095-F4D2-46B5-A433-148E542CB892}"/>
              </a:ext>
            </a:extLst>
          </p:cNvPr>
          <p:cNvSpPr/>
          <p:nvPr userDrawn="1"/>
        </p:nvSpPr>
        <p:spPr>
          <a:xfrm>
            <a:off x="0" y="0"/>
            <a:ext cx="12191999" cy="6858000"/>
          </a:xfrm>
          <a:prstGeom prst="rect">
            <a:avLst/>
          </a:prstGeom>
          <a:solidFill>
            <a:srgbClr val="1573C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600"/>
          </a:p>
        </p:txBody>
      </p:sp>
      <p:sp>
        <p:nvSpPr>
          <p:cNvPr id="2" name="Title 1"/>
          <p:cNvSpPr>
            <a:spLocks noGrp="1"/>
          </p:cNvSpPr>
          <p:nvPr>
            <p:ph type="title"/>
          </p:nvPr>
        </p:nvSpPr>
        <p:spPr>
          <a:xfrm>
            <a:off x="342242" y="194430"/>
            <a:ext cx="11528917" cy="594360"/>
          </a:xfrm>
        </p:spPr>
        <p:txBody>
          <a:bodyPr>
            <a:noAutofit/>
          </a:bodyPr>
          <a:lstStyle>
            <a:lvl1pPr>
              <a:defRPr sz="2585">
                <a:solidFill>
                  <a:schemeClr val="bg1"/>
                </a:solidFill>
              </a:defRPr>
            </a:lvl1pPr>
          </a:lstStyle>
          <a:p>
            <a:r>
              <a:rPr lang="en-US"/>
              <a:t>Click to edit Master title style</a:t>
            </a:r>
          </a:p>
        </p:txBody>
      </p:sp>
      <p:sp>
        <p:nvSpPr>
          <p:cNvPr id="3" name="Content Placeholder 2"/>
          <p:cNvSpPr>
            <a:spLocks noGrp="1"/>
          </p:cNvSpPr>
          <p:nvPr>
            <p:ph idx="1"/>
          </p:nvPr>
        </p:nvSpPr>
        <p:spPr>
          <a:xfrm>
            <a:off x="342242" y="801390"/>
            <a:ext cx="11528917" cy="5227768"/>
          </a:xfrm>
        </p:spPr>
        <p:txBody>
          <a:bodyPr>
            <a:noAutofit/>
          </a:bodyPr>
          <a:lstStyle>
            <a:lvl1pPr>
              <a:spcAft>
                <a:spcPts val="738"/>
              </a:spcAft>
              <a:defRPr sz="1969"/>
            </a:lvl1pPr>
            <a:lvl2pPr marL="450186">
              <a:defRPr sz="1969"/>
            </a:lvl2pPr>
            <a:lvl3pPr marL="900372">
              <a:defRPr sz="1969"/>
            </a:lvl3pPr>
            <a:lvl4pPr marL="1350558">
              <a:defRPr sz="1969"/>
            </a:lvl4pPr>
            <a:lvl5pPr marL="1800744">
              <a:defRPr sz="196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p:cNvGrpSpPr/>
          <p:nvPr userDrawn="1"/>
        </p:nvGrpSpPr>
        <p:grpSpPr>
          <a:xfrm>
            <a:off x="5" y="6792455"/>
            <a:ext cx="12191999" cy="73745"/>
            <a:chOff x="1" y="6792449"/>
            <a:chExt cx="9143999" cy="73745"/>
          </a:xfrm>
        </p:grpSpPr>
        <p:sp>
          <p:nvSpPr>
            <p:cNvPr id="8" name="Rectangle 7"/>
            <p:cNvSpPr/>
            <p:nvPr/>
          </p:nvSpPr>
          <p:spPr>
            <a:xfrm>
              <a:off x="5486400" y="6792449"/>
              <a:ext cx="1828800" cy="73745"/>
            </a:xfrm>
            <a:prstGeom prst="rect">
              <a:avLst/>
            </a:prstGeom>
            <a:solidFill>
              <a:srgbClr val="1740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9" name="Rectangle 8"/>
            <p:cNvSpPr/>
            <p:nvPr/>
          </p:nvSpPr>
          <p:spPr>
            <a:xfrm>
              <a:off x="1" y="6792449"/>
              <a:ext cx="1828800" cy="73745"/>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0" name="Rectangle 9"/>
            <p:cNvSpPr/>
            <p:nvPr/>
          </p:nvSpPr>
          <p:spPr>
            <a:xfrm>
              <a:off x="1828801" y="6792449"/>
              <a:ext cx="1828800" cy="73745"/>
            </a:xfrm>
            <a:prstGeom prst="rect">
              <a:avLst/>
            </a:prstGeom>
            <a:solidFill>
              <a:srgbClr val="2428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1" name="Rectangle 10"/>
            <p:cNvSpPr/>
            <p:nvPr/>
          </p:nvSpPr>
          <p:spPr>
            <a:xfrm>
              <a:off x="3657601" y="6792450"/>
              <a:ext cx="1828800" cy="73743"/>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2" name="Rectangle 11"/>
            <p:cNvSpPr/>
            <p:nvPr/>
          </p:nvSpPr>
          <p:spPr>
            <a:xfrm>
              <a:off x="7315200" y="6792450"/>
              <a:ext cx="1828800" cy="73743"/>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grpSp>
      <p:sp>
        <p:nvSpPr>
          <p:cNvPr id="14" name="Slide Number Placeholder 5"/>
          <p:cNvSpPr>
            <a:spLocks noGrp="1"/>
          </p:cNvSpPr>
          <p:nvPr>
            <p:ph type="sldNum" sz="quarter" idx="4"/>
          </p:nvPr>
        </p:nvSpPr>
        <p:spPr>
          <a:xfrm>
            <a:off x="342240" y="6356358"/>
            <a:ext cx="2844800" cy="365125"/>
          </a:xfrm>
          <a:prstGeom prst="rect">
            <a:avLst/>
          </a:prstGeom>
        </p:spPr>
        <p:txBody>
          <a:bodyPr vert="horz" lIns="91440" tIns="45720" rIns="91440" bIns="45720" rtlCol="0" anchor="ctr"/>
          <a:lstStyle>
            <a:lvl1pPr algn="l">
              <a:defRPr sz="985" b="1">
                <a:solidFill>
                  <a:schemeClr val="tx1"/>
                </a:solidFill>
              </a:defRPr>
            </a:lvl1pPr>
          </a:lstStyle>
          <a:p>
            <a:fld id="{4F1FA912-FC24-3D46-8310-EAE10B51E2A1}" type="slidenum">
              <a:rPr lang="en-US" smtClean="0"/>
              <a:t>‹#›</a:t>
            </a:fld>
            <a:endParaRPr lang="en-US"/>
          </a:p>
        </p:txBody>
      </p:sp>
    </p:spTree>
    <p:extLst>
      <p:ext uri="{BB962C8B-B14F-4D97-AF65-F5344CB8AC3E}">
        <p14:creationId xmlns:p14="http://schemas.microsoft.com/office/powerpoint/2010/main" val="278735864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5_Table of Contets">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52A1B299-C3FC-4F91-BC27-2FBE32405CDA}"/>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15" name="Rectangle 14">
            <a:extLst>
              <a:ext uri="{FF2B5EF4-FFF2-40B4-BE49-F238E27FC236}">
                <a16:creationId xmlns:a16="http://schemas.microsoft.com/office/drawing/2014/main" id="{61B7A982-1A6D-4EB2-8AF3-C489E5006702}"/>
              </a:ext>
            </a:extLst>
          </p:cNvPr>
          <p:cNvSpPr/>
          <p:nvPr userDrawn="1"/>
        </p:nvSpPr>
        <p:spPr>
          <a:xfrm>
            <a:off x="1" y="0"/>
            <a:ext cx="12191994" cy="6858000"/>
          </a:xfrm>
          <a:prstGeom prst="rect">
            <a:avLst/>
          </a:prstGeom>
          <a:solidFill>
            <a:srgbClr val="1573C5">
              <a:alpha val="89804"/>
            </a:srgb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600"/>
          </a:p>
        </p:txBody>
      </p:sp>
      <p:sp>
        <p:nvSpPr>
          <p:cNvPr id="2" name="Title 1"/>
          <p:cNvSpPr>
            <a:spLocks noGrp="1"/>
          </p:cNvSpPr>
          <p:nvPr>
            <p:ph type="title"/>
          </p:nvPr>
        </p:nvSpPr>
        <p:spPr>
          <a:xfrm>
            <a:off x="342242" y="194430"/>
            <a:ext cx="11528917" cy="594360"/>
          </a:xfrm>
        </p:spPr>
        <p:txBody>
          <a:bodyPr>
            <a:noAutofit/>
          </a:bodyPr>
          <a:lstStyle>
            <a:lvl1pPr>
              <a:defRPr sz="2585"/>
            </a:lvl1pPr>
          </a:lstStyle>
          <a:p>
            <a:r>
              <a:rPr lang="en-US"/>
              <a:t>Click to edit Master title style</a:t>
            </a:r>
          </a:p>
        </p:txBody>
      </p:sp>
      <p:sp>
        <p:nvSpPr>
          <p:cNvPr id="3" name="Content Placeholder 2"/>
          <p:cNvSpPr>
            <a:spLocks noGrp="1"/>
          </p:cNvSpPr>
          <p:nvPr>
            <p:ph idx="1"/>
          </p:nvPr>
        </p:nvSpPr>
        <p:spPr>
          <a:xfrm>
            <a:off x="342242" y="801390"/>
            <a:ext cx="11528917" cy="5227768"/>
          </a:xfrm>
        </p:spPr>
        <p:txBody>
          <a:bodyPr>
            <a:noAutofit/>
          </a:bodyPr>
          <a:lstStyle>
            <a:lvl1pPr>
              <a:spcAft>
                <a:spcPts val="738"/>
              </a:spcAft>
              <a:defRPr sz="1969"/>
            </a:lvl1pPr>
            <a:lvl2pPr marL="450186">
              <a:defRPr sz="1969"/>
            </a:lvl2pPr>
            <a:lvl3pPr marL="900372">
              <a:defRPr sz="1969"/>
            </a:lvl3pPr>
            <a:lvl4pPr marL="1350558">
              <a:defRPr sz="1969"/>
            </a:lvl4pPr>
            <a:lvl5pPr marL="1800744">
              <a:defRPr sz="196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p:cNvGrpSpPr/>
          <p:nvPr userDrawn="1"/>
        </p:nvGrpSpPr>
        <p:grpSpPr>
          <a:xfrm>
            <a:off x="5" y="6792455"/>
            <a:ext cx="12191999" cy="73745"/>
            <a:chOff x="1" y="6792449"/>
            <a:chExt cx="9143999" cy="73745"/>
          </a:xfrm>
        </p:grpSpPr>
        <p:sp>
          <p:nvSpPr>
            <p:cNvPr id="8" name="Rectangle 7"/>
            <p:cNvSpPr/>
            <p:nvPr/>
          </p:nvSpPr>
          <p:spPr>
            <a:xfrm>
              <a:off x="5486400" y="6792449"/>
              <a:ext cx="1828800" cy="73745"/>
            </a:xfrm>
            <a:prstGeom prst="rect">
              <a:avLst/>
            </a:prstGeom>
            <a:solidFill>
              <a:srgbClr val="1740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9" name="Rectangle 8"/>
            <p:cNvSpPr/>
            <p:nvPr/>
          </p:nvSpPr>
          <p:spPr>
            <a:xfrm>
              <a:off x="1" y="6792449"/>
              <a:ext cx="1828800" cy="73745"/>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0" name="Rectangle 9"/>
            <p:cNvSpPr/>
            <p:nvPr/>
          </p:nvSpPr>
          <p:spPr>
            <a:xfrm>
              <a:off x="1828801" y="6792449"/>
              <a:ext cx="1828800" cy="73745"/>
            </a:xfrm>
            <a:prstGeom prst="rect">
              <a:avLst/>
            </a:prstGeom>
            <a:solidFill>
              <a:srgbClr val="2428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1" name="Rectangle 10"/>
            <p:cNvSpPr/>
            <p:nvPr/>
          </p:nvSpPr>
          <p:spPr>
            <a:xfrm>
              <a:off x="3657601" y="6792450"/>
              <a:ext cx="1828800" cy="73743"/>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2" name="Rectangle 11"/>
            <p:cNvSpPr/>
            <p:nvPr/>
          </p:nvSpPr>
          <p:spPr>
            <a:xfrm>
              <a:off x="7315200" y="6792450"/>
              <a:ext cx="1828800" cy="73743"/>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grpSp>
      <p:sp>
        <p:nvSpPr>
          <p:cNvPr id="14" name="Slide Number Placeholder 5"/>
          <p:cNvSpPr>
            <a:spLocks noGrp="1"/>
          </p:cNvSpPr>
          <p:nvPr>
            <p:ph type="sldNum" sz="quarter" idx="4"/>
          </p:nvPr>
        </p:nvSpPr>
        <p:spPr>
          <a:xfrm>
            <a:off x="342240" y="6356358"/>
            <a:ext cx="2844800" cy="365125"/>
          </a:xfrm>
          <a:prstGeom prst="rect">
            <a:avLst/>
          </a:prstGeom>
        </p:spPr>
        <p:txBody>
          <a:bodyPr vert="horz" lIns="91440" tIns="45720" rIns="91440" bIns="45720" rtlCol="0" anchor="ctr"/>
          <a:lstStyle>
            <a:lvl1pPr algn="l">
              <a:defRPr sz="985" b="1">
                <a:solidFill>
                  <a:schemeClr val="tx1"/>
                </a:solidFill>
              </a:defRPr>
            </a:lvl1pPr>
          </a:lstStyle>
          <a:p>
            <a:fld id="{4F1FA912-FC24-3D46-8310-EAE10B51E2A1}" type="slidenum">
              <a:rPr lang="en-US" smtClean="0"/>
              <a:t>‹#›</a:t>
            </a:fld>
            <a:endParaRPr lang="en-US"/>
          </a:p>
        </p:txBody>
      </p:sp>
    </p:spTree>
    <p:extLst>
      <p:ext uri="{BB962C8B-B14F-4D97-AF65-F5344CB8AC3E}">
        <p14:creationId xmlns:p14="http://schemas.microsoft.com/office/powerpoint/2010/main" val="219133639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Table of Contets">
    <p:bg>
      <p:bgPr>
        <a:solidFill>
          <a:srgbClr val="2A3469"/>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42242" y="194430"/>
            <a:ext cx="11528917" cy="594360"/>
          </a:xfrm>
        </p:spPr>
        <p:txBody>
          <a:bodyPr>
            <a:noAutofit/>
          </a:bodyPr>
          <a:lstStyle>
            <a:lvl1pPr>
              <a:defRPr sz="2585">
                <a:solidFill>
                  <a:schemeClr val="bg1"/>
                </a:solidFill>
              </a:defRPr>
            </a:lvl1pPr>
          </a:lstStyle>
          <a:p>
            <a:r>
              <a:rPr lang="en-US"/>
              <a:t>Click to edit Master title style</a:t>
            </a:r>
          </a:p>
        </p:txBody>
      </p:sp>
      <p:sp>
        <p:nvSpPr>
          <p:cNvPr id="3" name="Content Placeholder 2"/>
          <p:cNvSpPr>
            <a:spLocks noGrp="1"/>
          </p:cNvSpPr>
          <p:nvPr>
            <p:ph idx="1"/>
          </p:nvPr>
        </p:nvSpPr>
        <p:spPr>
          <a:xfrm>
            <a:off x="342242" y="801390"/>
            <a:ext cx="11528917" cy="5227768"/>
          </a:xfrm>
        </p:spPr>
        <p:txBody>
          <a:bodyPr>
            <a:noAutofit/>
          </a:bodyPr>
          <a:lstStyle>
            <a:lvl1pPr>
              <a:spcAft>
                <a:spcPts val="738"/>
              </a:spcAft>
              <a:buClr>
                <a:schemeClr val="bg1"/>
              </a:buClr>
              <a:defRPr sz="1969">
                <a:solidFill>
                  <a:schemeClr val="bg1"/>
                </a:solidFill>
              </a:defRPr>
            </a:lvl1pPr>
            <a:lvl2pPr marL="450186">
              <a:buClr>
                <a:schemeClr val="bg1"/>
              </a:buClr>
              <a:defRPr sz="1969">
                <a:solidFill>
                  <a:schemeClr val="bg1"/>
                </a:solidFill>
              </a:defRPr>
            </a:lvl2pPr>
            <a:lvl3pPr marL="900372">
              <a:buClr>
                <a:schemeClr val="bg1"/>
              </a:buClr>
              <a:defRPr sz="1969">
                <a:solidFill>
                  <a:schemeClr val="bg1"/>
                </a:solidFill>
              </a:defRPr>
            </a:lvl3pPr>
            <a:lvl4pPr marL="1350558">
              <a:buClr>
                <a:schemeClr val="bg1"/>
              </a:buClr>
              <a:defRPr sz="1969">
                <a:solidFill>
                  <a:schemeClr val="bg1"/>
                </a:solidFill>
              </a:defRPr>
            </a:lvl4pPr>
            <a:lvl5pPr marL="1800744">
              <a:buClr>
                <a:schemeClr val="bg1"/>
              </a:buClr>
              <a:defRPr sz="196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p:cNvGrpSpPr/>
          <p:nvPr userDrawn="1"/>
        </p:nvGrpSpPr>
        <p:grpSpPr>
          <a:xfrm>
            <a:off x="5" y="6792455"/>
            <a:ext cx="12191999" cy="73745"/>
            <a:chOff x="1" y="6792449"/>
            <a:chExt cx="9143999" cy="73745"/>
          </a:xfrm>
        </p:grpSpPr>
        <p:sp>
          <p:nvSpPr>
            <p:cNvPr id="8" name="Rectangle 7"/>
            <p:cNvSpPr/>
            <p:nvPr/>
          </p:nvSpPr>
          <p:spPr>
            <a:xfrm>
              <a:off x="5486400" y="6792449"/>
              <a:ext cx="1828800" cy="73745"/>
            </a:xfrm>
            <a:prstGeom prst="rect">
              <a:avLst/>
            </a:prstGeom>
            <a:solidFill>
              <a:srgbClr val="1740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9" name="Rectangle 8"/>
            <p:cNvSpPr/>
            <p:nvPr/>
          </p:nvSpPr>
          <p:spPr>
            <a:xfrm>
              <a:off x="1" y="6792449"/>
              <a:ext cx="1828800" cy="73745"/>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0" name="Rectangle 9"/>
            <p:cNvSpPr/>
            <p:nvPr/>
          </p:nvSpPr>
          <p:spPr>
            <a:xfrm>
              <a:off x="1828801" y="6792449"/>
              <a:ext cx="1828800" cy="73745"/>
            </a:xfrm>
            <a:prstGeom prst="rect">
              <a:avLst/>
            </a:prstGeom>
            <a:solidFill>
              <a:srgbClr val="2428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1" name="Rectangle 10"/>
            <p:cNvSpPr/>
            <p:nvPr/>
          </p:nvSpPr>
          <p:spPr>
            <a:xfrm>
              <a:off x="3657601" y="6792450"/>
              <a:ext cx="1828800" cy="73743"/>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2" name="Rectangle 11"/>
            <p:cNvSpPr/>
            <p:nvPr/>
          </p:nvSpPr>
          <p:spPr>
            <a:xfrm>
              <a:off x="7315200" y="6792450"/>
              <a:ext cx="1828800" cy="73743"/>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grpSp>
      <p:sp>
        <p:nvSpPr>
          <p:cNvPr id="14" name="Slide Number Placeholder 5"/>
          <p:cNvSpPr>
            <a:spLocks noGrp="1"/>
          </p:cNvSpPr>
          <p:nvPr>
            <p:ph type="sldNum" sz="quarter" idx="4"/>
          </p:nvPr>
        </p:nvSpPr>
        <p:spPr>
          <a:xfrm>
            <a:off x="342240" y="6356358"/>
            <a:ext cx="2844800" cy="365125"/>
          </a:xfrm>
          <a:prstGeom prst="rect">
            <a:avLst/>
          </a:prstGeom>
        </p:spPr>
        <p:txBody>
          <a:bodyPr vert="horz" lIns="91440" tIns="45720" rIns="91440" bIns="45720" rtlCol="0" anchor="ctr"/>
          <a:lstStyle>
            <a:lvl1pPr algn="l">
              <a:defRPr sz="985" b="1">
                <a:solidFill>
                  <a:schemeClr val="bg1"/>
                </a:solidFill>
              </a:defRPr>
            </a:lvl1pPr>
          </a:lstStyle>
          <a:p>
            <a:fld id="{4F1FA912-FC24-3D46-8310-EAE10B51E2A1}" type="slidenum">
              <a:rPr lang="en-US" smtClean="0"/>
              <a:pPr/>
              <a:t>‹#›</a:t>
            </a:fld>
            <a:endParaRPr lang="en-US"/>
          </a:p>
        </p:txBody>
      </p:sp>
      <p:sp>
        <p:nvSpPr>
          <p:cNvPr id="4" name="Rectangle 3">
            <a:extLst>
              <a:ext uri="{FF2B5EF4-FFF2-40B4-BE49-F238E27FC236}">
                <a16:creationId xmlns:a16="http://schemas.microsoft.com/office/drawing/2014/main" id="{B8220D95-DAE1-4F82-BB86-4344ECA48E95}"/>
              </a:ext>
            </a:extLst>
          </p:cNvPr>
          <p:cNvSpPr/>
          <p:nvPr userDrawn="1"/>
        </p:nvSpPr>
        <p:spPr>
          <a:xfrm>
            <a:off x="10241280" y="6029158"/>
            <a:ext cx="1722120" cy="692325"/>
          </a:xfrm>
          <a:prstGeom prst="rect">
            <a:avLst/>
          </a:prstGeom>
          <a:solidFill>
            <a:srgbClr val="2A346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600"/>
          </a:p>
        </p:txBody>
      </p:sp>
      <p:pic>
        <p:nvPicPr>
          <p:cNvPr id="13" name="Graphic 12">
            <a:extLst>
              <a:ext uri="{FF2B5EF4-FFF2-40B4-BE49-F238E27FC236}">
                <a16:creationId xmlns:a16="http://schemas.microsoft.com/office/drawing/2014/main" id="{9716CD73-2D50-499E-A3B3-CCC473C3DD2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455559" y="6143625"/>
            <a:ext cx="1394201" cy="464733"/>
          </a:xfrm>
          <a:prstGeom prst="rect">
            <a:avLst/>
          </a:prstGeom>
        </p:spPr>
      </p:pic>
    </p:spTree>
    <p:extLst>
      <p:ext uri="{BB962C8B-B14F-4D97-AF65-F5344CB8AC3E}">
        <p14:creationId xmlns:p14="http://schemas.microsoft.com/office/powerpoint/2010/main" val="37530389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_Table of Contets">
    <p:bg>
      <p:bgPr>
        <a:solidFill>
          <a:srgbClr val="277DA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42242" y="194430"/>
            <a:ext cx="11528917" cy="594360"/>
          </a:xfrm>
        </p:spPr>
        <p:txBody>
          <a:bodyPr>
            <a:noAutofit/>
          </a:bodyPr>
          <a:lstStyle>
            <a:lvl1pPr>
              <a:defRPr sz="2585">
                <a:solidFill>
                  <a:schemeClr val="bg1"/>
                </a:solidFill>
              </a:defRPr>
            </a:lvl1pPr>
          </a:lstStyle>
          <a:p>
            <a:r>
              <a:rPr lang="en-US"/>
              <a:t>Click to edit Master title style</a:t>
            </a:r>
          </a:p>
        </p:txBody>
      </p:sp>
      <p:sp>
        <p:nvSpPr>
          <p:cNvPr id="3" name="Content Placeholder 2"/>
          <p:cNvSpPr>
            <a:spLocks noGrp="1"/>
          </p:cNvSpPr>
          <p:nvPr>
            <p:ph idx="1"/>
          </p:nvPr>
        </p:nvSpPr>
        <p:spPr>
          <a:xfrm>
            <a:off x="342242" y="801390"/>
            <a:ext cx="11528917" cy="5227768"/>
          </a:xfrm>
        </p:spPr>
        <p:txBody>
          <a:bodyPr>
            <a:noAutofit/>
          </a:bodyPr>
          <a:lstStyle>
            <a:lvl1pPr>
              <a:spcAft>
                <a:spcPts val="738"/>
              </a:spcAft>
              <a:buClr>
                <a:schemeClr val="bg1"/>
              </a:buClr>
              <a:defRPr sz="1969">
                <a:solidFill>
                  <a:schemeClr val="bg1"/>
                </a:solidFill>
              </a:defRPr>
            </a:lvl1pPr>
            <a:lvl2pPr marL="450186">
              <a:buClr>
                <a:schemeClr val="bg1"/>
              </a:buClr>
              <a:defRPr sz="1969">
                <a:solidFill>
                  <a:schemeClr val="bg1"/>
                </a:solidFill>
              </a:defRPr>
            </a:lvl2pPr>
            <a:lvl3pPr marL="900372">
              <a:buClr>
                <a:schemeClr val="bg1"/>
              </a:buClr>
              <a:defRPr sz="1969">
                <a:solidFill>
                  <a:schemeClr val="bg1"/>
                </a:solidFill>
              </a:defRPr>
            </a:lvl3pPr>
            <a:lvl4pPr marL="1350558">
              <a:buClr>
                <a:schemeClr val="bg1"/>
              </a:buClr>
              <a:defRPr sz="1969">
                <a:solidFill>
                  <a:schemeClr val="bg1"/>
                </a:solidFill>
              </a:defRPr>
            </a:lvl4pPr>
            <a:lvl5pPr marL="1800744">
              <a:buClr>
                <a:schemeClr val="bg1"/>
              </a:buClr>
              <a:defRPr sz="196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p:cNvGrpSpPr/>
          <p:nvPr userDrawn="1"/>
        </p:nvGrpSpPr>
        <p:grpSpPr>
          <a:xfrm>
            <a:off x="5" y="6792455"/>
            <a:ext cx="12191999" cy="73745"/>
            <a:chOff x="1" y="6792449"/>
            <a:chExt cx="9143999" cy="73745"/>
          </a:xfrm>
        </p:grpSpPr>
        <p:sp>
          <p:nvSpPr>
            <p:cNvPr id="8" name="Rectangle 7"/>
            <p:cNvSpPr/>
            <p:nvPr/>
          </p:nvSpPr>
          <p:spPr>
            <a:xfrm>
              <a:off x="5486400" y="6792449"/>
              <a:ext cx="1828800" cy="73745"/>
            </a:xfrm>
            <a:prstGeom prst="rect">
              <a:avLst/>
            </a:prstGeom>
            <a:solidFill>
              <a:srgbClr val="1740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9" name="Rectangle 8"/>
            <p:cNvSpPr/>
            <p:nvPr/>
          </p:nvSpPr>
          <p:spPr>
            <a:xfrm>
              <a:off x="1" y="6792449"/>
              <a:ext cx="1828800" cy="73745"/>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0" name="Rectangle 9"/>
            <p:cNvSpPr/>
            <p:nvPr/>
          </p:nvSpPr>
          <p:spPr>
            <a:xfrm>
              <a:off x="1828801" y="6792449"/>
              <a:ext cx="1828800" cy="73745"/>
            </a:xfrm>
            <a:prstGeom prst="rect">
              <a:avLst/>
            </a:prstGeom>
            <a:solidFill>
              <a:srgbClr val="2428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1" name="Rectangle 10"/>
            <p:cNvSpPr/>
            <p:nvPr/>
          </p:nvSpPr>
          <p:spPr>
            <a:xfrm>
              <a:off x="3657601" y="6792450"/>
              <a:ext cx="1828800" cy="73743"/>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2" name="Rectangle 11"/>
            <p:cNvSpPr/>
            <p:nvPr/>
          </p:nvSpPr>
          <p:spPr>
            <a:xfrm>
              <a:off x="7315200" y="6792450"/>
              <a:ext cx="1828800" cy="73743"/>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grpSp>
      <p:sp>
        <p:nvSpPr>
          <p:cNvPr id="14" name="Slide Number Placeholder 5"/>
          <p:cNvSpPr>
            <a:spLocks noGrp="1"/>
          </p:cNvSpPr>
          <p:nvPr>
            <p:ph type="sldNum" sz="quarter" idx="4"/>
          </p:nvPr>
        </p:nvSpPr>
        <p:spPr>
          <a:xfrm>
            <a:off x="342240" y="6356358"/>
            <a:ext cx="2844800" cy="365125"/>
          </a:xfrm>
          <a:prstGeom prst="rect">
            <a:avLst/>
          </a:prstGeom>
        </p:spPr>
        <p:txBody>
          <a:bodyPr vert="horz" lIns="91440" tIns="45720" rIns="91440" bIns="45720" rtlCol="0" anchor="ctr"/>
          <a:lstStyle>
            <a:lvl1pPr algn="l">
              <a:defRPr sz="985" b="1">
                <a:solidFill>
                  <a:schemeClr val="bg1"/>
                </a:solidFill>
              </a:defRPr>
            </a:lvl1pPr>
          </a:lstStyle>
          <a:p>
            <a:fld id="{4F1FA912-FC24-3D46-8310-EAE10B51E2A1}" type="slidenum">
              <a:rPr lang="en-US" smtClean="0"/>
              <a:pPr/>
              <a:t>‹#›</a:t>
            </a:fld>
            <a:endParaRPr lang="en-US"/>
          </a:p>
        </p:txBody>
      </p:sp>
      <p:sp>
        <p:nvSpPr>
          <p:cNvPr id="4" name="Rectangle 3">
            <a:extLst>
              <a:ext uri="{FF2B5EF4-FFF2-40B4-BE49-F238E27FC236}">
                <a16:creationId xmlns:a16="http://schemas.microsoft.com/office/drawing/2014/main" id="{B8220D95-DAE1-4F82-BB86-4344ECA48E95}"/>
              </a:ext>
            </a:extLst>
          </p:cNvPr>
          <p:cNvSpPr/>
          <p:nvPr userDrawn="1"/>
        </p:nvSpPr>
        <p:spPr>
          <a:xfrm>
            <a:off x="10241280" y="6029158"/>
            <a:ext cx="1722120" cy="692325"/>
          </a:xfrm>
          <a:prstGeom prst="rect">
            <a:avLst/>
          </a:prstGeom>
          <a:solidFill>
            <a:srgbClr val="277DA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600"/>
          </a:p>
        </p:txBody>
      </p:sp>
      <p:pic>
        <p:nvPicPr>
          <p:cNvPr id="13" name="Graphic 12">
            <a:extLst>
              <a:ext uri="{FF2B5EF4-FFF2-40B4-BE49-F238E27FC236}">
                <a16:creationId xmlns:a16="http://schemas.microsoft.com/office/drawing/2014/main" id="{9716CD73-2D50-499E-A3B3-CCC473C3DD2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455559" y="6143625"/>
            <a:ext cx="1394201" cy="464733"/>
          </a:xfrm>
          <a:prstGeom prst="rect">
            <a:avLst/>
          </a:prstGeom>
        </p:spPr>
      </p:pic>
    </p:spTree>
    <p:extLst>
      <p:ext uri="{BB962C8B-B14F-4D97-AF65-F5344CB8AC3E}">
        <p14:creationId xmlns:p14="http://schemas.microsoft.com/office/powerpoint/2010/main" val="322534206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Table of Contets">
    <p:bg>
      <p:bgPr>
        <a:solidFill>
          <a:srgbClr val="1293C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42242" y="194430"/>
            <a:ext cx="11528917" cy="594360"/>
          </a:xfrm>
        </p:spPr>
        <p:txBody>
          <a:bodyPr>
            <a:noAutofit/>
          </a:bodyPr>
          <a:lstStyle>
            <a:lvl1pPr>
              <a:defRPr sz="2585">
                <a:solidFill>
                  <a:schemeClr val="bg1"/>
                </a:solidFill>
              </a:defRPr>
            </a:lvl1pPr>
          </a:lstStyle>
          <a:p>
            <a:r>
              <a:rPr lang="en-US"/>
              <a:t>Click to edit Master title style</a:t>
            </a:r>
          </a:p>
        </p:txBody>
      </p:sp>
      <p:sp>
        <p:nvSpPr>
          <p:cNvPr id="3" name="Content Placeholder 2"/>
          <p:cNvSpPr>
            <a:spLocks noGrp="1"/>
          </p:cNvSpPr>
          <p:nvPr>
            <p:ph idx="1"/>
          </p:nvPr>
        </p:nvSpPr>
        <p:spPr>
          <a:xfrm>
            <a:off x="342242" y="801390"/>
            <a:ext cx="11528917" cy="5227768"/>
          </a:xfrm>
        </p:spPr>
        <p:txBody>
          <a:bodyPr>
            <a:noAutofit/>
          </a:bodyPr>
          <a:lstStyle>
            <a:lvl1pPr>
              <a:spcAft>
                <a:spcPts val="738"/>
              </a:spcAft>
              <a:buClr>
                <a:schemeClr val="bg1"/>
              </a:buClr>
              <a:defRPr sz="1969">
                <a:solidFill>
                  <a:schemeClr val="bg1"/>
                </a:solidFill>
              </a:defRPr>
            </a:lvl1pPr>
            <a:lvl2pPr marL="450186">
              <a:buClr>
                <a:schemeClr val="bg1"/>
              </a:buClr>
              <a:defRPr sz="1969">
                <a:solidFill>
                  <a:schemeClr val="bg1"/>
                </a:solidFill>
              </a:defRPr>
            </a:lvl2pPr>
            <a:lvl3pPr marL="900372">
              <a:buClr>
                <a:schemeClr val="bg1"/>
              </a:buClr>
              <a:defRPr sz="1969">
                <a:solidFill>
                  <a:schemeClr val="bg1"/>
                </a:solidFill>
              </a:defRPr>
            </a:lvl3pPr>
            <a:lvl4pPr marL="1350558">
              <a:buClr>
                <a:schemeClr val="bg1"/>
              </a:buClr>
              <a:defRPr sz="1969">
                <a:solidFill>
                  <a:schemeClr val="bg1"/>
                </a:solidFill>
              </a:defRPr>
            </a:lvl4pPr>
            <a:lvl5pPr marL="1800744">
              <a:buClr>
                <a:schemeClr val="bg1"/>
              </a:buClr>
              <a:defRPr sz="196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p:cNvGrpSpPr/>
          <p:nvPr userDrawn="1"/>
        </p:nvGrpSpPr>
        <p:grpSpPr>
          <a:xfrm>
            <a:off x="5" y="6792455"/>
            <a:ext cx="12191999" cy="73745"/>
            <a:chOff x="1" y="6792449"/>
            <a:chExt cx="9143999" cy="73745"/>
          </a:xfrm>
        </p:grpSpPr>
        <p:sp>
          <p:nvSpPr>
            <p:cNvPr id="8" name="Rectangle 7"/>
            <p:cNvSpPr/>
            <p:nvPr/>
          </p:nvSpPr>
          <p:spPr>
            <a:xfrm>
              <a:off x="5486400" y="6792449"/>
              <a:ext cx="1828800" cy="73745"/>
            </a:xfrm>
            <a:prstGeom prst="rect">
              <a:avLst/>
            </a:prstGeom>
            <a:solidFill>
              <a:srgbClr val="1740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9" name="Rectangle 8"/>
            <p:cNvSpPr/>
            <p:nvPr/>
          </p:nvSpPr>
          <p:spPr>
            <a:xfrm>
              <a:off x="1" y="6792449"/>
              <a:ext cx="1828800" cy="73745"/>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0" name="Rectangle 9"/>
            <p:cNvSpPr/>
            <p:nvPr/>
          </p:nvSpPr>
          <p:spPr>
            <a:xfrm>
              <a:off x="1828801" y="6792449"/>
              <a:ext cx="1828800" cy="73745"/>
            </a:xfrm>
            <a:prstGeom prst="rect">
              <a:avLst/>
            </a:prstGeom>
            <a:solidFill>
              <a:srgbClr val="2428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1" name="Rectangle 10"/>
            <p:cNvSpPr/>
            <p:nvPr/>
          </p:nvSpPr>
          <p:spPr>
            <a:xfrm>
              <a:off x="3657601" y="6792450"/>
              <a:ext cx="1828800" cy="73743"/>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2" name="Rectangle 11"/>
            <p:cNvSpPr/>
            <p:nvPr/>
          </p:nvSpPr>
          <p:spPr>
            <a:xfrm>
              <a:off x="7315200" y="6792450"/>
              <a:ext cx="1828800" cy="73743"/>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grpSp>
      <p:sp>
        <p:nvSpPr>
          <p:cNvPr id="14" name="Slide Number Placeholder 5"/>
          <p:cNvSpPr>
            <a:spLocks noGrp="1"/>
          </p:cNvSpPr>
          <p:nvPr>
            <p:ph type="sldNum" sz="quarter" idx="4"/>
          </p:nvPr>
        </p:nvSpPr>
        <p:spPr>
          <a:xfrm>
            <a:off x="342240" y="6356358"/>
            <a:ext cx="2844800" cy="365125"/>
          </a:xfrm>
          <a:prstGeom prst="rect">
            <a:avLst/>
          </a:prstGeom>
        </p:spPr>
        <p:txBody>
          <a:bodyPr vert="horz" lIns="91440" tIns="45720" rIns="91440" bIns="45720" rtlCol="0" anchor="ctr"/>
          <a:lstStyle>
            <a:lvl1pPr algn="l">
              <a:defRPr sz="985" b="1">
                <a:solidFill>
                  <a:schemeClr val="bg1"/>
                </a:solidFill>
              </a:defRPr>
            </a:lvl1pPr>
          </a:lstStyle>
          <a:p>
            <a:fld id="{4F1FA912-FC24-3D46-8310-EAE10B51E2A1}" type="slidenum">
              <a:rPr lang="en-US" smtClean="0"/>
              <a:pPr/>
              <a:t>‹#›</a:t>
            </a:fld>
            <a:endParaRPr lang="en-US"/>
          </a:p>
        </p:txBody>
      </p:sp>
      <p:sp>
        <p:nvSpPr>
          <p:cNvPr id="4" name="Rectangle 3">
            <a:extLst>
              <a:ext uri="{FF2B5EF4-FFF2-40B4-BE49-F238E27FC236}">
                <a16:creationId xmlns:a16="http://schemas.microsoft.com/office/drawing/2014/main" id="{B8220D95-DAE1-4F82-BB86-4344ECA48E95}"/>
              </a:ext>
            </a:extLst>
          </p:cNvPr>
          <p:cNvSpPr/>
          <p:nvPr userDrawn="1"/>
        </p:nvSpPr>
        <p:spPr>
          <a:xfrm>
            <a:off x="10241280" y="6029158"/>
            <a:ext cx="1722120" cy="692325"/>
          </a:xfrm>
          <a:prstGeom prst="rect">
            <a:avLst/>
          </a:prstGeom>
          <a:solidFill>
            <a:srgbClr val="1293C8"/>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600"/>
          </a:p>
        </p:txBody>
      </p:sp>
      <p:pic>
        <p:nvPicPr>
          <p:cNvPr id="13" name="Graphic 12">
            <a:extLst>
              <a:ext uri="{FF2B5EF4-FFF2-40B4-BE49-F238E27FC236}">
                <a16:creationId xmlns:a16="http://schemas.microsoft.com/office/drawing/2014/main" id="{9716CD73-2D50-499E-A3B3-CCC473C3DD2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455559" y="6143625"/>
            <a:ext cx="1394201" cy="464733"/>
          </a:xfrm>
          <a:prstGeom prst="rect">
            <a:avLst/>
          </a:prstGeom>
        </p:spPr>
      </p:pic>
    </p:spTree>
    <p:extLst>
      <p:ext uri="{BB962C8B-B14F-4D97-AF65-F5344CB8AC3E}">
        <p14:creationId xmlns:p14="http://schemas.microsoft.com/office/powerpoint/2010/main" val="415011042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_Table of Contets">
    <p:bg>
      <p:bgPr>
        <a:solidFill>
          <a:srgbClr val="17425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42242" y="194430"/>
            <a:ext cx="11528917" cy="594360"/>
          </a:xfrm>
        </p:spPr>
        <p:txBody>
          <a:bodyPr>
            <a:noAutofit/>
          </a:bodyPr>
          <a:lstStyle>
            <a:lvl1pPr>
              <a:defRPr sz="2585">
                <a:solidFill>
                  <a:schemeClr val="bg1"/>
                </a:solidFill>
              </a:defRPr>
            </a:lvl1pPr>
          </a:lstStyle>
          <a:p>
            <a:r>
              <a:rPr lang="en-US"/>
              <a:t>Click to edit Master title style</a:t>
            </a:r>
          </a:p>
        </p:txBody>
      </p:sp>
      <p:sp>
        <p:nvSpPr>
          <p:cNvPr id="3" name="Content Placeholder 2"/>
          <p:cNvSpPr>
            <a:spLocks noGrp="1"/>
          </p:cNvSpPr>
          <p:nvPr>
            <p:ph idx="1"/>
          </p:nvPr>
        </p:nvSpPr>
        <p:spPr>
          <a:xfrm>
            <a:off x="342242" y="801390"/>
            <a:ext cx="11528917" cy="5227768"/>
          </a:xfrm>
        </p:spPr>
        <p:txBody>
          <a:bodyPr>
            <a:noAutofit/>
          </a:bodyPr>
          <a:lstStyle>
            <a:lvl1pPr>
              <a:spcAft>
                <a:spcPts val="738"/>
              </a:spcAft>
              <a:buClr>
                <a:schemeClr val="bg1"/>
              </a:buClr>
              <a:defRPr sz="1969">
                <a:solidFill>
                  <a:schemeClr val="bg1"/>
                </a:solidFill>
              </a:defRPr>
            </a:lvl1pPr>
            <a:lvl2pPr marL="450186">
              <a:buClr>
                <a:schemeClr val="bg1"/>
              </a:buClr>
              <a:defRPr sz="1969">
                <a:solidFill>
                  <a:schemeClr val="bg1"/>
                </a:solidFill>
              </a:defRPr>
            </a:lvl2pPr>
            <a:lvl3pPr marL="900372">
              <a:buClr>
                <a:schemeClr val="bg1"/>
              </a:buClr>
              <a:defRPr sz="1969">
                <a:solidFill>
                  <a:schemeClr val="bg1"/>
                </a:solidFill>
              </a:defRPr>
            </a:lvl3pPr>
            <a:lvl4pPr marL="1350558">
              <a:buClr>
                <a:schemeClr val="bg1"/>
              </a:buClr>
              <a:defRPr sz="1969">
                <a:solidFill>
                  <a:schemeClr val="bg1"/>
                </a:solidFill>
              </a:defRPr>
            </a:lvl4pPr>
            <a:lvl5pPr marL="1800744">
              <a:buClr>
                <a:schemeClr val="bg1"/>
              </a:buClr>
              <a:defRPr sz="196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p:cNvGrpSpPr/>
          <p:nvPr userDrawn="1"/>
        </p:nvGrpSpPr>
        <p:grpSpPr>
          <a:xfrm>
            <a:off x="5" y="6792455"/>
            <a:ext cx="12191999" cy="73745"/>
            <a:chOff x="1" y="6792449"/>
            <a:chExt cx="9143999" cy="73745"/>
          </a:xfrm>
        </p:grpSpPr>
        <p:sp>
          <p:nvSpPr>
            <p:cNvPr id="8" name="Rectangle 7"/>
            <p:cNvSpPr/>
            <p:nvPr/>
          </p:nvSpPr>
          <p:spPr>
            <a:xfrm>
              <a:off x="5486400" y="6792449"/>
              <a:ext cx="1828800" cy="73745"/>
            </a:xfrm>
            <a:prstGeom prst="rect">
              <a:avLst/>
            </a:prstGeom>
            <a:solidFill>
              <a:srgbClr val="1740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9" name="Rectangle 8"/>
            <p:cNvSpPr/>
            <p:nvPr/>
          </p:nvSpPr>
          <p:spPr>
            <a:xfrm>
              <a:off x="1" y="6792449"/>
              <a:ext cx="1828800" cy="73745"/>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0" name="Rectangle 9"/>
            <p:cNvSpPr/>
            <p:nvPr/>
          </p:nvSpPr>
          <p:spPr>
            <a:xfrm>
              <a:off x="1828801" y="6792449"/>
              <a:ext cx="1828800" cy="73745"/>
            </a:xfrm>
            <a:prstGeom prst="rect">
              <a:avLst/>
            </a:prstGeom>
            <a:solidFill>
              <a:srgbClr val="2428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1" name="Rectangle 10"/>
            <p:cNvSpPr/>
            <p:nvPr/>
          </p:nvSpPr>
          <p:spPr>
            <a:xfrm>
              <a:off x="3657601" y="6792450"/>
              <a:ext cx="1828800" cy="73743"/>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2" name="Rectangle 11"/>
            <p:cNvSpPr/>
            <p:nvPr/>
          </p:nvSpPr>
          <p:spPr>
            <a:xfrm>
              <a:off x="7315200" y="6792450"/>
              <a:ext cx="1828800" cy="73743"/>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grpSp>
      <p:sp>
        <p:nvSpPr>
          <p:cNvPr id="14" name="Slide Number Placeholder 5"/>
          <p:cNvSpPr>
            <a:spLocks noGrp="1"/>
          </p:cNvSpPr>
          <p:nvPr>
            <p:ph type="sldNum" sz="quarter" idx="4"/>
          </p:nvPr>
        </p:nvSpPr>
        <p:spPr>
          <a:xfrm>
            <a:off x="342240" y="6356358"/>
            <a:ext cx="2844800" cy="365125"/>
          </a:xfrm>
          <a:prstGeom prst="rect">
            <a:avLst/>
          </a:prstGeom>
        </p:spPr>
        <p:txBody>
          <a:bodyPr vert="horz" lIns="91440" tIns="45720" rIns="91440" bIns="45720" rtlCol="0" anchor="ctr"/>
          <a:lstStyle>
            <a:lvl1pPr algn="l">
              <a:defRPr sz="985" b="1">
                <a:solidFill>
                  <a:schemeClr val="bg1"/>
                </a:solidFill>
              </a:defRPr>
            </a:lvl1pPr>
          </a:lstStyle>
          <a:p>
            <a:fld id="{4F1FA912-FC24-3D46-8310-EAE10B51E2A1}" type="slidenum">
              <a:rPr lang="en-US" smtClean="0"/>
              <a:pPr/>
              <a:t>‹#›</a:t>
            </a:fld>
            <a:endParaRPr lang="en-US"/>
          </a:p>
        </p:txBody>
      </p:sp>
      <p:sp>
        <p:nvSpPr>
          <p:cNvPr id="4" name="Rectangle 3">
            <a:extLst>
              <a:ext uri="{FF2B5EF4-FFF2-40B4-BE49-F238E27FC236}">
                <a16:creationId xmlns:a16="http://schemas.microsoft.com/office/drawing/2014/main" id="{B8220D95-DAE1-4F82-BB86-4344ECA48E95}"/>
              </a:ext>
            </a:extLst>
          </p:cNvPr>
          <p:cNvSpPr/>
          <p:nvPr userDrawn="1"/>
        </p:nvSpPr>
        <p:spPr>
          <a:xfrm>
            <a:off x="10241280" y="6029158"/>
            <a:ext cx="1722120" cy="692325"/>
          </a:xfrm>
          <a:prstGeom prst="rect">
            <a:avLst/>
          </a:prstGeom>
          <a:solidFill>
            <a:srgbClr val="17425A"/>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600"/>
          </a:p>
        </p:txBody>
      </p:sp>
      <p:pic>
        <p:nvPicPr>
          <p:cNvPr id="13" name="Graphic 12">
            <a:extLst>
              <a:ext uri="{FF2B5EF4-FFF2-40B4-BE49-F238E27FC236}">
                <a16:creationId xmlns:a16="http://schemas.microsoft.com/office/drawing/2014/main" id="{9716CD73-2D50-499E-A3B3-CCC473C3DD2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455559" y="6143625"/>
            <a:ext cx="1394201" cy="464733"/>
          </a:xfrm>
          <a:prstGeom prst="rect">
            <a:avLst/>
          </a:prstGeom>
        </p:spPr>
      </p:pic>
    </p:spTree>
    <p:extLst>
      <p:ext uri="{BB962C8B-B14F-4D97-AF65-F5344CB8AC3E}">
        <p14:creationId xmlns:p14="http://schemas.microsoft.com/office/powerpoint/2010/main" val="915379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 Slide - 01A">
    <p:spTree>
      <p:nvGrpSpPr>
        <p:cNvPr id="1" name=""/>
        <p:cNvGrpSpPr/>
        <p:nvPr/>
      </p:nvGrpSpPr>
      <p:grpSpPr>
        <a:xfrm>
          <a:off x="0" y="0"/>
          <a:ext cx="0" cy="0"/>
          <a:chOff x="0" y="0"/>
          <a:chExt cx="0" cy="0"/>
        </a:xfrm>
      </p:grpSpPr>
      <p:sp>
        <p:nvSpPr>
          <p:cNvPr id="8" name="Content Placeholder 2"/>
          <p:cNvSpPr>
            <a:spLocks noGrp="1"/>
          </p:cNvSpPr>
          <p:nvPr>
            <p:ph idx="13"/>
          </p:nvPr>
        </p:nvSpPr>
        <p:spPr>
          <a:xfrm>
            <a:off x="342242" y="801394"/>
            <a:ext cx="11528917" cy="5227769"/>
          </a:xfrm>
        </p:spPr>
        <p:txBody>
          <a:bodyPr>
            <a:noAutofit/>
          </a:bodyPr>
          <a:lstStyle>
            <a:lvl1pPr marL="0" indent="0">
              <a:buFontTx/>
              <a:buNone/>
              <a:defRPr sz="1477"/>
            </a:lvl1pPr>
            <a:lvl2pPr marL="450186" indent="-225092">
              <a:buSzPct val="110000"/>
              <a:buFont typeface="Arial"/>
              <a:buChar char="•"/>
              <a:defRPr sz="1477"/>
            </a:lvl2pPr>
            <a:lvl3pPr marL="900372" indent="-225092">
              <a:buSzPct val="90000"/>
              <a:buFont typeface="Courier New"/>
              <a:buChar char="o"/>
              <a:defRPr sz="1477"/>
            </a:lvl3pPr>
            <a:lvl4pPr marL="1350558" indent="-225092">
              <a:buSzPct val="110000"/>
              <a:buFont typeface="Arial"/>
              <a:buChar char="•"/>
              <a:defRPr sz="1477"/>
            </a:lvl4pPr>
            <a:lvl5pPr marL="1800744" indent="-225092">
              <a:buSzPct val="90000"/>
              <a:buFont typeface="Courier New"/>
              <a:buChar char="o"/>
              <a:defRPr sz="14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p:cNvSpPr>
            <a:spLocks noGrp="1"/>
          </p:cNvSpPr>
          <p:nvPr>
            <p:ph type="title"/>
          </p:nvPr>
        </p:nvSpPr>
        <p:spPr>
          <a:xfrm>
            <a:off x="342243" y="194430"/>
            <a:ext cx="9747306" cy="594360"/>
          </a:xfrm>
        </p:spPr>
        <p:txBody>
          <a:bodyPr>
            <a:noAutofit/>
          </a:bodyPr>
          <a:lstStyle>
            <a:lvl1pPr>
              <a:defRPr sz="2585"/>
            </a:lvl1pPr>
          </a:lstStyle>
          <a:p>
            <a:r>
              <a:rPr lang="en-US"/>
              <a:t>Click to edit Master title style</a:t>
            </a:r>
          </a:p>
        </p:txBody>
      </p:sp>
      <p:pic>
        <p:nvPicPr>
          <p:cNvPr id="7" name="Graphic 6">
            <a:extLst>
              <a:ext uri="{FF2B5EF4-FFF2-40B4-BE49-F238E27FC236}">
                <a16:creationId xmlns:a16="http://schemas.microsoft.com/office/drawing/2014/main" id="{B538DB0D-71C7-44A8-B0E4-AA4B8AA7DF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49760" y="6150836"/>
            <a:ext cx="514350" cy="495300"/>
          </a:xfrm>
          <a:prstGeom prst="rect">
            <a:avLst/>
          </a:prstGeom>
        </p:spPr>
      </p:pic>
      <p:sp>
        <p:nvSpPr>
          <p:cNvPr id="19" name="Slide Number Placeholder 5"/>
          <p:cNvSpPr>
            <a:spLocks noGrp="1"/>
          </p:cNvSpPr>
          <p:nvPr>
            <p:ph type="sldNum" sz="quarter" idx="4"/>
          </p:nvPr>
        </p:nvSpPr>
        <p:spPr>
          <a:xfrm>
            <a:off x="11849760" y="6289432"/>
            <a:ext cx="342240" cy="365125"/>
          </a:xfrm>
          <a:prstGeom prst="rect">
            <a:avLst/>
          </a:prstGeom>
        </p:spPr>
        <p:txBody>
          <a:bodyPr vert="horz" lIns="91440" tIns="45720" rIns="91440" bIns="45720" rtlCol="0" anchor="ctr"/>
          <a:lstStyle>
            <a:lvl1pPr algn="ctr">
              <a:defRPr sz="900" b="1">
                <a:solidFill>
                  <a:schemeClr val="bg1"/>
                </a:solidFill>
              </a:defRPr>
            </a:lvl1pPr>
          </a:lstStyle>
          <a:p>
            <a:fld id="{4F1FA912-FC24-3D46-8310-EAE10B51E2A1}" type="slidenum">
              <a:rPr lang="en-US" smtClean="0"/>
              <a:pPr/>
              <a:t>‹#›</a:t>
            </a:fld>
            <a:endParaRPr lang="en-US"/>
          </a:p>
        </p:txBody>
      </p:sp>
      <p:pic>
        <p:nvPicPr>
          <p:cNvPr id="13" name="Picture 12">
            <a:extLst>
              <a:ext uri="{FF2B5EF4-FFF2-40B4-BE49-F238E27FC236}">
                <a16:creationId xmlns:a16="http://schemas.microsoft.com/office/drawing/2014/main" id="{59B76E7A-E995-42D0-86B1-B3CE165F65D0}"/>
              </a:ext>
            </a:extLst>
          </p:cNvPr>
          <p:cNvPicPr>
            <a:picLocks noChangeAspect="1"/>
          </p:cNvPicPr>
          <p:nvPr userDrawn="1"/>
        </p:nvPicPr>
        <p:blipFill>
          <a:blip r:embed="rId4"/>
          <a:stretch>
            <a:fillRect/>
          </a:stretch>
        </p:blipFill>
        <p:spPr>
          <a:xfrm>
            <a:off x="9085245" y="6122812"/>
            <a:ext cx="1536244" cy="540758"/>
          </a:xfrm>
          <a:prstGeom prst="rect">
            <a:avLst/>
          </a:prstGeom>
        </p:spPr>
      </p:pic>
      <p:cxnSp>
        <p:nvCxnSpPr>
          <p:cNvPr id="3" name="Straight Connector 2">
            <a:extLst>
              <a:ext uri="{FF2B5EF4-FFF2-40B4-BE49-F238E27FC236}">
                <a16:creationId xmlns:a16="http://schemas.microsoft.com/office/drawing/2014/main" id="{3C969582-AEC3-486A-8CD1-A2094B14A31C}"/>
              </a:ext>
            </a:extLst>
          </p:cNvPr>
          <p:cNvCxnSpPr>
            <a:cxnSpLocks/>
          </p:cNvCxnSpPr>
          <p:nvPr userDrawn="1"/>
        </p:nvCxnSpPr>
        <p:spPr>
          <a:xfrm>
            <a:off x="10713555" y="6285230"/>
            <a:ext cx="0" cy="378340"/>
          </a:xfrm>
          <a:prstGeom prst="line">
            <a:avLst/>
          </a:prstGeom>
          <a:ln>
            <a:solidFill>
              <a:schemeClr val="tx2"/>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422551503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ent Slide - 01A">
    <p:spTree>
      <p:nvGrpSpPr>
        <p:cNvPr id="1" name=""/>
        <p:cNvGrpSpPr/>
        <p:nvPr/>
      </p:nvGrpSpPr>
      <p:grpSpPr>
        <a:xfrm>
          <a:off x="0" y="0"/>
          <a:ext cx="0" cy="0"/>
          <a:chOff x="0" y="0"/>
          <a:chExt cx="0" cy="0"/>
        </a:xfrm>
      </p:grpSpPr>
      <p:sp>
        <p:nvSpPr>
          <p:cNvPr id="8" name="Content Placeholder 2"/>
          <p:cNvSpPr>
            <a:spLocks noGrp="1"/>
          </p:cNvSpPr>
          <p:nvPr>
            <p:ph idx="13"/>
          </p:nvPr>
        </p:nvSpPr>
        <p:spPr>
          <a:xfrm>
            <a:off x="342242" y="801394"/>
            <a:ext cx="11528917" cy="5227769"/>
          </a:xfrm>
        </p:spPr>
        <p:txBody>
          <a:bodyPr>
            <a:noAutofit/>
          </a:bodyPr>
          <a:lstStyle>
            <a:lvl1pPr marL="0" indent="0">
              <a:buFontTx/>
              <a:buNone/>
              <a:defRPr sz="1477"/>
            </a:lvl1pPr>
            <a:lvl2pPr marL="450186" indent="-225092">
              <a:buSzPct val="110000"/>
              <a:buFont typeface="Arial"/>
              <a:buChar char="•"/>
              <a:defRPr sz="1477"/>
            </a:lvl2pPr>
            <a:lvl3pPr marL="900372" indent="-225092">
              <a:buSzPct val="90000"/>
              <a:buFont typeface="Courier New"/>
              <a:buChar char="o"/>
              <a:defRPr sz="1477"/>
            </a:lvl3pPr>
            <a:lvl4pPr marL="1350558" indent="-225092">
              <a:buSzPct val="110000"/>
              <a:buFont typeface="Arial"/>
              <a:buChar char="•"/>
              <a:defRPr sz="1477"/>
            </a:lvl4pPr>
            <a:lvl5pPr marL="1800744" indent="-225092">
              <a:buSzPct val="90000"/>
              <a:buFont typeface="Courier New"/>
              <a:buChar char="o"/>
              <a:defRPr sz="14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p:cNvSpPr>
            <a:spLocks noGrp="1"/>
          </p:cNvSpPr>
          <p:nvPr>
            <p:ph type="title"/>
          </p:nvPr>
        </p:nvSpPr>
        <p:spPr>
          <a:xfrm>
            <a:off x="342243" y="194430"/>
            <a:ext cx="9747306" cy="594360"/>
          </a:xfrm>
        </p:spPr>
        <p:txBody>
          <a:bodyPr>
            <a:noAutofit/>
          </a:bodyPr>
          <a:lstStyle>
            <a:lvl1pPr>
              <a:defRPr sz="2585"/>
            </a:lvl1pPr>
          </a:lstStyle>
          <a:p>
            <a:r>
              <a:rPr lang="en-US"/>
              <a:t>Click to edit Master title style</a:t>
            </a:r>
          </a:p>
        </p:txBody>
      </p:sp>
      <p:pic>
        <p:nvPicPr>
          <p:cNvPr id="7" name="Graphic 6">
            <a:extLst>
              <a:ext uri="{FF2B5EF4-FFF2-40B4-BE49-F238E27FC236}">
                <a16:creationId xmlns:a16="http://schemas.microsoft.com/office/drawing/2014/main" id="{B538DB0D-71C7-44A8-B0E4-AA4B8AA7DF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49760" y="6150836"/>
            <a:ext cx="514350" cy="495300"/>
          </a:xfrm>
          <a:prstGeom prst="rect">
            <a:avLst/>
          </a:prstGeom>
        </p:spPr>
      </p:pic>
      <p:sp>
        <p:nvSpPr>
          <p:cNvPr id="19" name="Slide Number Placeholder 5"/>
          <p:cNvSpPr>
            <a:spLocks noGrp="1"/>
          </p:cNvSpPr>
          <p:nvPr>
            <p:ph type="sldNum" sz="quarter" idx="4"/>
          </p:nvPr>
        </p:nvSpPr>
        <p:spPr>
          <a:xfrm>
            <a:off x="11849760" y="6289432"/>
            <a:ext cx="342240" cy="365125"/>
          </a:xfrm>
          <a:prstGeom prst="rect">
            <a:avLst/>
          </a:prstGeom>
        </p:spPr>
        <p:txBody>
          <a:bodyPr vert="horz" lIns="91440" tIns="45720" rIns="91440" bIns="45720" rtlCol="0" anchor="ctr"/>
          <a:lstStyle>
            <a:lvl1pPr algn="ctr">
              <a:defRPr sz="900" b="1">
                <a:solidFill>
                  <a:schemeClr val="bg1"/>
                </a:solidFill>
              </a:defRPr>
            </a:lvl1pPr>
          </a:lstStyle>
          <a:p>
            <a:fld id="{4F1FA912-FC24-3D46-8310-EAE10B51E2A1}" type="slidenum">
              <a:rPr lang="en-US" smtClean="0"/>
              <a:pPr/>
              <a:t>‹#›</a:t>
            </a:fld>
            <a:endParaRPr lang="en-US"/>
          </a:p>
        </p:txBody>
      </p:sp>
      <p:pic>
        <p:nvPicPr>
          <p:cNvPr id="10" name="Picture 9">
            <a:extLst>
              <a:ext uri="{FF2B5EF4-FFF2-40B4-BE49-F238E27FC236}">
                <a16:creationId xmlns:a16="http://schemas.microsoft.com/office/drawing/2014/main" id="{B979C500-C7D6-4204-A183-21B47F92BAE1}"/>
              </a:ext>
            </a:extLst>
          </p:cNvPr>
          <p:cNvPicPr>
            <a:picLocks noChangeAspect="1"/>
          </p:cNvPicPr>
          <p:nvPr userDrawn="1"/>
        </p:nvPicPr>
        <p:blipFill>
          <a:blip r:embed="rId4"/>
          <a:stretch>
            <a:fillRect/>
          </a:stretch>
        </p:blipFill>
        <p:spPr>
          <a:xfrm>
            <a:off x="10152369" y="6111240"/>
            <a:ext cx="1536244" cy="540758"/>
          </a:xfrm>
          <a:prstGeom prst="rect">
            <a:avLst/>
          </a:prstGeom>
        </p:spPr>
      </p:pic>
      <p:sp>
        <p:nvSpPr>
          <p:cNvPr id="11" name="TextBox 10">
            <a:extLst>
              <a:ext uri="{FF2B5EF4-FFF2-40B4-BE49-F238E27FC236}">
                <a16:creationId xmlns:a16="http://schemas.microsoft.com/office/drawing/2014/main" id="{C82CC6C1-FAF6-4C23-814E-8D9BD0BF897C}"/>
              </a:ext>
            </a:extLst>
          </p:cNvPr>
          <p:cNvSpPr txBox="1"/>
          <p:nvPr userDrawn="1"/>
        </p:nvSpPr>
        <p:spPr>
          <a:xfrm>
            <a:off x="10122552" y="96140"/>
            <a:ext cx="1198118" cy="251729"/>
          </a:xfrm>
          <a:prstGeom prst="rect">
            <a:avLst/>
          </a:prstGeom>
          <a:solidFill>
            <a:schemeClr val="bg1"/>
          </a:solidFill>
        </p:spPr>
        <p:txBody>
          <a:bodyPr wrap="square" rtlCol="0">
            <a:noAutofit/>
          </a:bodyPr>
          <a:lstStyle/>
          <a:p>
            <a:pPr algn="ctr">
              <a:spcAft>
                <a:spcPts val="600"/>
              </a:spcAft>
              <a:buClr>
                <a:srgbClr val="1573C5"/>
              </a:buClr>
              <a:buSzPct val="110000"/>
            </a:pPr>
            <a:r>
              <a:rPr lang="en-US" sz="1600" b="0" i="0">
                <a:solidFill>
                  <a:schemeClr val="bg2">
                    <a:lumMod val="60000"/>
                    <a:lumOff val="40000"/>
                  </a:schemeClr>
                </a:solidFill>
                <a:latin typeface="Arial" panose="020B0604020202020204" pitchFamily="34" charset="0"/>
                <a:cs typeface="Arial" panose="020B0604020202020204" pitchFamily="34" charset="0"/>
              </a:rPr>
              <a:t>HYBRID</a:t>
            </a:r>
            <a:endParaRPr lang="en-US" sz="2400" b="0" i="0">
              <a:solidFill>
                <a:schemeClr val="bg2">
                  <a:lumMod val="60000"/>
                  <a:lumOff val="4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2551503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ntent Slide - 01A">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BB35F47-F7D6-4CBB-AF97-0CDF0086A937}"/>
              </a:ext>
            </a:extLst>
          </p:cNvPr>
          <p:cNvSpPr/>
          <p:nvPr userDrawn="1"/>
        </p:nvSpPr>
        <p:spPr>
          <a:xfrm>
            <a:off x="10089548" y="194430"/>
            <a:ext cx="1282263" cy="17133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8" name="Content Placeholder 2"/>
          <p:cNvSpPr>
            <a:spLocks noGrp="1"/>
          </p:cNvSpPr>
          <p:nvPr>
            <p:ph idx="13"/>
          </p:nvPr>
        </p:nvSpPr>
        <p:spPr>
          <a:xfrm>
            <a:off x="342242" y="801394"/>
            <a:ext cx="11528917" cy="5227769"/>
          </a:xfrm>
        </p:spPr>
        <p:txBody>
          <a:bodyPr>
            <a:noAutofit/>
          </a:bodyPr>
          <a:lstStyle>
            <a:lvl1pPr marL="0" indent="0">
              <a:buFontTx/>
              <a:buNone/>
              <a:defRPr sz="1477"/>
            </a:lvl1pPr>
            <a:lvl2pPr marL="450186" indent="-225092">
              <a:buSzPct val="110000"/>
              <a:buFont typeface="Arial"/>
              <a:buChar char="•"/>
              <a:defRPr sz="1477"/>
            </a:lvl2pPr>
            <a:lvl3pPr marL="900372" indent="-225092">
              <a:buSzPct val="90000"/>
              <a:buFont typeface="Courier New"/>
              <a:buChar char="o"/>
              <a:defRPr sz="1477"/>
            </a:lvl3pPr>
            <a:lvl4pPr marL="1350558" indent="-225092">
              <a:buSzPct val="110000"/>
              <a:buFont typeface="Arial"/>
              <a:buChar char="•"/>
              <a:defRPr sz="1477"/>
            </a:lvl4pPr>
            <a:lvl5pPr marL="1800744" indent="-225092">
              <a:buSzPct val="90000"/>
              <a:buFont typeface="Courier New"/>
              <a:buChar char="o"/>
              <a:defRPr sz="14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p:cNvSpPr>
            <a:spLocks noGrp="1"/>
          </p:cNvSpPr>
          <p:nvPr>
            <p:ph type="title"/>
          </p:nvPr>
        </p:nvSpPr>
        <p:spPr>
          <a:xfrm>
            <a:off x="342243" y="194430"/>
            <a:ext cx="9747306" cy="594360"/>
          </a:xfrm>
        </p:spPr>
        <p:txBody>
          <a:bodyPr>
            <a:noAutofit/>
          </a:bodyPr>
          <a:lstStyle>
            <a:lvl1pPr>
              <a:defRPr sz="2585"/>
            </a:lvl1pPr>
          </a:lstStyle>
          <a:p>
            <a:r>
              <a:rPr lang="en-US"/>
              <a:t>Click to edit Master title style</a:t>
            </a:r>
          </a:p>
        </p:txBody>
      </p:sp>
      <p:pic>
        <p:nvPicPr>
          <p:cNvPr id="7" name="Graphic 6">
            <a:extLst>
              <a:ext uri="{FF2B5EF4-FFF2-40B4-BE49-F238E27FC236}">
                <a16:creationId xmlns:a16="http://schemas.microsoft.com/office/drawing/2014/main" id="{B538DB0D-71C7-44A8-B0E4-AA4B8AA7DF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49760" y="6150836"/>
            <a:ext cx="514350" cy="495300"/>
          </a:xfrm>
          <a:prstGeom prst="rect">
            <a:avLst/>
          </a:prstGeom>
        </p:spPr>
      </p:pic>
      <p:sp>
        <p:nvSpPr>
          <p:cNvPr id="19" name="Slide Number Placeholder 5"/>
          <p:cNvSpPr>
            <a:spLocks noGrp="1"/>
          </p:cNvSpPr>
          <p:nvPr>
            <p:ph type="sldNum" sz="quarter" idx="4"/>
          </p:nvPr>
        </p:nvSpPr>
        <p:spPr>
          <a:xfrm>
            <a:off x="11849760" y="6289432"/>
            <a:ext cx="342240" cy="365125"/>
          </a:xfrm>
          <a:prstGeom prst="rect">
            <a:avLst/>
          </a:prstGeom>
        </p:spPr>
        <p:txBody>
          <a:bodyPr vert="horz" lIns="91440" tIns="45720" rIns="91440" bIns="45720" rtlCol="0" anchor="ctr"/>
          <a:lstStyle>
            <a:lvl1pPr algn="ctr">
              <a:defRPr sz="900" b="1">
                <a:solidFill>
                  <a:schemeClr val="bg1"/>
                </a:solidFill>
              </a:defRPr>
            </a:lvl1pPr>
          </a:lstStyle>
          <a:p>
            <a:fld id="{4F1FA912-FC24-3D46-8310-EAE10B51E2A1}" type="slidenum">
              <a:rPr lang="en-US" smtClean="0"/>
              <a:pPr/>
              <a:t>‹#›</a:t>
            </a:fld>
            <a:endParaRPr lang="en-US"/>
          </a:p>
        </p:txBody>
      </p:sp>
      <p:pic>
        <p:nvPicPr>
          <p:cNvPr id="2" name="Picture 1">
            <a:extLst>
              <a:ext uri="{FF2B5EF4-FFF2-40B4-BE49-F238E27FC236}">
                <a16:creationId xmlns:a16="http://schemas.microsoft.com/office/drawing/2014/main" id="{16F7D6D3-2DA3-4310-996B-D1DCB0509F72}"/>
              </a:ext>
            </a:extLst>
          </p:cNvPr>
          <p:cNvPicPr>
            <a:picLocks noChangeAspect="1"/>
          </p:cNvPicPr>
          <p:nvPr userDrawn="1"/>
        </p:nvPicPr>
        <p:blipFill>
          <a:blip r:embed="rId4"/>
          <a:stretch>
            <a:fillRect/>
          </a:stretch>
        </p:blipFill>
        <p:spPr>
          <a:xfrm>
            <a:off x="8976485" y="6062169"/>
            <a:ext cx="2591217" cy="672633"/>
          </a:xfrm>
          <a:prstGeom prst="rect">
            <a:avLst/>
          </a:prstGeom>
        </p:spPr>
      </p:pic>
    </p:spTree>
    <p:extLst>
      <p:ext uri="{BB962C8B-B14F-4D97-AF65-F5344CB8AC3E}">
        <p14:creationId xmlns:p14="http://schemas.microsoft.com/office/powerpoint/2010/main" val="42255150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Table of Contets">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52A1B299-C3FC-4F91-BC27-2FBE32405CDA}"/>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rcRect/>
          <a:stretch/>
        </p:blipFill>
        <p:spPr>
          <a:xfrm>
            <a:off x="0" y="-2"/>
            <a:ext cx="12192000" cy="6858001"/>
          </a:xfrm>
          <a:prstGeom prst="rect">
            <a:avLst/>
          </a:prstGeom>
        </p:spPr>
      </p:pic>
      <p:sp>
        <p:nvSpPr>
          <p:cNvPr id="15" name="Rectangle 14">
            <a:extLst>
              <a:ext uri="{FF2B5EF4-FFF2-40B4-BE49-F238E27FC236}">
                <a16:creationId xmlns:a16="http://schemas.microsoft.com/office/drawing/2014/main" id="{61B7A982-1A6D-4EB2-8AF3-C489E5006702}"/>
              </a:ext>
            </a:extLst>
          </p:cNvPr>
          <p:cNvSpPr/>
          <p:nvPr userDrawn="1"/>
        </p:nvSpPr>
        <p:spPr>
          <a:xfrm>
            <a:off x="1" y="0"/>
            <a:ext cx="12191994" cy="6858000"/>
          </a:xfrm>
          <a:prstGeom prst="rect">
            <a:avLst/>
          </a:prstGeom>
          <a:solidFill>
            <a:srgbClr val="1573C5">
              <a:alpha val="89804"/>
            </a:srgb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600"/>
          </a:p>
        </p:txBody>
      </p:sp>
      <p:sp>
        <p:nvSpPr>
          <p:cNvPr id="2" name="Title 1"/>
          <p:cNvSpPr>
            <a:spLocks noGrp="1"/>
          </p:cNvSpPr>
          <p:nvPr>
            <p:ph type="title"/>
          </p:nvPr>
        </p:nvSpPr>
        <p:spPr>
          <a:xfrm>
            <a:off x="342242" y="194430"/>
            <a:ext cx="11528917" cy="594360"/>
          </a:xfrm>
        </p:spPr>
        <p:txBody>
          <a:bodyPr>
            <a:noAutofit/>
          </a:bodyPr>
          <a:lstStyle>
            <a:lvl1pPr>
              <a:defRPr sz="2585"/>
            </a:lvl1pPr>
          </a:lstStyle>
          <a:p>
            <a:r>
              <a:rPr lang="en-US"/>
              <a:t>Click to edit Master title style</a:t>
            </a:r>
          </a:p>
        </p:txBody>
      </p:sp>
      <p:sp>
        <p:nvSpPr>
          <p:cNvPr id="3" name="Content Placeholder 2"/>
          <p:cNvSpPr>
            <a:spLocks noGrp="1"/>
          </p:cNvSpPr>
          <p:nvPr>
            <p:ph idx="1"/>
          </p:nvPr>
        </p:nvSpPr>
        <p:spPr>
          <a:xfrm>
            <a:off x="342242" y="801390"/>
            <a:ext cx="11528917" cy="5227768"/>
          </a:xfrm>
        </p:spPr>
        <p:txBody>
          <a:bodyPr>
            <a:noAutofit/>
          </a:bodyPr>
          <a:lstStyle>
            <a:lvl1pPr>
              <a:spcAft>
                <a:spcPts val="738"/>
              </a:spcAft>
              <a:defRPr sz="1969"/>
            </a:lvl1pPr>
            <a:lvl2pPr marL="450186">
              <a:defRPr sz="1969"/>
            </a:lvl2pPr>
            <a:lvl3pPr marL="900372">
              <a:defRPr sz="1969"/>
            </a:lvl3pPr>
            <a:lvl4pPr marL="1350558">
              <a:defRPr sz="1969"/>
            </a:lvl4pPr>
            <a:lvl5pPr marL="1800744">
              <a:defRPr sz="196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p:cNvGrpSpPr/>
          <p:nvPr userDrawn="1"/>
        </p:nvGrpSpPr>
        <p:grpSpPr>
          <a:xfrm>
            <a:off x="5" y="6792455"/>
            <a:ext cx="12191999" cy="73745"/>
            <a:chOff x="1" y="6792449"/>
            <a:chExt cx="9143999" cy="73745"/>
          </a:xfrm>
        </p:grpSpPr>
        <p:sp>
          <p:nvSpPr>
            <p:cNvPr id="8" name="Rectangle 7"/>
            <p:cNvSpPr/>
            <p:nvPr/>
          </p:nvSpPr>
          <p:spPr>
            <a:xfrm>
              <a:off x="5486400" y="6792449"/>
              <a:ext cx="1828800" cy="73745"/>
            </a:xfrm>
            <a:prstGeom prst="rect">
              <a:avLst/>
            </a:prstGeom>
            <a:solidFill>
              <a:srgbClr val="1740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9" name="Rectangle 8"/>
            <p:cNvSpPr/>
            <p:nvPr/>
          </p:nvSpPr>
          <p:spPr>
            <a:xfrm>
              <a:off x="1" y="6792449"/>
              <a:ext cx="1828800" cy="73745"/>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0" name="Rectangle 9"/>
            <p:cNvSpPr/>
            <p:nvPr/>
          </p:nvSpPr>
          <p:spPr>
            <a:xfrm>
              <a:off x="1828801" y="6792449"/>
              <a:ext cx="1828800" cy="73745"/>
            </a:xfrm>
            <a:prstGeom prst="rect">
              <a:avLst/>
            </a:prstGeom>
            <a:solidFill>
              <a:srgbClr val="2428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1" name="Rectangle 10"/>
            <p:cNvSpPr/>
            <p:nvPr/>
          </p:nvSpPr>
          <p:spPr>
            <a:xfrm>
              <a:off x="3657601" y="6792450"/>
              <a:ext cx="1828800" cy="73743"/>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2" name="Rectangle 11"/>
            <p:cNvSpPr/>
            <p:nvPr/>
          </p:nvSpPr>
          <p:spPr>
            <a:xfrm>
              <a:off x="7315200" y="6792450"/>
              <a:ext cx="1828800" cy="73743"/>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grpSp>
      <p:sp>
        <p:nvSpPr>
          <p:cNvPr id="14" name="Slide Number Placeholder 5"/>
          <p:cNvSpPr>
            <a:spLocks noGrp="1"/>
          </p:cNvSpPr>
          <p:nvPr>
            <p:ph type="sldNum" sz="quarter" idx="4"/>
          </p:nvPr>
        </p:nvSpPr>
        <p:spPr>
          <a:xfrm>
            <a:off x="342240" y="6356358"/>
            <a:ext cx="2844800" cy="365125"/>
          </a:xfrm>
          <a:prstGeom prst="rect">
            <a:avLst/>
          </a:prstGeom>
        </p:spPr>
        <p:txBody>
          <a:bodyPr vert="horz" lIns="91440" tIns="45720" rIns="91440" bIns="45720" rtlCol="0" anchor="ctr"/>
          <a:lstStyle>
            <a:lvl1pPr algn="l">
              <a:defRPr sz="985" b="1">
                <a:solidFill>
                  <a:schemeClr val="tx1"/>
                </a:solidFill>
              </a:defRPr>
            </a:lvl1pPr>
          </a:lstStyle>
          <a:p>
            <a:fld id="{4F1FA912-FC24-3D46-8310-EAE10B51E2A1}" type="slidenum">
              <a:rPr lang="en-US" smtClean="0"/>
              <a:t>‹#›</a:t>
            </a:fld>
            <a:endParaRPr lang="en-US"/>
          </a:p>
        </p:txBody>
      </p:sp>
    </p:spTree>
    <p:extLst>
      <p:ext uri="{BB962C8B-B14F-4D97-AF65-F5344CB8AC3E}">
        <p14:creationId xmlns:p14="http://schemas.microsoft.com/office/powerpoint/2010/main" val="219133639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ent Slide - 01A">
    <p:spTree>
      <p:nvGrpSpPr>
        <p:cNvPr id="1" name=""/>
        <p:cNvGrpSpPr/>
        <p:nvPr/>
      </p:nvGrpSpPr>
      <p:grpSpPr>
        <a:xfrm>
          <a:off x="0" y="0"/>
          <a:ext cx="0" cy="0"/>
          <a:chOff x="0" y="0"/>
          <a:chExt cx="0" cy="0"/>
        </a:xfrm>
      </p:grpSpPr>
      <p:sp>
        <p:nvSpPr>
          <p:cNvPr id="8" name="Content Placeholder 2"/>
          <p:cNvSpPr>
            <a:spLocks noGrp="1"/>
          </p:cNvSpPr>
          <p:nvPr>
            <p:ph idx="13"/>
          </p:nvPr>
        </p:nvSpPr>
        <p:spPr>
          <a:xfrm>
            <a:off x="342242" y="801394"/>
            <a:ext cx="11528917" cy="5227769"/>
          </a:xfrm>
        </p:spPr>
        <p:txBody>
          <a:bodyPr>
            <a:noAutofit/>
          </a:bodyPr>
          <a:lstStyle>
            <a:lvl1pPr marL="0" indent="0">
              <a:buFontTx/>
              <a:buNone/>
              <a:defRPr sz="1477"/>
            </a:lvl1pPr>
            <a:lvl2pPr marL="450186" indent="-225092">
              <a:buSzPct val="110000"/>
              <a:buFont typeface="Arial"/>
              <a:buChar char="•"/>
              <a:defRPr sz="1477"/>
            </a:lvl2pPr>
            <a:lvl3pPr marL="900372" indent="-225092">
              <a:buSzPct val="90000"/>
              <a:buFont typeface="Courier New"/>
              <a:buChar char="o"/>
              <a:defRPr sz="1477"/>
            </a:lvl3pPr>
            <a:lvl4pPr marL="1350558" indent="-225092">
              <a:buSzPct val="110000"/>
              <a:buFont typeface="Arial"/>
              <a:buChar char="•"/>
              <a:defRPr sz="1477"/>
            </a:lvl4pPr>
            <a:lvl5pPr marL="1800744" indent="-225092">
              <a:buSzPct val="90000"/>
              <a:buFont typeface="Courier New"/>
              <a:buChar char="o"/>
              <a:defRPr sz="14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p:cNvSpPr>
            <a:spLocks noGrp="1"/>
          </p:cNvSpPr>
          <p:nvPr>
            <p:ph type="title"/>
          </p:nvPr>
        </p:nvSpPr>
        <p:spPr>
          <a:xfrm>
            <a:off x="342243" y="194430"/>
            <a:ext cx="9747306" cy="594360"/>
          </a:xfrm>
        </p:spPr>
        <p:txBody>
          <a:bodyPr>
            <a:noAutofit/>
          </a:bodyPr>
          <a:lstStyle>
            <a:lvl1pPr>
              <a:defRPr sz="2585"/>
            </a:lvl1pPr>
          </a:lstStyle>
          <a:p>
            <a:r>
              <a:rPr lang="en-US"/>
              <a:t>Click to edit Master title style</a:t>
            </a:r>
          </a:p>
        </p:txBody>
      </p:sp>
      <p:pic>
        <p:nvPicPr>
          <p:cNvPr id="7" name="Graphic 6">
            <a:extLst>
              <a:ext uri="{FF2B5EF4-FFF2-40B4-BE49-F238E27FC236}">
                <a16:creationId xmlns:a16="http://schemas.microsoft.com/office/drawing/2014/main" id="{B538DB0D-71C7-44A8-B0E4-AA4B8AA7DF8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849760" y="6150836"/>
            <a:ext cx="514350" cy="495300"/>
          </a:xfrm>
          <a:prstGeom prst="rect">
            <a:avLst/>
          </a:prstGeom>
        </p:spPr>
      </p:pic>
      <p:sp>
        <p:nvSpPr>
          <p:cNvPr id="19" name="Slide Number Placeholder 5"/>
          <p:cNvSpPr>
            <a:spLocks noGrp="1"/>
          </p:cNvSpPr>
          <p:nvPr>
            <p:ph type="sldNum" sz="quarter" idx="4"/>
          </p:nvPr>
        </p:nvSpPr>
        <p:spPr>
          <a:xfrm>
            <a:off x="11849760" y="6289432"/>
            <a:ext cx="342240" cy="365125"/>
          </a:xfrm>
          <a:prstGeom prst="rect">
            <a:avLst/>
          </a:prstGeom>
        </p:spPr>
        <p:txBody>
          <a:bodyPr vert="horz" lIns="91440" tIns="45720" rIns="91440" bIns="45720" rtlCol="0" anchor="ctr"/>
          <a:lstStyle>
            <a:lvl1pPr algn="ctr">
              <a:defRPr sz="900" b="1">
                <a:solidFill>
                  <a:schemeClr val="bg1"/>
                </a:solidFill>
              </a:defRPr>
            </a:lvl1pPr>
          </a:lstStyle>
          <a:p>
            <a:fld id="{4F1FA912-FC24-3D46-8310-EAE10B51E2A1}" type="slidenum">
              <a:rPr lang="en-US" smtClean="0"/>
              <a:pPr/>
              <a:t>‹#›</a:t>
            </a:fld>
            <a:endParaRPr lang="en-US"/>
          </a:p>
        </p:txBody>
      </p:sp>
      <p:pic>
        <p:nvPicPr>
          <p:cNvPr id="10" name="Picture 9">
            <a:extLst>
              <a:ext uri="{FF2B5EF4-FFF2-40B4-BE49-F238E27FC236}">
                <a16:creationId xmlns:a16="http://schemas.microsoft.com/office/drawing/2014/main" id="{B979C500-C7D6-4204-A183-21B47F92BAE1}"/>
              </a:ext>
            </a:extLst>
          </p:cNvPr>
          <p:cNvPicPr>
            <a:picLocks noChangeAspect="1"/>
          </p:cNvPicPr>
          <p:nvPr userDrawn="1"/>
        </p:nvPicPr>
        <p:blipFill>
          <a:blip r:embed="rId4"/>
          <a:stretch>
            <a:fillRect/>
          </a:stretch>
        </p:blipFill>
        <p:spPr>
          <a:xfrm>
            <a:off x="10152369" y="6111240"/>
            <a:ext cx="1536244" cy="540758"/>
          </a:xfrm>
          <a:prstGeom prst="rect">
            <a:avLst/>
          </a:prstGeom>
        </p:spPr>
      </p:pic>
    </p:spTree>
    <p:extLst>
      <p:ext uri="{BB962C8B-B14F-4D97-AF65-F5344CB8AC3E}">
        <p14:creationId xmlns:p14="http://schemas.microsoft.com/office/powerpoint/2010/main" val="422551503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ntent Slide - 01B">
    <p:spTree>
      <p:nvGrpSpPr>
        <p:cNvPr id="1" name=""/>
        <p:cNvGrpSpPr/>
        <p:nvPr/>
      </p:nvGrpSpPr>
      <p:grpSpPr>
        <a:xfrm>
          <a:off x="0" y="0"/>
          <a:ext cx="0" cy="0"/>
          <a:chOff x="0" y="0"/>
          <a:chExt cx="0" cy="0"/>
        </a:xfrm>
      </p:grpSpPr>
      <p:sp>
        <p:nvSpPr>
          <p:cNvPr id="12" name="Rectangle 11"/>
          <p:cNvSpPr/>
          <p:nvPr/>
        </p:nvSpPr>
        <p:spPr>
          <a:xfrm>
            <a:off x="1" y="6792455"/>
            <a:ext cx="12192000" cy="73745"/>
          </a:xfrm>
          <a:prstGeom prst="rect">
            <a:avLst/>
          </a:prstGeom>
          <a:solidFill>
            <a:srgbClr val="50A2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6" name="Title 1"/>
          <p:cNvSpPr>
            <a:spLocks noGrp="1"/>
          </p:cNvSpPr>
          <p:nvPr>
            <p:ph type="title"/>
          </p:nvPr>
        </p:nvSpPr>
        <p:spPr>
          <a:xfrm>
            <a:off x="342242" y="194436"/>
            <a:ext cx="11528917" cy="394087"/>
          </a:xfrm>
        </p:spPr>
        <p:txBody>
          <a:bodyPr>
            <a:noAutofit/>
          </a:bodyPr>
          <a:lstStyle>
            <a:lvl1pPr>
              <a:defRPr sz="2585"/>
            </a:lvl1pPr>
          </a:lstStyle>
          <a:p>
            <a:r>
              <a:rPr lang="en-US"/>
              <a:t>Click to edit Master title style</a:t>
            </a:r>
          </a:p>
        </p:txBody>
      </p:sp>
      <p:sp>
        <p:nvSpPr>
          <p:cNvPr id="3" name="Text Placeholder 2"/>
          <p:cNvSpPr>
            <a:spLocks noGrp="1"/>
          </p:cNvSpPr>
          <p:nvPr>
            <p:ph type="body" sz="quarter" idx="14"/>
          </p:nvPr>
        </p:nvSpPr>
        <p:spPr>
          <a:xfrm>
            <a:off x="342243" y="601885"/>
            <a:ext cx="11540737" cy="373062"/>
          </a:xfrm>
        </p:spPr>
        <p:txBody>
          <a:bodyPr/>
          <a:lstStyle>
            <a:lvl1pPr marL="0" indent="0">
              <a:buNone/>
              <a:defRPr>
                <a:solidFill>
                  <a:schemeClr val="tx1">
                    <a:lumMod val="50000"/>
                    <a:lumOff val="50000"/>
                  </a:schemeClr>
                </a:solidFill>
              </a:defRPr>
            </a:lvl1pPr>
            <a:lvl2pPr marL="675278" indent="0">
              <a:buNone/>
              <a:defRPr/>
            </a:lvl2pPr>
            <a:lvl3pPr marL="1181738" indent="0">
              <a:buNone/>
              <a:defRPr/>
            </a:lvl3pPr>
            <a:lvl4pPr marL="1744472" indent="0">
              <a:buNone/>
              <a:defRPr/>
            </a:lvl4pPr>
            <a:lvl5pPr marL="2307205" indent="0">
              <a:buNone/>
              <a:defRPr/>
            </a:lvl5pPr>
          </a:lstStyle>
          <a:p>
            <a:pPr lvl="0"/>
            <a:r>
              <a:rPr lang="en-US"/>
              <a:t>Click to edit Master text styles</a:t>
            </a:r>
          </a:p>
        </p:txBody>
      </p:sp>
      <p:sp>
        <p:nvSpPr>
          <p:cNvPr id="14" name="Slide Number Placeholder 5"/>
          <p:cNvSpPr>
            <a:spLocks noGrp="1"/>
          </p:cNvSpPr>
          <p:nvPr>
            <p:ph type="sldNum" sz="quarter" idx="4"/>
          </p:nvPr>
        </p:nvSpPr>
        <p:spPr>
          <a:xfrm>
            <a:off x="342240" y="6356358"/>
            <a:ext cx="2844800" cy="365125"/>
          </a:xfrm>
          <a:prstGeom prst="rect">
            <a:avLst/>
          </a:prstGeom>
        </p:spPr>
        <p:txBody>
          <a:bodyPr vert="horz" lIns="91440" tIns="45720" rIns="91440" bIns="45720" rtlCol="0" anchor="ctr"/>
          <a:lstStyle>
            <a:lvl1pPr algn="l">
              <a:defRPr sz="985" b="1">
                <a:solidFill>
                  <a:schemeClr val="tx1"/>
                </a:solidFill>
              </a:defRPr>
            </a:lvl1pPr>
          </a:lstStyle>
          <a:p>
            <a:fld id="{4F1FA912-FC24-3D46-8310-EAE10B51E2A1}" type="slidenum">
              <a:rPr lang="en-US" smtClean="0"/>
              <a:t>‹#›</a:t>
            </a:fld>
            <a:endParaRPr lang="en-US"/>
          </a:p>
        </p:txBody>
      </p:sp>
      <p:sp>
        <p:nvSpPr>
          <p:cNvPr id="7" name="Content Placeholder 2"/>
          <p:cNvSpPr>
            <a:spLocks noGrp="1"/>
          </p:cNvSpPr>
          <p:nvPr>
            <p:ph idx="13" hasCustomPrompt="1"/>
          </p:nvPr>
        </p:nvSpPr>
        <p:spPr>
          <a:xfrm>
            <a:off x="342242" y="1231903"/>
            <a:ext cx="11528917" cy="4797261"/>
          </a:xfrm>
        </p:spPr>
        <p:txBody>
          <a:bodyPr>
            <a:noAutofit/>
          </a:bodyPr>
          <a:lstStyle>
            <a:lvl1pPr marL="0" indent="0">
              <a:spcAft>
                <a:spcPts val="1231"/>
              </a:spcAft>
              <a:buFontTx/>
              <a:buNone/>
              <a:defRPr sz="1477" b="0">
                <a:solidFill>
                  <a:schemeClr val="tx1"/>
                </a:solidFill>
              </a:defRPr>
            </a:lvl1pPr>
            <a:lvl2pPr marL="0" indent="0">
              <a:buSzPct val="110000"/>
              <a:buFont typeface="Arial"/>
              <a:buNone/>
              <a:defRPr sz="1477"/>
            </a:lvl2pPr>
            <a:lvl3pPr marL="450186" indent="-225092">
              <a:buSzPct val="110000"/>
              <a:buFont typeface="Arial"/>
              <a:buChar char="•"/>
              <a:defRPr sz="1477"/>
            </a:lvl3pPr>
            <a:lvl4pPr marL="900372" indent="-225092">
              <a:buSzPct val="90000"/>
              <a:buFont typeface="Courier New"/>
              <a:buChar char="o"/>
              <a:defRPr sz="1477"/>
            </a:lvl4pPr>
            <a:lvl5pPr marL="1350558" indent="-225092">
              <a:buSzPct val="110000"/>
              <a:buFont typeface="Arial"/>
              <a:buChar char="•"/>
              <a:defRPr sz="14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866204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ntent Slide - 02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Rectangle 3"/>
          <p:cNvSpPr/>
          <p:nvPr userDrawn="1"/>
        </p:nvSpPr>
        <p:spPr>
          <a:xfrm>
            <a:off x="0" y="6802849"/>
            <a:ext cx="12192000" cy="73152"/>
          </a:xfrm>
          <a:prstGeom prst="rect">
            <a:avLst/>
          </a:prstGeom>
          <a:solidFill>
            <a:srgbClr val="2B346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7" name="Slide Number Placeholder 5"/>
          <p:cNvSpPr>
            <a:spLocks noGrp="1"/>
          </p:cNvSpPr>
          <p:nvPr>
            <p:ph type="sldNum" sz="quarter" idx="4"/>
          </p:nvPr>
        </p:nvSpPr>
        <p:spPr>
          <a:xfrm>
            <a:off x="342240" y="6356358"/>
            <a:ext cx="2844800" cy="365125"/>
          </a:xfrm>
          <a:prstGeom prst="rect">
            <a:avLst/>
          </a:prstGeom>
        </p:spPr>
        <p:txBody>
          <a:bodyPr vert="horz" lIns="91440" tIns="45720" rIns="91440" bIns="45720" rtlCol="0" anchor="ctr"/>
          <a:lstStyle>
            <a:lvl1pPr algn="l">
              <a:defRPr sz="985" b="1">
                <a:solidFill>
                  <a:schemeClr val="tx1"/>
                </a:solidFill>
              </a:defRPr>
            </a:lvl1pPr>
          </a:lstStyle>
          <a:p>
            <a:fld id="{4F1FA912-FC24-3D46-8310-EAE10B51E2A1}" type="slidenum">
              <a:rPr lang="en-US" smtClean="0"/>
              <a:t>‹#›</a:t>
            </a:fld>
            <a:endParaRPr lang="en-US"/>
          </a:p>
        </p:txBody>
      </p:sp>
      <p:sp>
        <p:nvSpPr>
          <p:cNvPr id="6" name="Content Placeholder 2"/>
          <p:cNvSpPr>
            <a:spLocks noGrp="1"/>
          </p:cNvSpPr>
          <p:nvPr>
            <p:ph idx="13"/>
          </p:nvPr>
        </p:nvSpPr>
        <p:spPr>
          <a:xfrm>
            <a:off x="342242" y="1235895"/>
            <a:ext cx="11528917" cy="4793268"/>
          </a:xfrm>
        </p:spPr>
        <p:txBody>
          <a:bodyPr>
            <a:noAutofit/>
          </a:bodyPr>
          <a:lstStyle>
            <a:lvl1pPr marL="0" indent="0">
              <a:buFontTx/>
              <a:buNone/>
              <a:defRPr sz="1477"/>
            </a:lvl1pPr>
            <a:lvl2pPr marL="450186" indent="-225092">
              <a:buSzPct val="110000"/>
              <a:buFont typeface="Arial"/>
              <a:buChar char="•"/>
              <a:defRPr sz="1477"/>
            </a:lvl2pPr>
            <a:lvl3pPr marL="900372" indent="-225092">
              <a:buSzPct val="90000"/>
              <a:buFont typeface="Courier New"/>
              <a:buChar char="o"/>
              <a:defRPr sz="1477"/>
            </a:lvl3pPr>
            <a:lvl4pPr marL="1350558" indent="-225092">
              <a:buSzPct val="110000"/>
              <a:buFont typeface="Arial"/>
              <a:buChar char="•"/>
              <a:defRPr sz="1477"/>
            </a:lvl4pPr>
            <a:lvl5pPr marL="1800744" indent="-225092">
              <a:buSzPct val="90000"/>
              <a:buFont typeface="Courier New"/>
              <a:buChar char="o"/>
              <a:defRPr sz="14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576908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ntent Slide - 02B">
    <p:spTree>
      <p:nvGrpSpPr>
        <p:cNvPr id="1" name=""/>
        <p:cNvGrpSpPr/>
        <p:nvPr/>
      </p:nvGrpSpPr>
      <p:grpSpPr>
        <a:xfrm>
          <a:off x="0" y="0"/>
          <a:ext cx="0" cy="0"/>
          <a:chOff x="0" y="0"/>
          <a:chExt cx="0" cy="0"/>
        </a:xfrm>
      </p:grpSpPr>
      <p:sp>
        <p:nvSpPr>
          <p:cNvPr id="16" name="Title 1"/>
          <p:cNvSpPr>
            <a:spLocks noGrp="1"/>
          </p:cNvSpPr>
          <p:nvPr>
            <p:ph type="title"/>
          </p:nvPr>
        </p:nvSpPr>
        <p:spPr>
          <a:xfrm>
            <a:off x="342242" y="194436"/>
            <a:ext cx="11528917" cy="394087"/>
          </a:xfrm>
        </p:spPr>
        <p:txBody>
          <a:bodyPr>
            <a:noAutofit/>
          </a:bodyPr>
          <a:lstStyle>
            <a:lvl1pPr>
              <a:defRPr sz="2585"/>
            </a:lvl1pPr>
          </a:lstStyle>
          <a:p>
            <a:r>
              <a:rPr lang="en-US"/>
              <a:t>Click to edit Master title style</a:t>
            </a:r>
          </a:p>
        </p:txBody>
      </p:sp>
      <p:sp>
        <p:nvSpPr>
          <p:cNvPr id="3" name="Text Placeholder 2"/>
          <p:cNvSpPr>
            <a:spLocks noGrp="1"/>
          </p:cNvSpPr>
          <p:nvPr>
            <p:ph type="body" sz="quarter" idx="14"/>
          </p:nvPr>
        </p:nvSpPr>
        <p:spPr>
          <a:xfrm>
            <a:off x="342243" y="601885"/>
            <a:ext cx="11540737" cy="373062"/>
          </a:xfrm>
        </p:spPr>
        <p:txBody>
          <a:bodyPr/>
          <a:lstStyle>
            <a:lvl1pPr marL="0" indent="0">
              <a:buNone/>
              <a:defRPr>
                <a:solidFill>
                  <a:schemeClr val="tx1">
                    <a:lumMod val="50000"/>
                    <a:lumOff val="50000"/>
                  </a:schemeClr>
                </a:solidFill>
              </a:defRPr>
            </a:lvl1pPr>
            <a:lvl2pPr marL="675278" indent="0">
              <a:buNone/>
              <a:defRPr/>
            </a:lvl2pPr>
            <a:lvl3pPr marL="1181738" indent="0">
              <a:buNone/>
              <a:defRPr/>
            </a:lvl3pPr>
            <a:lvl4pPr marL="1744472" indent="0">
              <a:buNone/>
              <a:defRPr/>
            </a:lvl4pPr>
            <a:lvl5pPr marL="2307205" indent="0">
              <a:buNone/>
              <a:defRPr/>
            </a:lvl5pPr>
          </a:lstStyle>
          <a:p>
            <a:pPr lvl="0"/>
            <a:r>
              <a:rPr lang="en-US"/>
              <a:t>Click to edit Master text styles</a:t>
            </a:r>
          </a:p>
        </p:txBody>
      </p:sp>
      <p:sp>
        <p:nvSpPr>
          <p:cNvPr id="7" name="Rectangle 6"/>
          <p:cNvSpPr/>
          <p:nvPr userDrawn="1"/>
        </p:nvSpPr>
        <p:spPr>
          <a:xfrm>
            <a:off x="0" y="6802849"/>
            <a:ext cx="12192000" cy="73152"/>
          </a:xfrm>
          <a:prstGeom prst="rect">
            <a:avLst/>
          </a:prstGeom>
          <a:solidFill>
            <a:srgbClr val="2B346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9" name="Slide Number Placeholder 5"/>
          <p:cNvSpPr>
            <a:spLocks noGrp="1"/>
          </p:cNvSpPr>
          <p:nvPr>
            <p:ph type="sldNum" sz="quarter" idx="4"/>
          </p:nvPr>
        </p:nvSpPr>
        <p:spPr>
          <a:xfrm>
            <a:off x="342240" y="6356358"/>
            <a:ext cx="2844800" cy="365125"/>
          </a:xfrm>
          <a:prstGeom prst="rect">
            <a:avLst/>
          </a:prstGeom>
        </p:spPr>
        <p:txBody>
          <a:bodyPr vert="horz" lIns="91440" tIns="45720" rIns="91440" bIns="45720" rtlCol="0" anchor="ctr"/>
          <a:lstStyle>
            <a:lvl1pPr algn="l">
              <a:defRPr sz="985" b="1">
                <a:solidFill>
                  <a:schemeClr val="tx1"/>
                </a:solidFill>
              </a:defRPr>
            </a:lvl1pPr>
          </a:lstStyle>
          <a:p>
            <a:fld id="{4F1FA912-FC24-3D46-8310-EAE10B51E2A1}" type="slidenum">
              <a:rPr lang="en-US" smtClean="0"/>
              <a:t>‹#›</a:t>
            </a:fld>
            <a:endParaRPr lang="en-US"/>
          </a:p>
        </p:txBody>
      </p:sp>
      <p:sp>
        <p:nvSpPr>
          <p:cNvPr id="12" name="Content Placeholder 2"/>
          <p:cNvSpPr>
            <a:spLocks noGrp="1"/>
          </p:cNvSpPr>
          <p:nvPr>
            <p:ph idx="13" hasCustomPrompt="1"/>
          </p:nvPr>
        </p:nvSpPr>
        <p:spPr>
          <a:xfrm>
            <a:off x="342242" y="1231903"/>
            <a:ext cx="11528917" cy="4797261"/>
          </a:xfrm>
        </p:spPr>
        <p:txBody>
          <a:bodyPr>
            <a:noAutofit/>
          </a:bodyPr>
          <a:lstStyle>
            <a:lvl1pPr marL="0" indent="0">
              <a:spcAft>
                <a:spcPts val="1231"/>
              </a:spcAft>
              <a:buFontTx/>
              <a:buNone/>
              <a:defRPr sz="1477" b="1">
                <a:solidFill>
                  <a:srgbClr val="1573C5"/>
                </a:solidFill>
              </a:defRPr>
            </a:lvl1pPr>
            <a:lvl2pPr marL="0" indent="0">
              <a:buSzPct val="110000"/>
              <a:buFont typeface="Arial"/>
              <a:buNone/>
              <a:defRPr sz="1477"/>
            </a:lvl2pPr>
            <a:lvl3pPr marL="450186" indent="-225092">
              <a:buSzPct val="110000"/>
              <a:buFont typeface="Arial"/>
              <a:buChar char="•"/>
              <a:defRPr sz="1477"/>
            </a:lvl3pPr>
            <a:lvl4pPr marL="900372" indent="-225092">
              <a:buSzPct val="90000"/>
              <a:buFont typeface="Courier New"/>
              <a:buChar char="o"/>
              <a:defRPr sz="1477"/>
            </a:lvl4pPr>
            <a:lvl5pPr marL="1350558" indent="-225092">
              <a:buSzPct val="110000"/>
              <a:buFont typeface="Arial"/>
              <a:buChar char="•"/>
              <a:defRPr sz="14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507720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ntent Slide - 03A">
    <p:spTree>
      <p:nvGrpSpPr>
        <p:cNvPr id="1" name=""/>
        <p:cNvGrpSpPr/>
        <p:nvPr/>
      </p:nvGrpSpPr>
      <p:grpSpPr>
        <a:xfrm>
          <a:off x="0" y="0"/>
          <a:ext cx="0" cy="0"/>
          <a:chOff x="0" y="0"/>
          <a:chExt cx="0" cy="0"/>
        </a:xfrm>
      </p:grpSpPr>
      <p:sp>
        <p:nvSpPr>
          <p:cNvPr id="7" name="Rectangle 6"/>
          <p:cNvSpPr/>
          <p:nvPr userDrawn="1"/>
        </p:nvSpPr>
        <p:spPr>
          <a:xfrm>
            <a:off x="0" y="6801490"/>
            <a:ext cx="12192000" cy="73152"/>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6" name="Title 1"/>
          <p:cNvSpPr>
            <a:spLocks noGrp="1"/>
          </p:cNvSpPr>
          <p:nvPr>
            <p:ph type="title"/>
          </p:nvPr>
        </p:nvSpPr>
        <p:spPr>
          <a:xfrm>
            <a:off x="342242" y="194430"/>
            <a:ext cx="11528917" cy="594360"/>
          </a:xfrm>
        </p:spPr>
        <p:txBody>
          <a:bodyPr>
            <a:noAutofit/>
          </a:bodyPr>
          <a:lstStyle>
            <a:lvl1pPr>
              <a:defRPr sz="2585"/>
            </a:lvl1pPr>
          </a:lstStyle>
          <a:p>
            <a:r>
              <a:rPr lang="en-US"/>
              <a:t>Click to edit Master title style</a:t>
            </a:r>
          </a:p>
        </p:txBody>
      </p:sp>
      <p:sp>
        <p:nvSpPr>
          <p:cNvPr id="10" name="Slide Number Placeholder 5"/>
          <p:cNvSpPr>
            <a:spLocks noGrp="1"/>
          </p:cNvSpPr>
          <p:nvPr>
            <p:ph type="sldNum" sz="quarter" idx="4"/>
          </p:nvPr>
        </p:nvSpPr>
        <p:spPr>
          <a:xfrm>
            <a:off x="342240" y="6356358"/>
            <a:ext cx="2844800" cy="365125"/>
          </a:xfrm>
          <a:prstGeom prst="rect">
            <a:avLst/>
          </a:prstGeom>
        </p:spPr>
        <p:txBody>
          <a:bodyPr vert="horz" lIns="91440" tIns="45720" rIns="91440" bIns="45720" rtlCol="0" anchor="ctr"/>
          <a:lstStyle>
            <a:lvl1pPr algn="l">
              <a:defRPr sz="985" b="1">
                <a:solidFill>
                  <a:schemeClr val="tx1"/>
                </a:solidFill>
              </a:defRPr>
            </a:lvl1pPr>
          </a:lstStyle>
          <a:p>
            <a:fld id="{4F1FA912-FC24-3D46-8310-EAE10B51E2A1}" type="slidenum">
              <a:rPr lang="en-US" smtClean="0"/>
              <a:t>‹#›</a:t>
            </a:fld>
            <a:endParaRPr lang="en-US"/>
          </a:p>
        </p:txBody>
      </p:sp>
      <p:sp>
        <p:nvSpPr>
          <p:cNvPr id="6" name="Content Placeholder 2"/>
          <p:cNvSpPr>
            <a:spLocks noGrp="1"/>
          </p:cNvSpPr>
          <p:nvPr>
            <p:ph idx="13"/>
          </p:nvPr>
        </p:nvSpPr>
        <p:spPr>
          <a:xfrm>
            <a:off x="342242" y="801394"/>
            <a:ext cx="11528917" cy="5227769"/>
          </a:xfrm>
        </p:spPr>
        <p:txBody>
          <a:bodyPr>
            <a:noAutofit/>
          </a:bodyPr>
          <a:lstStyle>
            <a:lvl1pPr marL="0" indent="0">
              <a:buFontTx/>
              <a:buNone/>
              <a:defRPr sz="1477"/>
            </a:lvl1pPr>
            <a:lvl2pPr marL="450186" indent="-225092">
              <a:buSzPct val="110000"/>
              <a:buFont typeface="Arial"/>
              <a:buChar char="•"/>
              <a:defRPr sz="1477"/>
            </a:lvl2pPr>
            <a:lvl3pPr marL="900372" indent="-225092">
              <a:buSzPct val="90000"/>
              <a:buFont typeface="Courier New"/>
              <a:buChar char="o"/>
              <a:defRPr sz="1477"/>
            </a:lvl3pPr>
            <a:lvl4pPr marL="1350558" indent="-225092">
              <a:buSzPct val="110000"/>
              <a:buFont typeface="Arial"/>
              <a:buChar char="•"/>
              <a:defRPr sz="1477"/>
            </a:lvl4pPr>
            <a:lvl5pPr marL="1800744" indent="-225092">
              <a:buSzPct val="90000"/>
              <a:buFont typeface="Courier New"/>
              <a:buChar char="o"/>
              <a:defRPr sz="14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605988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tent Slide - 03B">
    <p:spTree>
      <p:nvGrpSpPr>
        <p:cNvPr id="1" name=""/>
        <p:cNvGrpSpPr/>
        <p:nvPr/>
      </p:nvGrpSpPr>
      <p:grpSpPr>
        <a:xfrm>
          <a:off x="0" y="0"/>
          <a:ext cx="0" cy="0"/>
          <a:chOff x="0" y="0"/>
          <a:chExt cx="0" cy="0"/>
        </a:xfrm>
      </p:grpSpPr>
      <p:sp>
        <p:nvSpPr>
          <p:cNvPr id="16" name="Title 1"/>
          <p:cNvSpPr>
            <a:spLocks noGrp="1"/>
          </p:cNvSpPr>
          <p:nvPr>
            <p:ph type="title"/>
          </p:nvPr>
        </p:nvSpPr>
        <p:spPr>
          <a:xfrm>
            <a:off x="342242" y="194436"/>
            <a:ext cx="11528917" cy="394087"/>
          </a:xfrm>
        </p:spPr>
        <p:txBody>
          <a:bodyPr>
            <a:noAutofit/>
          </a:bodyPr>
          <a:lstStyle>
            <a:lvl1pPr>
              <a:defRPr sz="2585"/>
            </a:lvl1pPr>
          </a:lstStyle>
          <a:p>
            <a:r>
              <a:rPr lang="en-US"/>
              <a:t>Click to edit Master title style</a:t>
            </a:r>
          </a:p>
        </p:txBody>
      </p:sp>
      <p:sp>
        <p:nvSpPr>
          <p:cNvPr id="3" name="Text Placeholder 2"/>
          <p:cNvSpPr>
            <a:spLocks noGrp="1"/>
          </p:cNvSpPr>
          <p:nvPr>
            <p:ph type="body" sz="quarter" idx="14"/>
          </p:nvPr>
        </p:nvSpPr>
        <p:spPr>
          <a:xfrm>
            <a:off x="342243" y="601885"/>
            <a:ext cx="11540737" cy="373062"/>
          </a:xfrm>
        </p:spPr>
        <p:txBody>
          <a:bodyPr/>
          <a:lstStyle>
            <a:lvl1pPr marL="0" indent="0">
              <a:buNone/>
              <a:defRPr>
                <a:solidFill>
                  <a:schemeClr val="tx1">
                    <a:lumMod val="50000"/>
                    <a:lumOff val="50000"/>
                  </a:schemeClr>
                </a:solidFill>
              </a:defRPr>
            </a:lvl1pPr>
            <a:lvl2pPr marL="675278" indent="0">
              <a:buNone/>
              <a:defRPr/>
            </a:lvl2pPr>
            <a:lvl3pPr marL="1181738" indent="0">
              <a:buNone/>
              <a:defRPr/>
            </a:lvl3pPr>
            <a:lvl4pPr marL="1744472" indent="0">
              <a:buNone/>
              <a:defRPr/>
            </a:lvl4pPr>
            <a:lvl5pPr marL="2307205" indent="0">
              <a:buNone/>
              <a:defRPr/>
            </a:lvl5pPr>
          </a:lstStyle>
          <a:p>
            <a:pPr lvl="0"/>
            <a:r>
              <a:rPr lang="en-US"/>
              <a:t>Click to edit Master text styles</a:t>
            </a:r>
          </a:p>
        </p:txBody>
      </p:sp>
      <p:sp>
        <p:nvSpPr>
          <p:cNvPr id="10" name="Rectangle 9"/>
          <p:cNvSpPr/>
          <p:nvPr userDrawn="1"/>
        </p:nvSpPr>
        <p:spPr>
          <a:xfrm>
            <a:off x="0" y="6801490"/>
            <a:ext cx="12192000" cy="73152"/>
          </a:xfrm>
          <a:prstGeom prst="rect">
            <a:avLst/>
          </a:prstGeom>
          <a:solidFill>
            <a:srgbClr val="1290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1" name="Slide Number Placeholder 5"/>
          <p:cNvSpPr>
            <a:spLocks noGrp="1"/>
          </p:cNvSpPr>
          <p:nvPr>
            <p:ph type="sldNum" sz="quarter" idx="4"/>
          </p:nvPr>
        </p:nvSpPr>
        <p:spPr>
          <a:xfrm>
            <a:off x="342240" y="6356358"/>
            <a:ext cx="2844800" cy="365125"/>
          </a:xfrm>
          <a:prstGeom prst="rect">
            <a:avLst/>
          </a:prstGeom>
        </p:spPr>
        <p:txBody>
          <a:bodyPr vert="horz" lIns="91440" tIns="45720" rIns="91440" bIns="45720" rtlCol="0" anchor="ctr"/>
          <a:lstStyle>
            <a:lvl1pPr algn="l">
              <a:defRPr sz="985" b="1">
                <a:solidFill>
                  <a:schemeClr val="tx1"/>
                </a:solidFill>
              </a:defRPr>
            </a:lvl1pPr>
          </a:lstStyle>
          <a:p>
            <a:fld id="{4F1FA912-FC24-3D46-8310-EAE10B51E2A1}" type="slidenum">
              <a:rPr lang="en-US" smtClean="0"/>
              <a:t>‹#›</a:t>
            </a:fld>
            <a:endParaRPr lang="en-US"/>
          </a:p>
        </p:txBody>
      </p:sp>
      <p:sp>
        <p:nvSpPr>
          <p:cNvPr id="12" name="Content Placeholder 2"/>
          <p:cNvSpPr>
            <a:spLocks noGrp="1"/>
          </p:cNvSpPr>
          <p:nvPr>
            <p:ph idx="13" hasCustomPrompt="1"/>
          </p:nvPr>
        </p:nvSpPr>
        <p:spPr>
          <a:xfrm>
            <a:off x="342242" y="1231903"/>
            <a:ext cx="11528917" cy="4797261"/>
          </a:xfrm>
        </p:spPr>
        <p:txBody>
          <a:bodyPr>
            <a:noAutofit/>
          </a:bodyPr>
          <a:lstStyle>
            <a:lvl1pPr marL="0" indent="0">
              <a:spcAft>
                <a:spcPts val="1231"/>
              </a:spcAft>
              <a:buFontTx/>
              <a:buNone/>
              <a:defRPr sz="1477" b="1">
                <a:solidFill>
                  <a:srgbClr val="1573C5"/>
                </a:solidFill>
              </a:defRPr>
            </a:lvl1pPr>
            <a:lvl2pPr marL="0" indent="0">
              <a:buSzPct val="110000"/>
              <a:buFont typeface="Arial"/>
              <a:buNone/>
              <a:defRPr sz="1477"/>
            </a:lvl2pPr>
            <a:lvl3pPr marL="450186" indent="-225092">
              <a:buSzPct val="110000"/>
              <a:buFont typeface="Arial"/>
              <a:buChar char="•"/>
              <a:defRPr sz="1477"/>
            </a:lvl3pPr>
            <a:lvl4pPr marL="900372" indent="-225092">
              <a:buSzPct val="90000"/>
              <a:buFont typeface="Courier New"/>
              <a:buChar char="o"/>
              <a:defRPr sz="1477"/>
            </a:lvl4pPr>
            <a:lvl5pPr marL="1350558" indent="-225092">
              <a:buSzPct val="110000"/>
              <a:buFont typeface="Arial"/>
              <a:buChar char="•"/>
              <a:defRPr sz="14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13826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ntent Slide - 04A">
    <p:spTree>
      <p:nvGrpSpPr>
        <p:cNvPr id="1" name=""/>
        <p:cNvGrpSpPr/>
        <p:nvPr/>
      </p:nvGrpSpPr>
      <p:grpSpPr>
        <a:xfrm>
          <a:off x="0" y="0"/>
          <a:ext cx="0" cy="0"/>
          <a:chOff x="0" y="0"/>
          <a:chExt cx="0" cy="0"/>
        </a:xfrm>
      </p:grpSpPr>
      <p:sp>
        <p:nvSpPr>
          <p:cNvPr id="16" name="Title 1"/>
          <p:cNvSpPr>
            <a:spLocks noGrp="1"/>
          </p:cNvSpPr>
          <p:nvPr>
            <p:ph type="title"/>
          </p:nvPr>
        </p:nvSpPr>
        <p:spPr>
          <a:xfrm>
            <a:off x="342242" y="194430"/>
            <a:ext cx="11528917" cy="594360"/>
          </a:xfrm>
        </p:spPr>
        <p:txBody>
          <a:bodyPr>
            <a:noAutofit/>
          </a:bodyPr>
          <a:lstStyle>
            <a:lvl1pPr>
              <a:defRPr sz="2585"/>
            </a:lvl1pPr>
          </a:lstStyle>
          <a:p>
            <a:r>
              <a:rPr lang="en-US"/>
              <a:t>Click to edit Master title style</a:t>
            </a:r>
          </a:p>
        </p:txBody>
      </p:sp>
      <p:sp>
        <p:nvSpPr>
          <p:cNvPr id="7" name="Rectangle 6"/>
          <p:cNvSpPr/>
          <p:nvPr userDrawn="1"/>
        </p:nvSpPr>
        <p:spPr>
          <a:xfrm>
            <a:off x="0" y="6793042"/>
            <a:ext cx="12192000" cy="73152"/>
          </a:xfrm>
          <a:prstGeom prst="rect">
            <a:avLst/>
          </a:prstGeom>
          <a:solidFill>
            <a:srgbClr val="1843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0" name="Slide Number Placeholder 5"/>
          <p:cNvSpPr>
            <a:spLocks noGrp="1"/>
          </p:cNvSpPr>
          <p:nvPr>
            <p:ph type="sldNum" sz="quarter" idx="4"/>
          </p:nvPr>
        </p:nvSpPr>
        <p:spPr>
          <a:xfrm>
            <a:off x="342240" y="6356358"/>
            <a:ext cx="2844800" cy="365125"/>
          </a:xfrm>
          <a:prstGeom prst="rect">
            <a:avLst/>
          </a:prstGeom>
        </p:spPr>
        <p:txBody>
          <a:bodyPr vert="horz" lIns="91440" tIns="45720" rIns="91440" bIns="45720" rtlCol="0" anchor="ctr"/>
          <a:lstStyle>
            <a:lvl1pPr algn="l">
              <a:defRPr sz="985" b="1">
                <a:solidFill>
                  <a:schemeClr val="tx1"/>
                </a:solidFill>
              </a:defRPr>
            </a:lvl1pPr>
          </a:lstStyle>
          <a:p>
            <a:fld id="{4F1FA912-FC24-3D46-8310-EAE10B51E2A1}" type="slidenum">
              <a:rPr lang="en-US" smtClean="0"/>
              <a:t>‹#›</a:t>
            </a:fld>
            <a:endParaRPr lang="en-US"/>
          </a:p>
        </p:txBody>
      </p:sp>
      <p:sp>
        <p:nvSpPr>
          <p:cNvPr id="6" name="Content Placeholder 2"/>
          <p:cNvSpPr>
            <a:spLocks noGrp="1"/>
          </p:cNvSpPr>
          <p:nvPr>
            <p:ph idx="13"/>
          </p:nvPr>
        </p:nvSpPr>
        <p:spPr>
          <a:xfrm>
            <a:off x="342242" y="801394"/>
            <a:ext cx="11528917" cy="5227769"/>
          </a:xfrm>
        </p:spPr>
        <p:txBody>
          <a:bodyPr>
            <a:noAutofit/>
          </a:bodyPr>
          <a:lstStyle>
            <a:lvl1pPr marL="0" indent="0">
              <a:buFontTx/>
              <a:buNone/>
              <a:defRPr sz="1477"/>
            </a:lvl1pPr>
            <a:lvl2pPr marL="450186" indent="-225092">
              <a:buSzPct val="110000"/>
              <a:buFont typeface="Arial"/>
              <a:buChar char="•"/>
              <a:defRPr sz="1477"/>
            </a:lvl2pPr>
            <a:lvl3pPr marL="900372" indent="-225092">
              <a:buSzPct val="90000"/>
              <a:buFont typeface="Courier New"/>
              <a:buChar char="o"/>
              <a:defRPr sz="1477"/>
            </a:lvl3pPr>
            <a:lvl4pPr marL="1350558" indent="-225092">
              <a:buSzPct val="110000"/>
              <a:buFont typeface="Arial"/>
              <a:buChar char="•"/>
              <a:defRPr sz="1477"/>
            </a:lvl4pPr>
            <a:lvl5pPr marL="1800744" indent="-225092">
              <a:buSzPct val="90000"/>
              <a:buFont typeface="Courier New"/>
              <a:buChar char="o"/>
              <a:defRPr sz="14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605988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ntent Slide - 04B">
    <p:spTree>
      <p:nvGrpSpPr>
        <p:cNvPr id="1" name=""/>
        <p:cNvGrpSpPr/>
        <p:nvPr/>
      </p:nvGrpSpPr>
      <p:grpSpPr>
        <a:xfrm>
          <a:off x="0" y="0"/>
          <a:ext cx="0" cy="0"/>
          <a:chOff x="0" y="0"/>
          <a:chExt cx="0" cy="0"/>
        </a:xfrm>
      </p:grpSpPr>
      <p:sp>
        <p:nvSpPr>
          <p:cNvPr id="16" name="Title 1"/>
          <p:cNvSpPr>
            <a:spLocks noGrp="1"/>
          </p:cNvSpPr>
          <p:nvPr>
            <p:ph type="title"/>
          </p:nvPr>
        </p:nvSpPr>
        <p:spPr>
          <a:xfrm>
            <a:off x="342242" y="194436"/>
            <a:ext cx="11528917" cy="394087"/>
          </a:xfrm>
        </p:spPr>
        <p:txBody>
          <a:bodyPr>
            <a:noAutofit/>
          </a:bodyPr>
          <a:lstStyle>
            <a:lvl1pPr>
              <a:defRPr sz="2585"/>
            </a:lvl1pPr>
          </a:lstStyle>
          <a:p>
            <a:r>
              <a:rPr lang="en-US"/>
              <a:t>Click to edit Master title style</a:t>
            </a:r>
          </a:p>
        </p:txBody>
      </p:sp>
      <p:sp>
        <p:nvSpPr>
          <p:cNvPr id="3" name="Text Placeholder 2"/>
          <p:cNvSpPr>
            <a:spLocks noGrp="1"/>
          </p:cNvSpPr>
          <p:nvPr>
            <p:ph type="body" sz="quarter" idx="14"/>
          </p:nvPr>
        </p:nvSpPr>
        <p:spPr>
          <a:xfrm>
            <a:off x="342243" y="601885"/>
            <a:ext cx="11540737" cy="373062"/>
          </a:xfrm>
        </p:spPr>
        <p:txBody>
          <a:bodyPr/>
          <a:lstStyle>
            <a:lvl1pPr marL="0" indent="0">
              <a:buNone/>
              <a:defRPr>
                <a:solidFill>
                  <a:schemeClr val="tx1">
                    <a:lumMod val="50000"/>
                    <a:lumOff val="50000"/>
                  </a:schemeClr>
                </a:solidFill>
              </a:defRPr>
            </a:lvl1pPr>
            <a:lvl2pPr marL="675278" indent="0">
              <a:buNone/>
              <a:defRPr/>
            </a:lvl2pPr>
            <a:lvl3pPr marL="1181738" indent="0">
              <a:buNone/>
              <a:defRPr/>
            </a:lvl3pPr>
            <a:lvl4pPr marL="1744472" indent="0">
              <a:buNone/>
              <a:defRPr/>
            </a:lvl4pPr>
            <a:lvl5pPr marL="2307205" indent="0">
              <a:buNone/>
              <a:defRPr/>
            </a:lvl5pPr>
          </a:lstStyle>
          <a:p>
            <a:pPr lvl="0"/>
            <a:r>
              <a:rPr lang="en-US"/>
              <a:t>Click to edit Master text styles</a:t>
            </a:r>
          </a:p>
        </p:txBody>
      </p:sp>
      <p:sp>
        <p:nvSpPr>
          <p:cNvPr id="7" name="Rectangle 6"/>
          <p:cNvSpPr/>
          <p:nvPr userDrawn="1"/>
        </p:nvSpPr>
        <p:spPr>
          <a:xfrm>
            <a:off x="0" y="6793042"/>
            <a:ext cx="12192000" cy="73152"/>
          </a:xfrm>
          <a:prstGeom prst="rect">
            <a:avLst/>
          </a:prstGeom>
          <a:solidFill>
            <a:srgbClr val="1843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1" name="Slide Number Placeholder 5"/>
          <p:cNvSpPr>
            <a:spLocks noGrp="1"/>
          </p:cNvSpPr>
          <p:nvPr>
            <p:ph type="sldNum" sz="quarter" idx="4"/>
          </p:nvPr>
        </p:nvSpPr>
        <p:spPr>
          <a:xfrm>
            <a:off x="342240" y="6356358"/>
            <a:ext cx="2844800" cy="365125"/>
          </a:xfrm>
          <a:prstGeom prst="rect">
            <a:avLst/>
          </a:prstGeom>
        </p:spPr>
        <p:txBody>
          <a:bodyPr vert="horz" lIns="91440" tIns="45720" rIns="91440" bIns="45720" rtlCol="0" anchor="ctr"/>
          <a:lstStyle>
            <a:lvl1pPr algn="l">
              <a:defRPr sz="985" b="1">
                <a:solidFill>
                  <a:schemeClr val="tx1"/>
                </a:solidFill>
              </a:defRPr>
            </a:lvl1pPr>
          </a:lstStyle>
          <a:p>
            <a:fld id="{4F1FA912-FC24-3D46-8310-EAE10B51E2A1}" type="slidenum">
              <a:rPr lang="en-US" smtClean="0"/>
              <a:t>‹#›</a:t>
            </a:fld>
            <a:endParaRPr lang="en-US"/>
          </a:p>
        </p:txBody>
      </p:sp>
      <p:sp>
        <p:nvSpPr>
          <p:cNvPr id="13" name="Content Placeholder 2"/>
          <p:cNvSpPr>
            <a:spLocks noGrp="1"/>
          </p:cNvSpPr>
          <p:nvPr>
            <p:ph idx="13" hasCustomPrompt="1"/>
          </p:nvPr>
        </p:nvSpPr>
        <p:spPr>
          <a:xfrm>
            <a:off x="342242" y="1231903"/>
            <a:ext cx="11528917" cy="4797261"/>
          </a:xfrm>
        </p:spPr>
        <p:txBody>
          <a:bodyPr>
            <a:noAutofit/>
          </a:bodyPr>
          <a:lstStyle>
            <a:lvl1pPr marL="0" indent="0">
              <a:spcAft>
                <a:spcPts val="1231"/>
              </a:spcAft>
              <a:buFontTx/>
              <a:buNone/>
              <a:defRPr sz="1477" b="1">
                <a:solidFill>
                  <a:srgbClr val="1573C5"/>
                </a:solidFill>
              </a:defRPr>
            </a:lvl1pPr>
            <a:lvl2pPr marL="0" indent="0">
              <a:buSzPct val="110000"/>
              <a:buFont typeface="Arial"/>
              <a:buNone/>
              <a:defRPr sz="1477"/>
            </a:lvl2pPr>
            <a:lvl3pPr marL="450186" indent="-225092">
              <a:buSzPct val="110000"/>
              <a:buFont typeface="Arial"/>
              <a:buChar char="•"/>
              <a:defRPr sz="1477"/>
            </a:lvl3pPr>
            <a:lvl4pPr marL="900372" indent="-225092">
              <a:buSzPct val="90000"/>
              <a:buFont typeface="Courier New"/>
              <a:buChar char="o"/>
              <a:defRPr sz="1477"/>
            </a:lvl4pPr>
            <a:lvl5pPr marL="1350558" indent="-225092">
              <a:buSzPct val="110000"/>
              <a:buFont typeface="Arial"/>
              <a:buChar char="•"/>
              <a:defRPr sz="14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657272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ntent Slide - 05A">
    <p:spTree>
      <p:nvGrpSpPr>
        <p:cNvPr id="1" name=""/>
        <p:cNvGrpSpPr/>
        <p:nvPr/>
      </p:nvGrpSpPr>
      <p:grpSpPr>
        <a:xfrm>
          <a:off x="0" y="0"/>
          <a:ext cx="0" cy="0"/>
          <a:chOff x="0" y="0"/>
          <a:chExt cx="0" cy="0"/>
        </a:xfrm>
      </p:grpSpPr>
      <p:sp>
        <p:nvSpPr>
          <p:cNvPr id="16" name="Title 1"/>
          <p:cNvSpPr>
            <a:spLocks noGrp="1"/>
          </p:cNvSpPr>
          <p:nvPr>
            <p:ph type="title"/>
          </p:nvPr>
        </p:nvSpPr>
        <p:spPr>
          <a:xfrm>
            <a:off x="342242" y="194430"/>
            <a:ext cx="11528917" cy="594360"/>
          </a:xfrm>
        </p:spPr>
        <p:txBody>
          <a:bodyPr>
            <a:noAutofit/>
          </a:bodyPr>
          <a:lstStyle>
            <a:lvl1pPr>
              <a:defRPr sz="2585"/>
            </a:lvl1pPr>
          </a:lstStyle>
          <a:p>
            <a:r>
              <a:rPr lang="en-US"/>
              <a:t>Click to edit Master title style</a:t>
            </a:r>
          </a:p>
        </p:txBody>
      </p:sp>
      <p:sp>
        <p:nvSpPr>
          <p:cNvPr id="7" name="Rectangle 6"/>
          <p:cNvSpPr/>
          <p:nvPr userDrawn="1"/>
        </p:nvSpPr>
        <p:spPr>
          <a:xfrm>
            <a:off x="0" y="6793042"/>
            <a:ext cx="12192000" cy="73152"/>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0" name="Slide Number Placeholder 5"/>
          <p:cNvSpPr>
            <a:spLocks noGrp="1"/>
          </p:cNvSpPr>
          <p:nvPr>
            <p:ph type="sldNum" sz="quarter" idx="4"/>
          </p:nvPr>
        </p:nvSpPr>
        <p:spPr>
          <a:xfrm>
            <a:off x="342240" y="6356358"/>
            <a:ext cx="2844800" cy="365125"/>
          </a:xfrm>
          <a:prstGeom prst="rect">
            <a:avLst/>
          </a:prstGeom>
        </p:spPr>
        <p:txBody>
          <a:bodyPr vert="horz" lIns="91440" tIns="45720" rIns="91440" bIns="45720" rtlCol="0" anchor="ctr"/>
          <a:lstStyle>
            <a:lvl1pPr algn="l">
              <a:defRPr sz="985" b="1">
                <a:solidFill>
                  <a:schemeClr val="tx1"/>
                </a:solidFill>
              </a:defRPr>
            </a:lvl1pPr>
          </a:lstStyle>
          <a:p>
            <a:fld id="{4F1FA912-FC24-3D46-8310-EAE10B51E2A1}" type="slidenum">
              <a:rPr lang="en-US" smtClean="0"/>
              <a:t>‹#›</a:t>
            </a:fld>
            <a:endParaRPr lang="en-US"/>
          </a:p>
        </p:txBody>
      </p:sp>
      <p:sp>
        <p:nvSpPr>
          <p:cNvPr id="6" name="Content Placeholder 2"/>
          <p:cNvSpPr>
            <a:spLocks noGrp="1"/>
          </p:cNvSpPr>
          <p:nvPr>
            <p:ph idx="13"/>
          </p:nvPr>
        </p:nvSpPr>
        <p:spPr>
          <a:xfrm>
            <a:off x="342242" y="801394"/>
            <a:ext cx="11528917" cy="5227769"/>
          </a:xfrm>
        </p:spPr>
        <p:txBody>
          <a:bodyPr>
            <a:noAutofit/>
          </a:bodyPr>
          <a:lstStyle>
            <a:lvl1pPr marL="0" indent="0">
              <a:buFontTx/>
              <a:buNone/>
              <a:defRPr sz="1477"/>
            </a:lvl1pPr>
            <a:lvl2pPr marL="450186" indent="-225092">
              <a:buSzPct val="110000"/>
              <a:buFont typeface="Arial"/>
              <a:buChar char="•"/>
              <a:defRPr sz="1477"/>
            </a:lvl2pPr>
            <a:lvl3pPr marL="900372" indent="-225092">
              <a:buSzPct val="90000"/>
              <a:buFont typeface="Courier New"/>
              <a:buChar char="o"/>
              <a:defRPr sz="1477"/>
            </a:lvl3pPr>
            <a:lvl4pPr marL="1350558" indent="-225092">
              <a:buSzPct val="110000"/>
              <a:buFont typeface="Arial"/>
              <a:buChar char="•"/>
              <a:defRPr sz="1477"/>
            </a:lvl4pPr>
            <a:lvl5pPr marL="1800744" indent="-225092">
              <a:buSzPct val="90000"/>
              <a:buFont typeface="Courier New"/>
              <a:buChar char="o"/>
              <a:defRPr sz="14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a:extLst>
              <a:ext uri="{FF2B5EF4-FFF2-40B4-BE49-F238E27FC236}">
                <a16:creationId xmlns:a16="http://schemas.microsoft.com/office/drawing/2014/main" id="{EF7B4290-2A14-80F6-3DE8-0FAEC91AB6B3}"/>
              </a:ext>
            </a:extLst>
          </p:cNvPr>
          <p:cNvPicPr>
            <a:picLocks noChangeAspect="1"/>
          </p:cNvPicPr>
          <p:nvPr userDrawn="1"/>
        </p:nvPicPr>
        <p:blipFill>
          <a:blip r:embed="rId2"/>
          <a:stretch>
            <a:fillRect/>
          </a:stretch>
        </p:blipFill>
        <p:spPr>
          <a:xfrm>
            <a:off x="10483698" y="38161"/>
            <a:ext cx="1323837" cy="750629"/>
          </a:xfrm>
          <a:prstGeom prst="rect">
            <a:avLst/>
          </a:prstGeom>
        </p:spPr>
      </p:pic>
    </p:spTree>
    <p:extLst>
      <p:ext uri="{BB962C8B-B14F-4D97-AF65-F5344CB8AC3E}">
        <p14:creationId xmlns:p14="http://schemas.microsoft.com/office/powerpoint/2010/main" val="159605988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ntent Slide - 05B">
    <p:spTree>
      <p:nvGrpSpPr>
        <p:cNvPr id="1" name=""/>
        <p:cNvGrpSpPr/>
        <p:nvPr/>
      </p:nvGrpSpPr>
      <p:grpSpPr>
        <a:xfrm>
          <a:off x="0" y="0"/>
          <a:ext cx="0" cy="0"/>
          <a:chOff x="0" y="0"/>
          <a:chExt cx="0" cy="0"/>
        </a:xfrm>
      </p:grpSpPr>
      <p:sp>
        <p:nvSpPr>
          <p:cNvPr id="16" name="Title 1"/>
          <p:cNvSpPr>
            <a:spLocks noGrp="1"/>
          </p:cNvSpPr>
          <p:nvPr>
            <p:ph type="title"/>
          </p:nvPr>
        </p:nvSpPr>
        <p:spPr>
          <a:xfrm>
            <a:off x="342242" y="194436"/>
            <a:ext cx="11528917" cy="394087"/>
          </a:xfrm>
        </p:spPr>
        <p:txBody>
          <a:bodyPr>
            <a:noAutofit/>
          </a:bodyPr>
          <a:lstStyle>
            <a:lvl1pPr>
              <a:defRPr sz="2585"/>
            </a:lvl1pPr>
          </a:lstStyle>
          <a:p>
            <a:r>
              <a:rPr lang="en-US"/>
              <a:t>Click to edit Master title style</a:t>
            </a:r>
          </a:p>
        </p:txBody>
      </p:sp>
      <p:sp>
        <p:nvSpPr>
          <p:cNvPr id="3" name="Text Placeholder 2"/>
          <p:cNvSpPr>
            <a:spLocks noGrp="1"/>
          </p:cNvSpPr>
          <p:nvPr>
            <p:ph type="body" sz="quarter" idx="14"/>
          </p:nvPr>
        </p:nvSpPr>
        <p:spPr>
          <a:xfrm>
            <a:off x="342243" y="601885"/>
            <a:ext cx="11540737" cy="373062"/>
          </a:xfrm>
        </p:spPr>
        <p:txBody>
          <a:bodyPr/>
          <a:lstStyle>
            <a:lvl1pPr marL="0" indent="0">
              <a:buNone/>
              <a:defRPr>
                <a:solidFill>
                  <a:schemeClr val="tx1">
                    <a:lumMod val="50000"/>
                    <a:lumOff val="50000"/>
                  </a:schemeClr>
                </a:solidFill>
              </a:defRPr>
            </a:lvl1pPr>
            <a:lvl2pPr marL="675278" indent="0">
              <a:buNone/>
              <a:defRPr/>
            </a:lvl2pPr>
            <a:lvl3pPr marL="1181738" indent="0">
              <a:buNone/>
              <a:defRPr/>
            </a:lvl3pPr>
            <a:lvl4pPr marL="1744472" indent="0">
              <a:buNone/>
              <a:defRPr/>
            </a:lvl4pPr>
            <a:lvl5pPr marL="2307205" indent="0">
              <a:buNone/>
              <a:defRPr/>
            </a:lvl5pPr>
          </a:lstStyle>
          <a:p>
            <a:pPr lvl="0"/>
            <a:r>
              <a:rPr lang="en-US"/>
              <a:t>Click to edit Master text styles</a:t>
            </a:r>
          </a:p>
        </p:txBody>
      </p:sp>
      <p:sp>
        <p:nvSpPr>
          <p:cNvPr id="9" name="Rectangle 8"/>
          <p:cNvSpPr/>
          <p:nvPr userDrawn="1"/>
        </p:nvSpPr>
        <p:spPr>
          <a:xfrm>
            <a:off x="0" y="6793042"/>
            <a:ext cx="12192000" cy="73152"/>
          </a:xfrm>
          <a:prstGeom prst="rect">
            <a:avLst/>
          </a:prstGeom>
          <a:solidFill>
            <a:srgbClr val="9EC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215"/>
          </a:p>
        </p:txBody>
      </p:sp>
      <p:sp>
        <p:nvSpPr>
          <p:cNvPr id="10" name="Slide Number Placeholder 5"/>
          <p:cNvSpPr>
            <a:spLocks noGrp="1"/>
          </p:cNvSpPr>
          <p:nvPr>
            <p:ph type="sldNum" sz="quarter" idx="4"/>
          </p:nvPr>
        </p:nvSpPr>
        <p:spPr>
          <a:xfrm>
            <a:off x="342240" y="6356358"/>
            <a:ext cx="2844800" cy="365125"/>
          </a:xfrm>
          <a:prstGeom prst="rect">
            <a:avLst/>
          </a:prstGeom>
        </p:spPr>
        <p:txBody>
          <a:bodyPr vert="horz" lIns="91440" tIns="45720" rIns="91440" bIns="45720" rtlCol="0" anchor="ctr"/>
          <a:lstStyle>
            <a:lvl1pPr algn="l">
              <a:defRPr sz="985" b="1">
                <a:solidFill>
                  <a:schemeClr val="tx1"/>
                </a:solidFill>
              </a:defRPr>
            </a:lvl1pPr>
          </a:lstStyle>
          <a:p>
            <a:fld id="{4F1FA912-FC24-3D46-8310-EAE10B51E2A1}" type="slidenum">
              <a:rPr lang="en-US" smtClean="0"/>
              <a:t>‹#›</a:t>
            </a:fld>
            <a:endParaRPr lang="en-US"/>
          </a:p>
        </p:txBody>
      </p:sp>
      <p:sp>
        <p:nvSpPr>
          <p:cNvPr id="11" name="Content Placeholder 2"/>
          <p:cNvSpPr>
            <a:spLocks noGrp="1"/>
          </p:cNvSpPr>
          <p:nvPr>
            <p:ph idx="13" hasCustomPrompt="1"/>
          </p:nvPr>
        </p:nvSpPr>
        <p:spPr>
          <a:xfrm>
            <a:off x="342242" y="1231903"/>
            <a:ext cx="11528917" cy="4797261"/>
          </a:xfrm>
        </p:spPr>
        <p:txBody>
          <a:bodyPr>
            <a:noAutofit/>
          </a:bodyPr>
          <a:lstStyle>
            <a:lvl1pPr marL="0" indent="0">
              <a:spcAft>
                <a:spcPts val="1231"/>
              </a:spcAft>
              <a:buFontTx/>
              <a:buNone/>
              <a:defRPr sz="1477" b="1">
                <a:solidFill>
                  <a:srgbClr val="1573C5"/>
                </a:solidFill>
              </a:defRPr>
            </a:lvl1pPr>
            <a:lvl2pPr marL="0" indent="0">
              <a:buSzPct val="110000"/>
              <a:buFont typeface="Arial"/>
              <a:buNone/>
              <a:defRPr sz="1477"/>
            </a:lvl2pPr>
            <a:lvl3pPr marL="450186" indent="-225092">
              <a:buSzPct val="110000"/>
              <a:buFont typeface="Arial"/>
              <a:buChar char="•"/>
              <a:defRPr sz="1477"/>
            </a:lvl3pPr>
            <a:lvl4pPr marL="900372" indent="-225092">
              <a:buSzPct val="90000"/>
              <a:buFont typeface="Courier New"/>
              <a:buChar char="o"/>
              <a:defRPr sz="1477"/>
            </a:lvl4pPr>
            <a:lvl5pPr marL="1350558" indent="-225092">
              <a:buSzPct val="110000"/>
              <a:buFont typeface="Arial"/>
              <a:buChar char="•"/>
              <a:defRPr sz="147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a:extLst>
              <a:ext uri="{FF2B5EF4-FFF2-40B4-BE49-F238E27FC236}">
                <a16:creationId xmlns:a16="http://schemas.microsoft.com/office/drawing/2014/main" id="{2069959A-49F8-0948-7C39-D6E10277B097}"/>
              </a:ext>
            </a:extLst>
          </p:cNvPr>
          <p:cNvPicPr>
            <a:picLocks noChangeAspect="1"/>
          </p:cNvPicPr>
          <p:nvPr userDrawn="1"/>
        </p:nvPicPr>
        <p:blipFill>
          <a:blip r:embed="rId2"/>
          <a:stretch>
            <a:fillRect/>
          </a:stretch>
        </p:blipFill>
        <p:spPr>
          <a:xfrm>
            <a:off x="10483698" y="38161"/>
            <a:ext cx="1323837" cy="750629"/>
          </a:xfrm>
          <a:prstGeom prst="rect">
            <a:avLst/>
          </a:prstGeom>
        </p:spPr>
      </p:pic>
    </p:spTree>
    <p:extLst>
      <p:ext uri="{BB962C8B-B14F-4D97-AF65-F5344CB8AC3E}">
        <p14:creationId xmlns:p14="http://schemas.microsoft.com/office/powerpoint/2010/main" val="21656249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21" Type="http://schemas.openxmlformats.org/officeDocument/2006/relationships/slideLayout" Target="../slideLayouts/slideLayout55.xml"/><Relationship Id="rId34" Type="http://schemas.openxmlformats.org/officeDocument/2006/relationships/slideLayout" Target="../slideLayouts/slideLayout68.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38" Type="http://schemas.openxmlformats.org/officeDocument/2006/relationships/image" Target="../media/image9.png"/><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slideLayout" Target="../slideLayouts/slideLayout6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theme" Target="../theme/theme2.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slideLayout" Target="../slideLayouts/slideLayout70.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slideLayout" Target="../slideLayouts/slideLayout69.xml"/><Relationship Id="rId8" Type="http://schemas.openxmlformats.org/officeDocument/2006/relationships/slideLayout" Target="../slideLayouts/slideLayout42.xml"/><Relationship Id="rId3" Type="http://schemas.openxmlformats.org/officeDocument/2006/relationships/slideLayout" Target="../slideLayouts/slideLayout3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9" Type="http://schemas.openxmlformats.org/officeDocument/2006/relationships/slideLayout" Target="../slideLayouts/slideLayout109.xml"/><Relationship Id="rId21" Type="http://schemas.openxmlformats.org/officeDocument/2006/relationships/slideLayout" Target="../slideLayouts/slideLayout91.xml"/><Relationship Id="rId34" Type="http://schemas.openxmlformats.org/officeDocument/2006/relationships/slideLayout" Target="../slideLayouts/slideLayout104.xml"/><Relationship Id="rId42" Type="http://schemas.openxmlformats.org/officeDocument/2006/relationships/slideLayout" Target="../slideLayouts/slideLayout112.xml"/><Relationship Id="rId47" Type="http://schemas.openxmlformats.org/officeDocument/2006/relationships/slideLayout" Target="../slideLayouts/slideLayout117.xml"/><Relationship Id="rId50" Type="http://schemas.openxmlformats.org/officeDocument/2006/relationships/slideLayout" Target="../slideLayouts/slideLayout120.xml"/><Relationship Id="rId7" Type="http://schemas.openxmlformats.org/officeDocument/2006/relationships/slideLayout" Target="../slideLayouts/slideLayout77.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9" Type="http://schemas.openxmlformats.org/officeDocument/2006/relationships/slideLayout" Target="../slideLayouts/slideLayout99.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32" Type="http://schemas.openxmlformats.org/officeDocument/2006/relationships/slideLayout" Target="../slideLayouts/slideLayout102.xml"/><Relationship Id="rId37" Type="http://schemas.openxmlformats.org/officeDocument/2006/relationships/slideLayout" Target="../slideLayouts/slideLayout107.xml"/><Relationship Id="rId40" Type="http://schemas.openxmlformats.org/officeDocument/2006/relationships/slideLayout" Target="../slideLayouts/slideLayout110.xml"/><Relationship Id="rId45" Type="http://schemas.openxmlformats.org/officeDocument/2006/relationships/slideLayout" Target="../slideLayouts/slideLayout115.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36" Type="http://schemas.openxmlformats.org/officeDocument/2006/relationships/slideLayout" Target="../slideLayouts/slideLayout106.xml"/><Relationship Id="rId49" Type="http://schemas.openxmlformats.org/officeDocument/2006/relationships/slideLayout" Target="../slideLayouts/slideLayout119.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31" Type="http://schemas.openxmlformats.org/officeDocument/2006/relationships/slideLayout" Target="../slideLayouts/slideLayout101.xml"/><Relationship Id="rId44" Type="http://schemas.openxmlformats.org/officeDocument/2006/relationships/slideLayout" Target="../slideLayouts/slideLayout114.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slideLayout" Target="../slideLayouts/slideLayout100.xml"/><Relationship Id="rId35" Type="http://schemas.openxmlformats.org/officeDocument/2006/relationships/slideLayout" Target="../slideLayouts/slideLayout105.xml"/><Relationship Id="rId43" Type="http://schemas.openxmlformats.org/officeDocument/2006/relationships/slideLayout" Target="../slideLayouts/slideLayout113.xml"/><Relationship Id="rId48" Type="http://schemas.openxmlformats.org/officeDocument/2006/relationships/slideLayout" Target="../slideLayouts/slideLayout118.xml"/><Relationship Id="rId8" Type="http://schemas.openxmlformats.org/officeDocument/2006/relationships/slideLayout" Target="../slideLayouts/slideLayout78.xml"/><Relationship Id="rId51" Type="http://schemas.openxmlformats.org/officeDocument/2006/relationships/theme" Target="../theme/theme3.xml"/><Relationship Id="rId3" Type="http://schemas.openxmlformats.org/officeDocument/2006/relationships/slideLayout" Target="../slideLayouts/slideLayout73.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33" Type="http://schemas.openxmlformats.org/officeDocument/2006/relationships/slideLayout" Target="../slideLayouts/slideLayout103.xml"/><Relationship Id="rId38" Type="http://schemas.openxmlformats.org/officeDocument/2006/relationships/slideLayout" Target="../slideLayouts/slideLayout108.xml"/><Relationship Id="rId46" Type="http://schemas.openxmlformats.org/officeDocument/2006/relationships/slideLayout" Target="../slideLayouts/slideLayout116.xml"/><Relationship Id="rId20" Type="http://schemas.openxmlformats.org/officeDocument/2006/relationships/slideLayout" Target="../slideLayouts/slideLayout90.xml"/><Relationship Id="rId41" Type="http://schemas.openxmlformats.org/officeDocument/2006/relationships/slideLayout" Target="../slideLayouts/slideLayout111.xml"/><Relationship Id="rId1" Type="http://schemas.openxmlformats.org/officeDocument/2006/relationships/slideLayout" Target="../slideLayouts/slideLayout71.xml"/><Relationship Id="rId6" Type="http://schemas.openxmlformats.org/officeDocument/2006/relationships/slideLayout" Target="../slideLayouts/slideLayout7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slideLayout" Target="../slideLayouts/slideLayout133.xml"/><Relationship Id="rId18" Type="http://schemas.openxmlformats.org/officeDocument/2006/relationships/slideLayout" Target="../slideLayouts/slideLayout138.xml"/><Relationship Id="rId26" Type="http://schemas.openxmlformats.org/officeDocument/2006/relationships/image" Target="../media/image21.png"/><Relationship Id="rId3" Type="http://schemas.openxmlformats.org/officeDocument/2006/relationships/slideLayout" Target="../slideLayouts/slideLayout123.xml"/><Relationship Id="rId21" Type="http://schemas.openxmlformats.org/officeDocument/2006/relationships/slideLayout" Target="../slideLayouts/slideLayout141.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5" Type="http://schemas.openxmlformats.org/officeDocument/2006/relationships/image" Target="../media/image20.emf"/><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0" Type="http://schemas.openxmlformats.org/officeDocument/2006/relationships/slideLayout" Target="../slideLayouts/slideLayout140.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24" Type="http://schemas.openxmlformats.org/officeDocument/2006/relationships/oleObject" Target="../embeddings/oleObject1.bin"/><Relationship Id="rId5" Type="http://schemas.openxmlformats.org/officeDocument/2006/relationships/slideLayout" Target="../slideLayouts/slideLayout125.xml"/><Relationship Id="rId15" Type="http://schemas.openxmlformats.org/officeDocument/2006/relationships/slideLayout" Target="../slideLayouts/slideLayout135.xml"/><Relationship Id="rId23" Type="http://schemas.openxmlformats.org/officeDocument/2006/relationships/tags" Target="../tags/tag1.xml"/><Relationship Id="rId10" Type="http://schemas.openxmlformats.org/officeDocument/2006/relationships/slideLayout" Target="../slideLayouts/slideLayout130.xml"/><Relationship Id="rId19" Type="http://schemas.openxmlformats.org/officeDocument/2006/relationships/slideLayout" Target="../slideLayouts/slideLayout139.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 Id="rId22" Type="http://schemas.openxmlformats.org/officeDocument/2006/relationships/theme" Target="../theme/theme4.xml"/><Relationship Id="rId27" Type="http://schemas.openxmlformats.org/officeDocument/2006/relationships/image" Target="../media/image22.sv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26" Type="http://schemas.openxmlformats.org/officeDocument/2006/relationships/slideLayout" Target="../slideLayouts/slideLayout167.xml"/><Relationship Id="rId3" Type="http://schemas.openxmlformats.org/officeDocument/2006/relationships/slideLayout" Target="../slideLayouts/slideLayout144.xml"/><Relationship Id="rId21" Type="http://schemas.openxmlformats.org/officeDocument/2006/relationships/slideLayout" Target="../slideLayouts/slideLayout162.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5" Type="http://schemas.openxmlformats.org/officeDocument/2006/relationships/slideLayout" Target="../slideLayouts/slideLayout166.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slideLayout" Target="../slideLayouts/slideLayout161.xml"/><Relationship Id="rId29" Type="http://schemas.openxmlformats.org/officeDocument/2006/relationships/theme" Target="../theme/theme5.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24" Type="http://schemas.openxmlformats.org/officeDocument/2006/relationships/slideLayout" Target="../slideLayouts/slideLayout165.xml"/><Relationship Id="rId32" Type="http://schemas.openxmlformats.org/officeDocument/2006/relationships/image" Target="../media/image27.emf"/><Relationship Id="rId5" Type="http://schemas.openxmlformats.org/officeDocument/2006/relationships/slideLayout" Target="../slideLayouts/slideLayout146.xml"/><Relationship Id="rId15" Type="http://schemas.openxmlformats.org/officeDocument/2006/relationships/slideLayout" Target="../slideLayouts/slideLayout156.xml"/><Relationship Id="rId23" Type="http://schemas.openxmlformats.org/officeDocument/2006/relationships/slideLayout" Target="../slideLayouts/slideLayout164.xml"/><Relationship Id="rId28" Type="http://schemas.openxmlformats.org/officeDocument/2006/relationships/slideLayout" Target="../slideLayouts/slideLayout169.xml"/><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31" Type="http://schemas.openxmlformats.org/officeDocument/2006/relationships/oleObject" Target="../embeddings/oleObject2.bin"/><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slideLayout" Target="../slideLayouts/slideLayout163.xml"/><Relationship Id="rId27" Type="http://schemas.openxmlformats.org/officeDocument/2006/relationships/slideLayout" Target="../slideLayouts/slideLayout168.xml"/><Relationship Id="rId3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2242" y="194434"/>
            <a:ext cx="11528917" cy="594307"/>
          </a:xfrm>
          <a:prstGeom prst="rect">
            <a:avLst/>
          </a:prstGeom>
        </p:spPr>
        <p:txBody>
          <a:bodyPr vert="horz" lIns="9144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342242" y="802111"/>
            <a:ext cx="11528917"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342240" y="6356358"/>
            <a:ext cx="2844800" cy="365125"/>
          </a:xfrm>
          <a:prstGeom prst="rect">
            <a:avLst/>
          </a:prstGeom>
        </p:spPr>
        <p:txBody>
          <a:bodyPr vert="horz" lIns="91440" tIns="45720" rIns="91440" bIns="45720" rtlCol="0" anchor="ctr"/>
          <a:lstStyle>
            <a:lvl1pPr algn="l">
              <a:defRPr sz="985" b="1">
                <a:solidFill>
                  <a:schemeClr val="tx1"/>
                </a:solidFill>
              </a:defRPr>
            </a:lvl1pPr>
          </a:lstStyle>
          <a:p>
            <a:fld id="{4F1FA912-FC24-3D46-8310-EAE10B51E2A1}" type="slidenum">
              <a:rPr lang="en-US" smtClean="0"/>
              <a:t>‹#›</a:t>
            </a:fld>
            <a:endParaRPr lang="en-US"/>
          </a:p>
        </p:txBody>
      </p:sp>
      <p:pic>
        <p:nvPicPr>
          <p:cNvPr id="5" name="Picture 4" descr="Logo&#10;&#10;Description automatically generated">
            <a:extLst>
              <a:ext uri="{FF2B5EF4-FFF2-40B4-BE49-F238E27FC236}">
                <a16:creationId xmlns:a16="http://schemas.microsoft.com/office/drawing/2014/main" id="{BF9D5FF1-5CA2-4C0C-ABCC-80858BDC50B1}"/>
              </a:ext>
            </a:extLst>
          </p:cNvPr>
          <p:cNvPicPr>
            <a:picLocks noChangeAspect="1"/>
          </p:cNvPicPr>
          <p:nvPr userDrawn="1"/>
        </p:nvPicPr>
        <p:blipFill>
          <a:blip r:embed="rId36"/>
          <a:stretch>
            <a:fillRect/>
          </a:stretch>
        </p:blipFill>
        <p:spPr>
          <a:xfrm>
            <a:off x="9911346" y="6223687"/>
            <a:ext cx="2280654" cy="594307"/>
          </a:xfrm>
          <a:prstGeom prst="rect">
            <a:avLst/>
          </a:prstGeom>
        </p:spPr>
      </p:pic>
      <p:sp>
        <p:nvSpPr>
          <p:cNvPr id="7" name="TextBox 6">
            <a:extLst>
              <a:ext uri="{FF2B5EF4-FFF2-40B4-BE49-F238E27FC236}">
                <a16:creationId xmlns:a16="http://schemas.microsoft.com/office/drawing/2014/main" id="{28207E0B-F850-451A-D41D-369615A35BC1}"/>
              </a:ext>
            </a:extLst>
          </p:cNvPr>
          <p:cNvSpPr txBox="1"/>
          <p:nvPr userDrawn="1">
            <p:extLst>
              <p:ext uri="{1162E1C5-73C7-4A58-AE30-91384D911F3F}">
                <p184:classification xmlns:p184="http://schemas.microsoft.com/office/powerpoint/2018/4/main" val="ftr"/>
              </p:ext>
            </p:extLst>
          </p:nvPr>
        </p:nvSpPr>
        <p:spPr>
          <a:xfrm>
            <a:off x="5788787" y="6736080"/>
            <a:ext cx="636588" cy="121920"/>
          </a:xfrm>
          <a:prstGeom prst="rect">
            <a:avLst/>
          </a:prstGeom>
        </p:spPr>
        <p:txBody>
          <a:bodyPr horzOverflow="overflow" lIns="0" tIns="0" rIns="0" bIns="0">
            <a:spAutoFit/>
          </a:bodyPr>
          <a:lstStyle/>
          <a:p>
            <a:pPr algn="l"/>
            <a:r>
              <a:rPr lang="de-DE" sz="800">
                <a:solidFill>
                  <a:srgbClr val="000000"/>
                </a:solidFill>
                <a:latin typeface="Calibri" panose="020F0502020204030204" pitchFamily="34" charset="0"/>
                <a:cs typeface="Calibri" panose="020F0502020204030204" pitchFamily="34" charset="0"/>
              </a:rPr>
              <a:t>- Confidential -</a:t>
            </a:r>
          </a:p>
        </p:txBody>
      </p:sp>
    </p:spTree>
    <p:extLst>
      <p:ext uri="{BB962C8B-B14F-4D97-AF65-F5344CB8AC3E}">
        <p14:creationId xmlns:p14="http://schemas.microsoft.com/office/powerpoint/2010/main" val="2727387378"/>
      </p:ext>
    </p:extLst>
  </p:cSld>
  <p:clrMap bg1="lt1" tx1="dk1" bg2="lt2" tx2="dk2" accent1="accent1" accent2="accent2" accent3="accent3" accent4="accent4" accent5="accent5" accent6="accent6" hlink="hlink" folHlink="folHlink"/>
  <p:sldLayoutIdLst>
    <p:sldLayoutId id="2147483673" r:id="rId1"/>
    <p:sldLayoutId id="2147483687" r:id="rId2"/>
    <p:sldLayoutId id="2147483690" r:id="rId3"/>
    <p:sldLayoutId id="2147484706" r:id="rId4"/>
    <p:sldLayoutId id="2147484707" r:id="rId5"/>
    <p:sldLayoutId id="2147483650" r:id="rId6"/>
    <p:sldLayoutId id="2147483704" r:id="rId7"/>
    <p:sldLayoutId id="2147483705" r:id="rId8"/>
    <p:sldLayoutId id="2147483703" r:id="rId9"/>
    <p:sldLayoutId id="2147483699" r:id="rId10"/>
    <p:sldLayoutId id="2147483702" r:id="rId11"/>
    <p:sldLayoutId id="2147483700" r:id="rId12"/>
    <p:sldLayoutId id="2147483701" r:id="rId13"/>
    <p:sldLayoutId id="2147483651" r:id="rId14"/>
    <p:sldLayoutId id="2147483675" r:id="rId15"/>
    <p:sldLayoutId id="2147483671" r:id="rId16"/>
    <p:sldLayoutId id="2147483677" r:id="rId17"/>
    <p:sldLayoutId id="2147483672" r:id="rId18"/>
    <p:sldLayoutId id="2147483679" r:id="rId19"/>
    <p:sldLayoutId id="2147483680" r:id="rId20"/>
    <p:sldLayoutId id="2147483674" r:id="rId21"/>
    <p:sldLayoutId id="2147483681" r:id="rId22"/>
    <p:sldLayoutId id="2147483652" r:id="rId23"/>
    <p:sldLayoutId id="2147483661" r:id="rId24"/>
    <p:sldLayoutId id="2147483664" r:id="rId25"/>
    <p:sldLayoutId id="2147483665" r:id="rId26"/>
    <p:sldLayoutId id="2147483663" r:id="rId27"/>
    <p:sldLayoutId id="2147483666" r:id="rId28"/>
    <p:sldLayoutId id="2147483667" r:id="rId29"/>
    <p:sldLayoutId id="2147483668" r:id="rId30"/>
    <p:sldLayoutId id="2147483669" r:id="rId31"/>
    <p:sldLayoutId id="2147483670" r:id="rId32"/>
    <p:sldLayoutId id="2147483682" r:id="rId33"/>
    <p:sldLayoutId id="2147483686" r:id="rId34"/>
  </p:sldLayoutIdLst>
  <p:hf hdr="0" ftr="0" dt="0"/>
  <p:txStyles>
    <p:titleStyle>
      <a:lvl1pPr algn="l" defTabSz="562733" rtl="0" eaLnBrk="1" latinLnBrk="0" hangingPunct="1">
        <a:spcBef>
          <a:spcPct val="0"/>
        </a:spcBef>
        <a:buNone/>
        <a:defRPr sz="2585" b="1" kern="1200">
          <a:solidFill>
            <a:srgbClr val="1573C5"/>
          </a:solidFill>
          <a:latin typeface="Arial"/>
          <a:ea typeface="+mj-ea"/>
          <a:cs typeface="Arial"/>
        </a:defRPr>
      </a:lvl1pPr>
    </p:titleStyle>
    <p:bodyStyle>
      <a:lvl1pPr marL="225092" indent="-225092" algn="l" defTabSz="562733" rtl="0" eaLnBrk="1" latinLnBrk="0" hangingPunct="1">
        <a:spcBef>
          <a:spcPct val="20000"/>
        </a:spcBef>
        <a:spcAft>
          <a:spcPts val="738"/>
        </a:spcAft>
        <a:buClr>
          <a:srgbClr val="1573C5"/>
        </a:buClr>
        <a:buSzPct val="110000"/>
        <a:buFont typeface="Arial"/>
        <a:buChar char="•"/>
        <a:defRPr sz="1969" kern="1200">
          <a:solidFill>
            <a:schemeClr val="tx1"/>
          </a:solidFill>
          <a:latin typeface="Arial"/>
          <a:ea typeface="+mn-ea"/>
          <a:cs typeface="Arial"/>
        </a:defRPr>
      </a:lvl1pPr>
      <a:lvl2pPr marL="450186" indent="-225092" algn="l" defTabSz="562733" rtl="0" eaLnBrk="1" latinLnBrk="0" hangingPunct="1">
        <a:spcBef>
          <a:spcPct val="20000"/>
        </a:spcBef>
        <a:spcAft>
          <a:spcPts val="738"/>
        </a:spcAft>
        <a:buClr>
          <a:srgbClr val="1573C5"/>
        </a:buClr>
        <a:buSzPct val="90000"/>
        <a:buFont typeface="Courier New"/>
        <a:buChar char="o"/>
        <a:defRPr sz="1969" kern="1200">
          <a:solidFill>
            <a:schemeClr val="tx1"/>
          </a:solidFill>
          <a:latin typeface="Arial"/>
          <a:ea typeface="+mn-ea"/>
          <a:cs typeface="Arial"/>
        </a:defRPr>
      </a:lvl2pPr>
      <a:lvl3pPr marL="900372" indent="-225092" algn="l" defTabSz="562733" rtl="0" eaLnBrk="1" latinLnBrk="0" hangingPunct="1">
        <a:spcBef>
          <a:spcPct val="20000"/>
        </a:spcBef>
        <a:spcAft>
          <a:spcPts val="738"/>
        </a:spcAft>
        <a:buClr>
          <a:srgbClr val="1573C5"/>
        </a:buClr>
        <a:buSzPct val="110000"/>
        <a:buFont typeface="Arial"/>
        <a:buChar char="•"/>
        <a:defRPr sz="1969" kern="1200">
          <a:solidFill>
            <a:schemeClr val="tx1"/>
          </a:solidFill>
          <a:latin typeface="Arial"/>
          <a:ea typeface="+mn-ea"/>
          <a:cs typeface="Arial"/>
        </a:defRPr>
      </a:lvl3pPr>
      <a:lvl4pPr marL="1350558" indent="-225092" algn="l" defTabSz="562733" rtl="0" eaLnBrk="1" latinLnBrk="0" hangingPunct="1">
        <a:spcBef>
          <a:spcPct val="20000"/>
        </a:spcBef>
        <a:spcAft>
          <a:spcPts val="738"/>
        </a:spcAft>
        <a:buClr>
          <a:srgbClr val="1573C5"/>
        </a:buClr>
        <a:buSzPct val="80000"/>
        <a:buFont typeface="Courier New"/>
        <a:buChar char="o"/>
        <a:defRPr sz="1969" kern="1200">
          <a:solidFill>
            <a:schemeClr val="tx1"/>
          </a:solidFill>
          <a:latin typeface="Arial"/>
          <a:ea typeface="+mn-ea"/>
          <a:cs typeface="Arial"/>
        </a:defRPr>
      </a:lvl4pPr>
      <a:lvl5pPr marL="1800744" indent="-225092" algn="l" defTabSz="562733" rtl="0" eaLnBrk="1" latinLnBrk="0" hangingPunct="1">
        <a:spcBef>
          <a:spcPct val="20000"/>
        </a:spcBef>
        <a:spcAft>
          <a:spcPts val="738"/>
        </a:spcAft>
        <a:buClr>
          <a:srgbClr val="1573C5"/>
        </a:buClr>
        <a:buFont typeface="Arial"/>
        <a:buChar char="•"/>
        <a:defRPr sz="1969" kern="1200">
          <a:solidFill>
            <a:schemeClr val="tx1"/>
          </a:solidFill>
          <a:latin typeface="Arial"/>
          <a:ea typeface="+mn-ea"/>
          <a:cs typeface="Arial"/>
        </a:defRPr>
      </a:lvl5pPr>
      <a:lvl6pPr marL="3095029" indent="-281365" algn="l" defTabSz="562733" rtl="0" eaLnBrk="1" latinLnBrk="0" hangingPunct="1">
        <a:spcBef>
          <a:spcPct val="20000"/>
        </a:spcBef>
        <a:buFont typeface="Arial"/>
        <a:buChar char="•"/>
        <a:defRPr sz="2462" kern="1200">
          <a:solidFill>
            <a:schemeClr val="tx1"/>
          </a:solidFill>
          <a:latin typeface="+mn-lt"/>
          <a:ea typeface="+mn-ea"/>
          <a:cs typeface="+mn-cs"/>
        </a:defRPr>
      </a:lvl6pPr>
      <a:lvl7pPr marL="3657763" indent="-281365" algn="l" defTabSz="562733" rtl="0" eaLnBrk="1" latinLnBrk="0" hangingPunct="1">
        <a:spcBef>
          <a:spcPct val="20000"/>
        </a:spcBef>
        <a:buFont typeface="Arial"/>
        <a:buChar char="•"/>
        <a:defRPr sz="2462" kern="1200">
          <a:solidFill>
            <a:schemeClr val="tx1"/>
          </a:solidFill>
          <a:latin typeface="+mn-lt"/>
          <a:ea typeface="+mn-ea"/>
          <a:cs typeface="+mn-cs"/>
        </a:defRPr>
      </a:lvl7pPr>
      <a:lvl8pPr marL="4220494" indent="-281365" algn="l" defTabSz="562733" rtl="0" eaLnBrk="1" latinLnBrk="0" hangingPunct="1">
        <a:spcBef>
          <a:spcPct val="20000"/>
        </a:spcBef>
        <a:buFont typeface="Arial"/>
        <a:buChar char="•"/>
        <a:defRPr sz="2462" kern="1200">
          <a:solidFill>
            <a:schemeClr val="tx1"/>
          </a:solidFill>
          <a:latin typeface="+mn-lt"/>
          <a:ea typeface="+mn-ea"/>
          <a:cs typeface="+mn-cs"/>
        </a:defRPr>
      </a:lvl8pPr>
      <a:lvl9pPr marL="4783226" indent="-281365" algn="l" defTabSz="562733" rtl="0" eaLnBrk="1" latinLnBrk="0" hangingPunct="1">
        <a:spcBef>
          <a:spcPct val="20000"/>
        </a:spcBef>
        <a:buFont typeface="Arial"/>
        <a:buChar char="•"/>
        <a:defRPr sz="2462" kern="1200">
          <a:solidFill>
            <a:schemeClr val="tx1"/>
          </a:solidFill>
          <a:latin typeface="+mn-lt"/>
          <a:ea typeface="+mn-ea"/>
          <a:cs typeface="+mn-cs"/>
        </a:defRPr>
      </a:lvl9pPr>
    </p:bodyStyle>
    <p:otherStyle>
      <a:defPPr>
        <a:defRPr lang="en-US"/>
      </a:defPPr>
      <a:lvl1pPr marL="0" algn="l" defTabSz="562733" rtl="0" eaLnBrk="1" latinLnBrk="0" hangingPunct="1">
        <a:defRPr sz="2215" kern="1200">
          <a:solidFill>
            <a:schemeClr val="tx1"/>
          </a:solidFill>
          <a:latin typeface="+mn-lt"/>
          <a:ea typeface="+mn-ea"/>
          <a:cs typeface="+mn-cs"/>
        </a:defRPr>
      </a:lvl1pPr>
      <a:lvl2pPr marL="562733" algn="l" defTabSz="562733" rtl="0" eaLnBrk="1" latinLnBrk="0" hangingPunct="1">
        <a:defRPr sz="2215" kern="1200">
          <a:solidFill>
            <a:schemeClr val="tx1"/>
          </a:solidFill>
          <a:latin typeface="+mn-lt"/>
          <a:ea typeface="+mn-ea"/>
          <a:cs typeface="+mn-cs"/>
        </a:defRPr>
      </a:lvl2pPr>
      <a:lvl3pPr marL="1125466" algn="l" defTabSz="562733" rtl="0" eaLnBrk="1" latinLnBrk="0" hangingPunct="1">
        <a:defRPr sz="2215" kern="1200">
          <a:solidFill>
            <a:schemeClr val="tx1"/>
          </a:solidFill>
          <a:latin typeface="+mn-lt"/>
          <a:ea typeface="+mn-ea"/>
          <a:cs typeface="+mn-cs"/>
        </a:defRPr>
      </a:lvl3pPr>
      <a:lvl4pPr marL="1688197" algn="l" defTabSz="562733" rtl="0" eaLnBrk="1" latinLnBrk="0" hangingPunct="1">
        <a:defRPr sz="2215" kern="1200">
          <a:solidFill>
            <a:schemeClr val="tx1"/>
          </a:solidFill>
          <a:latin typeface="+mn-lt"/>
          <a:ea typeface="+mn-ea"/>
          <a:cs typeface="+mn-cs"/>
        </a:defRPr>
      </a:lvl4pPr>
      <a:lvl5pPr marL="2250930" algn="l" defTabSz="562733" rtl="0" eaLnBrk="1" latinLnBrk="0" hangingPunct="1">
        <a:defRPr sz="2215" kern="1200">
          <a:solidFill>
            <a:schemeClr val="tx1"/>
          </a:solidFill>
          <a:latin typeface="+mn-lt"/>
          <a:ea typeface="+mn-ea"/>
          <a:cs typeface="+mn-cs"/>
        </a:defRPr>
      </a:lvl5pPr>
      <a:lvl6pPr marL="2813663" algn="l" defTabSz="562733" rtl="0" eaLnBrk="1" latinLnBrk="0" hangingPunct="1">
        <a:defRPr sz="2215" kern="1200">
          <a:solidFill>
            <a:schemeClr val="tx1"/>
          </a:solidFill>
          <a:latin typeface="+mn-lt"/>
          <a:ea typeface="+mn-ea"/>
          <a:cs typeface="+mn-cs"/>
        </a:defRPr>
      </a:lvl6pPr>
      <a:lvl7pPr marL="3376397" algn="l" defTabSz="562733" rtl="0" eaLnBrk="1" latinLnBrk="0" hangingPunct="1">
        <a:defRPr sz="2215" kern="1200">
          <a:solidFill>
            <a:schemeClr val="tx1"/>
          </a:solidFill>
          <a:latin typeface="+mn-lt"/>
          <a:ea typeface="+mn-ea"/>
          <a:cs typeface="+mn-cs"/>
        </a:defRPr>
      </a:lvl7pPr>
      <a:lvl8pPr marL="3939127" algn="l" defTabSz="562733" rtl="0" eaLnBrk="1" latinLnBrk="0" hangingPunct="1">
        <a:defRPr sz="2215" kern="1200">
          <a:solidFill>
            <a:schemeClr val="tx1"/>
          </a:solidFill>
          <a:latin typeface="+mn-lt"/>
          <a:ea typeface="+mn-ea"/>
          <a:cs typeface="+mn-cs"/>
        </a:defRPr>
      </a:lvl8pPr>
      <a:lvl9pPr marL="4501860" algn="l" defTabSz="562733" rtl="0" eaLnBrk="1" latinLnBrk="0" hangingPunct="1">
        <a:defRPr sz="221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2242" y="194434"/>
            <a:ext cx="11528917" cy="594307"/>
          </a:xfrm>
          <a:prstGeom prst="rect">
            <a:avLst/>
          </a:prstGeom>
        </p:spPr>
        <p:txBody>
          <a:bodyPr vert="horz" lIns="9144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342242" y="802111"/>
            <a:ext cx="11528917"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342240" y="6356358"/>
            <a:ext cx="2844800" cy="365125"/>
          </a:xfrm>
          <a:prstGeom prst="rect">
            <a:avLst/>
          </a:prstGeom>
        </p:spPr>
        <p:txBody>
          <a:bodyPr vert="horz" lIns="91440" tIns="45720" rIns="91440" bIns="45720" rtlCol="0" anchor="ctr"/>
          <a:lstStyle>
            <a:lvl1pPr algn="l">
              <a:defRPr sz="985" b="1">
                <a:solidFill>
                  <a:schemeClr val="tx1"/>
                </a:solidFill>
              </a:defRPr>
            </a:lvl1pPr>
          </a:lstStyle>
          <a:p>
            <a:fld id="{4F1FA912-FC24-3D46-8310-EAE10B51E2A1}" type="slidenum">
              <a:rPr lang="en-US" smtClean="0"/>
              <a:t>‹#›</a:t>
            </a:fld>
            <a:endParaRPr lang="en-US"/>
          </a:p>
        </p:txBody>
      </p:sp>
      <p:pic>
        <p:nvPicPr>
          <p:cNvPr id="5" name="Picture 4" descr="A picture containing logo&#10;&#10;Description automatically generated">
            <a:extLst>
              <a:ext uri="{FF2B5EF4-FFF2-40B4-BE49-F238E27FC236}">
                <a16:creationId xmlns:a16="http://schemas.microsoft.com/office/drawing/2014/main" id="{0D1CBE3C-3F48-409E-A136-9CF0C0F42EAC}"/>
              </a:ext>
            </a:extLst>
          </p:cNvPr>
          <p:cNvPicPr>
            <a:picLocks noChangeAspect="1"/>
          </p:cNvPicPr>
          <p:nvPr userDrawn="1"/>
        </p:nvPicPr>
        <p:blipFill>
          <a:blip r:embed="rId38"/>
          <a:stretch>
            <a:fillRect/>
          </a:stretch>
        </p:blipFill>
        <p:spPr>
          <a:xfrm>
            <a:off x="9601200" y="6069184"/>
            <a:ext cx="2489359" cy="653457"/>
          </a:xfrm>
          <a:prstGeom prst="rect">
            <a:avLst/>
          </a:prstGeom>
        </p:spPr>
      </p:pic>
      <p:sp>
        <p:nvSpPr>
          <p:cNvPr id="7" name="TextBox 6">
            <a:extLst>
              <a:ext uri="{FF2B5EF4-FFF2-40B4-BE49-F238E27FC236}">
                <a16:creationId xmlns:a16="http://schemas.microsoft.com/office/drawing/2014/main" id="{4447BC93-3BB7-4227-74C6-EEED317067EF}"/>
              </a:ext>
            </a:extLst>
          </p:cNvPr>
          <p:cNvSpPr txBox="1"/>
          <p:nvPr userDrawn="1">
            <p:extLst>
              <p:ext uri="{1162E1C5-73C7-4A58-AE30-91384D911F3F}">
                <p184:classification xmlns:p184="http://schemas.microsoft.com/office/powerpoint/2018/4/main" val="ftr"/>
              </p:ext>
            </p:extLst>
          </p:nvPr>
        </p:nvSpPr>
        <p:spPr>
          <a:xfrm>
            <a:off x="5788787" y="6736080"/>
            <a:ext cx="636588" cy="121920"/>
          </a:xfrm>
          <a:prstGeom prst="rect">
            <a:avLst/>
          </a:prstGeom>
        </p:spPr>
        <p:txBody>
          <a:bodyPr horzOverflow="overflow" lIns="0" tIns="0" rIns="0" bIns="0">
            <a:spAutoFit/>
          </a:bodyPr>
          <a:lstStyle/>
          <a:p>
            <a:pPr algn="l"/>
            <a:r>
              <a:rPr lang="de-DE" sz="800">
                <a:solidFill>
                  <a:srgbClr val="000000"/>
                </a:solidFill>
                <a:latin typeface="Calibri" panose="020F0502020204030204" pitchFamily="34" charset="0"/>
                <a:cs typeface="Calibri" panose="020F0502020204030204" pitchFamily="34" charset="0"/>
              </a:rPr>
              <a:t>- Confidential -</a:t>
            </a:r>
          </a:p>
        </p:txBody>
      </p:sp>
    </p:spTree>
    <p:extLst>
      <p:ext uri="{BB962C8B-B14F-4D97-AF65-F5344CB8AC3E}">
        <p14:creationId xmlns:p14="http://schemas.microsoft.com/office/powerpoint/2010/main" val="2727387378"/>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 id="2147483778" r:id="rId13"/>
    <p:sldLayoutId id="2147483779" r:id="rId14"/>
    <p:sldLayoutId id="2147483780" r:id="rId15"/>
    <p:sldLayoutId id="2147483781" r:id="rId16"/>
    <p:sldLayoutId id="2147483782" r:id="rId17"/>
    <p:sldLayoutId id="2147483783" r:id="rId18"/>
    <p:sldLayoutId id="2147483784" r:id="rId19"/>
    <p:sldLayoutId id="2147483785" r:id="rId20"/>
    <p:sldLayoutId id="2147483786" r:id="rId21"/>
    <p:sldLayoutId id="2147483787" r:id="rId22"/>
    <p:sldLayoutId id="2147483788" r:id="rId23"/>
    <p:sldLayoutId id="2147483789" r:id="rId24"/>
    <p:sldLayoutId id="2147483790" r:id="rId25"/>
    <p:sldLayoutId id="2147483791" r:id="rId26"/>
    <p:sldLayoutId id="2147483792" r:id="rId27"/>
    <p:sldLayoutId id="2147483793" r:id="rId28"/>
    <p:sldLayoutId id="2147483794" r:id="rId29"/>
    <p:sldLayoutId id="2147483795" r:id="rId30"/>
    <p:sldLayoutId id="2147483796" r:id="rId31"/>
    <p:sldLayoutId id="2147483797" r:id="rId32"/>
    <p:sldLayoutId id="2147483798" r:id="rId33"/>
    <p:sldLayoutId id="2147483799" r:id="rId34"/>
    <p:sldLayoutId id="2147483706" r:id="rId35"/>
    <p:sldLayoutId id="2147483764" r:id="rId36"/>
  </p:sldLayoutIdLst>
  <p:hf hdr="0" ftr="0" dt="0"/>
  <p:txStyles>
    <p:titleStyle>
      <a:lvl1pPr algn="l" defTabSz="562733" rtl="0" eaLnBrk="1" latinLnBrk="0" hangingPunct="1">
        <a:spcBef>
          <a:spcPct val="0"/>
        </a:spcBef>
        <a:buNone/>
        <a:defRPr sz="2585" b="1" kern="1200">
          <a:solidFill>
            <a:srgbClr val="1573C5"/>
          </a:solidFill>
          <a:latin typeface="Arial"/>
          <a:ea typeface="+mj-ea"/>
          <a:cs typeface="Arial"/>
        </a:defRPr>
      </a:lvl1pPr>
    </p:titleStyle>
    <p:bodyStyle>
      <a:lvl1pPr marL="225092" indent="-225092" algn="l" defTabSz="562733" rtl="0" eaLnBrk="1" latinLnBrk="0" hangingPunct="1">
        <a:spcBef>
          <a:spcPct val="20000"/>
        </a:spcBef>
        <a:spcAft>
          <a:spcPts val="738"/>
        </a:spcAft>
        <a:buClr>
          <a:srgbClr val="1573C5"/>
        </a:buClr>
        <a:buSzPct val="110000"/>
        <a:buFont typeface="Arial"/>
        <a:buChar char="•"/>
        <a:defRPr sz="1969" kern="1200">
          <a:solidFill>
            <a:schemeClr val="tx1"/>
          </a:solidFill>
          <a:latin typeface="Arial"/>
          <a:ea typeface="+mn-ea"/>
          <a:cs typeface="Arial"/>
        </a:defRPr>
      </a:lvl1pPr>
      <a:lvl2pPr marL="450186" indent="-225092" algn="l" defTabSz="562733" rtl="0" eaLnBrk="1" latinLnBrk="0" hangingPunct="1">
        <a:spcBef>
          <a:spcPct val="20000"/>
        </a:spcBef>
        <a:spcAft>
          <a:spcPts val="738"/>
        </a:spcAft>
        <a:buClr>
          <a:srgbClr val="1573C5"/>
        </a:buClr>
        <a:buSzPct val="90000"/>
        <a:buFont typeface="Courier New"/>
        <a:buChar char="o"/>
        <a:defRPr sz="1969" kern="1200">
          <a:solidFill>
            <a:schemeClr val="tx1"/>
          </a:solidFill>
          <a:latin typeface="Arial"/>
          <a:ea typeface="+mn-ea"/>
          <a:cs typeface="Arial"/>
        </a:defRPr>
      </a:lvl2pPr>
      <a:lvl3pPr marL="900372" indent="-225092" algn="l" defTabSz="562733" rtl="0" eaLnBrk="1" latinLnBrk="0" hangingPunct="1">
        <a:spcBef>
          <a:spcPct val="20000"/>
        </a:spcBef>
        <a:spcAft>
          <a:spcPts val="738"/>
        </a:spcAft>
        <a:buClr>
          <a:srgbClr val="1573C5"/>
        </a:buClr>
        <a:buSzPct val="110000"/>
        <a:buFont typeface="Arial"/>
        <a:buChar char="•"/>
        <a:defRPr sz="1969" kern="1200">
          <a:solidFill>
            <a:schemeClr val="tx1"/>
          </a:solidFill>
          <a:latin typeface="Arial"/>
          <a:ea typeface="+mn-ea"/>
          <a:cs typeface="Arial"/>
        </a:defRPr>
      </a:lvl3pPr>
      <a:lvl4pPr marL="1350558" indent="-225092" algn="l" defTabSz="562733" rtl="0" eaLnBrk="1" latinLnBrk="0" hangingPunct="1">
        <a:spcBef>
          <a:spcPct val="20000"/>
        </a:spcBef>
        <a:spcAft>
          <a:spcPts val="738"/>
        </a:spcAft>
        <a:buClr>
          <a:srgbClr val="1573C5"/>
        </a:buClr>
        <a:buSzPct val="80000"/>
        <a:buFont typeface="Courier New"/>
        <a:buChar char="o"/>
        <a:defRPr sz="1969" kern="1200">
          <a:solidFill>
            <a:schemeClr val="tx1"/>
          </a:solidFill>
          <a:latin typeface="Arial"/>
          <a:ea typeface="+mn-ea"/>
          <a:cs typeface="Arial"/>
        </a:defRPr>
      </a:lvl4pPr>
      <a:lvl5pPr marL="1800744" indent="-225092" algn="l" defTabSz="562733" rtl="0" eaLnBrk="1" latinLnBrk="0" hangingPunct="1">
        <a:spcBef>
          <a:spcPct val="20000"/>
        </a:spcBef>
        <a:spcAft>
          <a:spcPts val="738"/>
        </a:spcAft>
        <a:buClr>
          <a:srgbClr val="1573C5"/>
        </a:buClr>
        <a:buFont typeface="Arial"/>
        <a:buChar char="•"/>
        <a:defRPr sz="1969" kern="1200">
          <a:solidFill>
            <a:schemeClr val="tx1"/>
          </a:solidFill>
          <a:latin typeface="Arial"/>
          <a:ea typeface="+mn-ea"/>
          <a:cs typeface="Arial"/>
        </a:defRPr>
      </a:lvl5pPr>
      <a:lvl6pPr marL="3095029" indent="-281365" algn="l" defTabSz="562733" rtl="0" eaLnBrk="1" latinLnBrk="0" hangingPunct="1">
        <a:spcBef>
          <a:spcPct val="20000"/>
        </a:spcBef>
        <a:buFont typeface="Arial"/>
        <a:buChar char="•"/>
        <a:defRPr sz="2462" kern="1200">
          <a:solidFill>
            <a:schemeClr val="tx1"/>
          </a:solidFill>
          <a:latin typeface="+mn-lt"/>
          <a:ea typeface="+mn-ea"/>
          <a:cs typeface="+mn-cs"/>
        </a:defRPr>
      </a:lvl6pPr>
      <a:lvl7pPr marL="3657763" indent="-281365" algn="l" defTabSz="562733" rtl="0" eaLnBrk="1" latinLnBrk="0" hangingPunct="1">
        <a:spcBef>
          <a:spcPct val="20000"/>
        </a:spcBef>
        <a:buFont typeface="Arial"/>
        <a:buChar char="•"/>
        <a:defRPr sz="2462" kern="1200">
          <a:solidFill>
            <a:schemeClr val="tx1"/>
          </a:solidFill>
          <a:latin typeface="+mn-lt"/>
          <a:ea typeface="+mn-ea"/>
          <a:cs typeface="+mn-cs"/>
        </a:defRPr>
      </a:lvl7pPr>
      <a:lvl8pPr marL="4220494" indent="-281365" algn="l" defTabSz="562733" rtl="0" eaLnBrk="1" latinLnBrk="0" hangingPunct="1">
        <a:spcBef>
          <a:spcPct val="20000"/>
        </a:spcBef>
        <a:buFont typeface="Arial"/>
        <a:buChar char="•"/>
        <a:defRPr sz="2462" kern="1200">
          <a:solidFill>
            <a:schemeClr val="tx1"/>
          </a:solidFill>
          <a:latin typeface="+mn-lt"/>
          <a:ea typeface="+mn-ea"/>
          <a:cs typeface="+mn-cs"/>
        </a:defRPr>
      </a:lvl8pPr>
      <a:lvl9pPr marL="4783226" indent="-281365" algn="l" defTabSz="562733" rtl="0" eaLnBrk="1" latinLnBrk="0" hangingPunct="1">
        <a:spcBef>
          <a:spcPct val="20000"/>
        </a:spcBef>
        <a:buFont typeface="Arial"/>
        <a:buChar char="•"/>
        <a:defRPr sz="2462" kern="1200">
          <a:solidFill>
            <a:schemeClr val="tx1"/>
          </a:solidFill>
          <a:latin typeface="+mn-lt"/>
          <a:ea typeface="+mn-ea"/>
          <a:cs typeface="+mn-cs"/>
        </a:defRPr>
      </a:lvl9pPr>
    </p:bodyStyle>
    <p:otherStyle>
      <a:defPPr>
        <a:defRPr lang="en-US"/>
      </a:defPPr>
      <a:lvl1pPr marL="0" algn="l" defTabSz="562733" rtl="0" eaLnBrk="1" latinLnBrk="0" hangingPunct="1">
        <a:defRPr sz="2215" kern="1200">
          <a:solidFill>
            <a:schemeClr val="tx1"/>
          </a:solidFill>
          <a:latin typeface="+mn-lt"/>
          <a:ea typeface="+mn-ea"/>
          <a:cs typeface="+mn-cs"/>
        </a:defRPr>
      </a:lvl1pPr>
      <a:lvl2pPr marL="562733" algn="l" defTabSz="562733" rtl="0" eaLnBrk="1" latinLnBrk="0" hangingPunct="1">
        <a:defRPr sz="2215" kern="1200">
          <a:solidFill>
            <a:schemeClr val="tx1"/>
          </a:solidFill>
          <a:latin typeface="+mn-lt"/>
          <a:ea typeface="+mn-ea"/>
          <a:cs typeface="+mn-cs"/>
        </a:defRPr>
      </a:lvl2pPr>
      <a:lvl3pPr marL="1125466" algn="l" defTabSz="562733" rtl="0" eaLnBrk="1" latinLnBrk="0" hangingPunct="1">
        <a:defRPr sz="2215" kern="1200">
          <a:solidFill>
            <a:schemeClr val="tx1"/>
          </a:solidFill>
          <a:latin typeface="+mn-lt"/>
          <a:ea typeface="+mn-ea"/>
          <a:cs typeface="+mn-cs"/>
        </a:defRPr>
      </a:lvl3pPr>
      <a:lvl4pPr marL="1688197" algn="l" defTabSz="562733" rtl="0" eaLnBrk="1" latinLnBrk="0" hangingPunct="1">
        <a:defRPr sz="2215" kern="1200">
          <a:solidFill>
            <a:schemeClr val="tx1"/>
          </a:solidFill>
          <a:latin typeface="+mn-lt"/>
          <a:ea typeface="+mn-ea"/>
          <a:cs typeface="+mn-cs"/>
        </a:defRPr>
      </a:lvl4pPr>
      <a:lvl5pPr marL="2250930" algn="l" defTabSz="562733" rtl="0" eaLnBrk="1" latinLnBrk="0" hangingPunct="1">
        <a:defRPr sz="2215" kern="1200">
          <a:solidFill>
            <a:schemeClr val="tx1"/>
          </a:solidFill>
          <a:latin typeface="+mn-lt"/>
          <a:ea typeface="+mn-ea"/>
          <a:cs typeface="+mn-cs"/>
        </a:defRPr>
      </a:lvl5pPr>
      <a:lvl6pPr marL="2813663" algn="l" defTabSz="562733" rtl="0" eaLnBrk="1" latinLnBrk="0" hangingPunct="1">
        <a:defRPr sz="2215" kern="1200">
          <a:solidFill>
            <a:schemeClr val="tx1"/>
          </a:solidFill>
          <a:latin typeface="+mn-lt"/>
          <a:ea typeface="+mn-ea"/>
          <a:cs typeface="+mn-cs"/>
        </a:defRPr>
      </a:lvl6pPr>
      <a:lvl7pPr marL="3376397" algn="l" defTabSz="562733" rtl="0" eaLnBrk="1" latinLnBrk="0" hangingPunct="1">
        <a:defRPr sz="2215" kern="1200">
          <a:solidFill>
            <a:schemeClr val="tx1"/>
          </a:solidFill>
          <a:latin typeface="+mn-lt"/>
          <a:ea typeface="+mn-ea"/>
          <a:cs typeface="+mn-cs"/>
        </a:defRPr>
      </a:lvl7pPr>
      <a:lvl8pPr marL="3939127" algn="l" defTabSz="562733" rtl="0" eaLnBrk="1" latinLnBrk="0" hangingPunct="1">
        <a:defRPr sz="2215" kern="1200">
          <a:solidFill>
            <a:schemeClr val="tx1"/>
          </a:solidFill>
          <a:latin typeface="+mn-lt"/>
          <a:ea typeface="+mn-ea"/>
          <a:cs typeface="+mn-cs"/>
        </a:defRPr>
      </a:lvl8pPr>
      <a:lvl9pPr marL="4501860" algn="l" defTabSz="562733" rtl="0" eaLnBrk="1" latinLnBrk="0" hangingPunct="1">
        <a:defRPr sz="221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2243" y="194434"/>
            <a:ext cx="9912928" cy="594307"/>
          </a:xfrm>
          <a:prstGeom prst="rect">
            <a:avLst/>
          </a:prstGeom>
        </p:spPr>
        <p:txBody>
          <a:bodyPr vert="horz" lIns="9144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342242" y="952586"/>
            <a:ext cx="11346371" cy="452596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342240" y="6356358"/>
            <a:ext cx="2844800" cy="365125"/>
          </a:xfrm>
          <a:prstGeom prst="rect">
            <a:avLst/>
          </a:prstGeom>
        </p:spPr>
        <p:txBody>
          <a:bodyPr vert="horz" lIns="91440" tIns="45720" rIns="91440" bIns="45720" rtlCol="0" anchor="ctr"/>
          <a:lstStyle>
            <a:lvl1pPr algn="l">
              <a:defRPr sz="985" b="1">
                <a:solidFill>
                  <a:schemeClr val="tx1"/>
                </a:solidFill>
              </a:defRPr>
            </a:lvl1pPr>
          </a:lstStyle>
          <a:p>
            <a:fld id="{4F1FA912-FC24-3D46-8310-EAE10B51E2A1}" type="slidenum">
              <a:rPr lang="en-US" smtClean="0"/>
              <a:t>‹#›</a:t>
            </a:fld>
            <a:endParaRPr lang="en-US"/>
          </a:p>
        </p:txBody>
      </p:sp>
      <p:sp>
        <p:nvSpPr>
          <p:cNvPr id="5" name="TextBox 4">
            <a:extLst>
              <a:ext uri="{FF2B5EF4-FFF2-40B4-BE49-F238E27FC236}">
                <a16:creationId xmlns:a16="http://schemas.microsoft.com/office/drawing/2014/main" id="{934A1EF1-5C62-F096-93F3-CACF5CAB6903}"/>
              </a:ext>
            </a:extLst>
          </p:cNvPr>
          <p:cNvSpPr txBox="1"/>
          <p:nvPr userDrawn="1">
            <p:extLst>
              <p:ext uri="{1162E1C5-73C7-4A58-AE30-91384D911F3F}">
                <p184:classification xmlns:p184="http://schemas.microsoft.com/office/powerpoint/2018/4/main" val="ftr"/>
              </p:ext>
            </p:extLst>
          </p:nvPr>
        </p:nvSpPr>
        <p:spPr>
          <a:xfrm>
            <a:off x="5788787" y="6736080"/>
            <a:ext cx="636588" cy="121920"/>
          </a:xfrm>
          <a:prstGeom prst="rect">
            <a:avLst/>
          </a:prstGeom>
        </p:spPr>
        <p:txBody>
          <a:bodyPr horzOverflow="overflow" lIns="0" tIns="0" rIns="0" bIns="0">
            <a:spAutoFit/>
          </a:bodyPr>
          <a:lstStyle/>
          <a:p>
            <a:pPr algn="l"/>
            <a:r>
              <a:rPr lang="de-DE" sz="800">
                <a:solidFill>
                  <a:srgbClr val="000000"/>
                </a:solidFill>
                <a:latin typeface="Calibri" panose="020F0502020204030204" pitchFamily="34" charset="0"/>
                <a:cs typeface="Calibri" panose="020F0502020204030204" pitchFamily="34" charset="0"/>
              </a:rPr>
              <a:t>- Confidential -</a:t>
            </a:r>
          </a:p>
        </p:txBody>
      </p:sp>
    </p:spTree>
    <p:extLst>
      <p:ext uri="{BB962C8B-B14F-4D97-AF65-F5344CB8AC3E}">
        <p14:creationId xmlns:p14="http://schemas.microsoft.com/office/powerpoint/2010/main" val="2727387378"/>
      </p:ext>
    </p:extLst>
  </p:cSld>
  <p:clrMap bg1="lt1" tx1="dk1" bg2="lt2" tx2="dk2" accent1="accent1" accent2="accent2" accent3="accent3" accent4="accent4" accent5="accent5" accent6="accent6" hlink="hlink" folHlink="folHlink"/>
  <p:sldLayoutIdLst>
    <p:sldLayoutId id="2147483743" r:id="rId1"/>
    <p:sldLayoutId id="2147483744" r:id="rId2"/>
    <p:sldLayoutId id="2147484678" r:id="rId3"/>
    <p:sldLayoutId id="2147484679" r:id="rId4"/>
    <p:sldLayoutId id="2147483742" r:id="rId5"/>
    <p:sldLayoutId id="2147483745" r:id="rId6"/>
    <p:sldLayoutId id="2147484680" r:id="rId7"/>
    <p:sldLayoutId id="2147484681" r:id="rId8"/>
    <p:sldLayoutId id="2147484682" r:id="rId9"/>
    <p:sldLayoutId id="2147484683" r:id="rId10"/>
    <p:sldLayoutId id="2147484684" r:id="rId11"/>
    <p:sldLayoutId id="2147484685" r:id="rId12"/>
    <p:sldLayoutId id="2147484686" r:id="rId13"/>
    <p:sldLayoutId id="2147484687" r:id="rId14"/>
    <p:sldLayoutId id="2147484688" r:id="rId15"/>
    <p:sldLayoutId id="2147484689" r:id="rId16"/>
    <p:sldLayoutId id="2147484534" r:id="rId17"/>
    <p:sldLayoutId id="2147484528" r:id="rId18"/>
    <p:sldLayoutId id="2147483750" r:id="rId19"/>
    <p:sldLayoutId id="2147484690" r:id="rId20"/>
    <p:sldLayoutId id="2147484665" r:id="rId21"/>
    <p:sldLayoutId id="2147484666" r:id="rId22"/>
    <p:sldLayoutId id="2147484667" r:id="rId23"/>
    <p:sldLayoutId id="2147484668" r:id="rId24"/>
    <p:sldLayoutId id="2147484669" r:id="rId25"/>
    <p:sldLayoutId id="2147484670" r:id="rId26"/>
    <p:sldLayoutId id="2147484671" r:id="rId27"/>
    <p:sldLayoutId id="2147484672" r:id="rId28"/>
    <p:sldLayoutId id="2147484673" r:id="rId29"/>
    <p:sldLayoutId id="2147484691" r:id="rId30"/>
    <p:sldLayoutId id="2147484692" r:id="rId31"/>
    <p:sldLayoutId id="2147483751" r:id="rId32"/>
    <p:sldLayoutId id="2147484693" r:id="rId33"/>
    <p:sldLayoutId id="2147484674" r:id="rId34"/>
    <p:sldLayoutId id="2147484694" r:id="rId35"/>
    <p:sldLayoutId id="2147483752" r:id="rId36"/>
    <p:sldLayoutId id="2147483753" r:id="rId37"/>
    <p:sldLayoutId id="2147483754" r:id="rId38"/>
    <p:sldLayoutId id="2147484695" r:id="rId39"/>
    <p:sldLayoutId id="2147484696" r:id="rId40"/>
    <p:sldLayoutId id="2147484697" r:id="rId41"/>
    <p:sldLayoutId id="2147484698" r:id="rId42"/>
    <p:sldLayoutId id="2147484699" r:id="rId43"/>
    <p:sldLayoutId id="2147484700" r:id="rId44"/>
    <p:sldLayoutId id="2147484701" r:id="rId45"/>
    <p:sldLayoutId id="2147484702" r:id="rId46"/>
    <p:sldLayoutId id="2147484676" r:id="rId47"/>
    <p:sldLayoutId id="2147484703" r:id="rId48"/>
    <p:sldLayoutId id="2147484704" r:id="rId49"/>
    <p:sldLayoutId id="2147483755" r:id="rId50"/>
  </p:sldLayoutIdLst>
  <p:hf hdr="0" ftr="0" dt="0"/>
  <p:txStyles>
    <p:titleStyle>
      <a:lvl1pPr algn="l" defTabSz="562733" rtl="0" eaLnBrk="1" latinLnBrk="0" hangingPunct="1">
        <a:spcBef>
          <a:spcPct val="0"/>
        </a:spcBef>
        <a:buNone/>
        <a:defRPr sz="2800" b="0" kern="1200">
          <a:solidFill>
            <a:srgbClr val="1573C5"/>
          </a:solidFill>
          <a:latin typeface="Bebas Neue" panose="020B0606020202050201" pitchFamily="34" charset="0"/>
          <a:ea typeface="+mj-ea"/>
          <a:cs typeface="Arial"/>
        </a:defRPr>
      </a:lvl1pPr>
    </p:titleStyle>
    <p:bodyStyle>
      <a:lvl1pPr marL="225092" indent="-225092" algn="l" defTabSz="562733" rtl="0" eaLnBrk="1" latinLnBrk="0" hangingPunct="1">
        <a:spcBef>
          <a:spcPct val="20000"/>
        </a:spcBef>
        <a:spcAft>
          <a:spcPts val="738"/>
        </a:spcAft>
        <a:buClr>
          <a:srgbClr val="1573C5"/>
        </a:buClr>
        <a:buSzPct val="110000"/>
        <a:buFont typeface="Arial"/>
        <a:buChar char="•"/>
        <a:defRPr sz="1969" kern="1200">
          <a:solidFill>
            <a:schemeClr val="tx1"/>
          </a:solidFill>
          <a:latin typeface="Arial"/>
          <a:ea typeface="+mn-ea"/>
          <a:cs typeface="Arial"/>
        </a:defRPr>
      </a:lvl1pPr>
      <a:lvl2pPr marL="450186" indent="-225092" algn="l" defTabSz="562733" rtl="0" eaLnBrk="1" latinLnBrk="0" hangingPunct="1">
        <a:spcBef>
          <a:spcPct val="20000"/>
        </a:spcBef>
        <a:spcAft>
          <a:spcPts val="738"/>
        </a:spcAft>
        <a:buClr>
          <a:srgbClr val="1573C5"/>
        </a:buClr>
        <a:buSzPct val="90000"/>
        <a:buFont typeface="Courier New"/>
        <a:buChar char="o"/>
        <a:defRPr sz="1969" kern="1200">
          <a:solidFill>
            <a:schemeClr val="tx1"/>
          </a:solidFill>
          <a:latin typeface="Arial"/>
          <a:ea typeface="+mn-ea"/>
          <a:cs typeface="Arial"/>
        </a:defRPr>
      </a:lvl2pPr>
      <a:lvl3pPr marL="900372" indent="-225092" algn="l" defTabSz="562733" rtl="0" eaLnBrk="1" latinLnBrk="0" hangingPunct="1">
        <a:spcBef>
          <a:spcPct val="20000"/>
        </a:spcBef>
        <a:spcAft>
          <a:spcPts val="738"/>
        </a:spcAft>
        <a:buClr>
          <a:srgbClr val="1573C5"/>
        </a:buClr>
        <a:buSzPct val="110000"/>
        <a:buFont typeface="Arial"/>
        <a:buChar char="•"/>
        <a:defRPr sz="1969" kern="1200">
          <a:solidFill>
            <a:schemeClr val="tx1"/>
          </a:solidFill>
          <a:latin typeface="Arial"/>
          <a:ea typeface="+mn-ea"/>
          <a:cs typeface="Arial"/>
        </a:defRPr>
      </a:lvl3pPr>
      <a:lvl4pPr marL="1350558" indent="-225092" algn="l" defTabSz="562733" rtl="0" eaLnBrk="1" latinLnBrk="0" hangingPunct="1">
        <a:spcBef>
          <a:spcPct val="20000"/>
        </a:spcBef>
        <a:spcAft>
          <a:spcPts val="738"/>
        </a:spcAft>
        <a:buClr>
          <a:srgbClr val="1573C5"/>
        </a:buClr>
        <a:buSzPct val="80000"/>
        <a:buFont typeface="Courier New"/>
        <a:buChar char="o"/>
        <a:defRPr sz="1969" kern="1200">
          <a:solidFill>
            <a:schemeClr val="tx1"/>
          </a:solidFill>
          <a:latin typeface="Arial"/>
          <a:ea typeface="+mn-ea"/>
          <a:cs typeface="Arial"/>
        </a:defRPr>
      </a:lvl4pPr>
      <a:lvl5pPr marL="1800744" indent="-225092" algn="l" defTabSz="562733" rtl="0" eaLnBrk="1" latinLnBrk="0" hangingPunct="1">
        <a:spcBef>
          <a:spcPct val="20000"/>
        </a:spcBef>
        <a:spcAft>
          <a:spcPts val="738"/>
        </a:spcAft>
        <a:buClr>
          <a:srgbClr val="1573C5"/>
        </a:buClr>
        <a:buFont typeface="Arial"/>
        <a:buChar char="•"/>
        <a:defRPr sz="1969" kern="1200">
          <a:solidFill>
            <a:schemeClr val="tx1"/>
          </a:solidFill>
          <a:latin typeface="Arial"/>
          <a:ea typeface="+mn-ea"/>
          <a:cs typeface="Arial"/>
        </a:defRPr>
      </a:lvl5pPr>
      <a:lvl6pPr marL="3095029" indent="-281365" algn="l" defTabSz="562733" rtl="0" eaLnBrk="1" latinLnBrk="0" hangingPunct="1">
        <a:spcBef>
          <a:spcPct val="20000"/>
        </a:spcBef>
        <a:buFont typeface="Arial"/>
        <a:buChar char="•"/>
        <a:defRPr sz="2462" kern="1200">
          <a:solidFill>
            <a:schemeClr val="tx1"/>
          </a:solidFill>
          <a:latin typeface="+mn-lt"/>
          <a:ea typeface="+mn-ea"/>
          <a:cs typeface="+mn-cs"/>
        </a:defRPr>
      </a:lvl6pPr>
      <a:lvl7pPr marL="3657763" indent="-281365" algn="l" defTabSz="562733" rtl="0" eaLnBrk="1" latinLnBrk="0" hangingPunct="1">
        <a:spcBef>
          <a:spcPct val="20000"/>
        </a:spcBef>
        <a:buFont typeface="Arial"/>
        <a:buChar char="•"/>
        <a:defRPr sz="2462" kern="1200">
          <a:solidFill>
            <a:schemeClr val="tx1"/>
          </a:solidFill>
          <a:latin typeface="+mn-lt"/>
          <a:ea typeface="+mn-ea"/>
          <a:cs typeface="+mn-cs"/>
        </a:defRPr>
      </a:lvl7pPr>
      <a:lvl8pPr marL="4220494" indent="-281365" algn="l" defTabSz="562733" rtl="0" eaLnBrk="1" latinLnBrk="0" hangingPunct="1">
        <a:spcBef>
          <a:spcPct val="20000"/>
        </a:spcBef>
        <a:buFont typeface="Arial"/>
        <a:buChar char="•"/>
        <a:defRPr sz="2462" kern="1200">
          <a:solidFill>
            <a:schemeClr val="tx1"/>
          </a:solidFill>
          <a:latin typeface="+mn-lt"/>
          <a:ea typeface="+mn-ea"/>
          <a:cs typeface="+mn-cs"/>
        </a:defRPr>
      </a:lvl8pPr>
      <a:lvl9pPr marL="4783226" indent="-281365" algn="l" defTabSz="562733" rtl="0" eaLnBrk="1" latinLnBrk="0" hangingPunct="1">
        <a:spcBef>
          <a:spcPct val="20000"/>
        </a:spcBef>
        <a:buFont typeface="Arial"/>
        <a:buChar char="•"/>
        <a:defRPr sz="2462" kern="1200">
          <a:solidFill>
            <a:schemeClr val="tx1"/>
          </a:solidFill>
          <a:latin typeface="+mn-lt"/>
          <a:ea typeface="+mn-ea"/>
          <a:cs typeface="+mn-cs"/>
        </a:defRPr>
      </a:lvl9pPr>
    </p:bodyStyle>
    <p:otherStyle>
      <a:defPPr>
        <a:defRPr lang="en-US"/>
      </a:defPPr>
      <a:lvl1pPr marL="0" algn="l" defTabSz="562733" rtl="0" eaLnBrk="1" latinLnBrk="0" hangingPunct="1">
        <a:defRPr sz="2215" kern="1200">
          <a:solidFill>
            <a:schemeClr val="tx1"/>
          </a:solidFill>
          <a:latin typeface="+mn-lt"/>
          <a:ea typeface="+mn-ea"/>
          <a:cs typeface="+mn-cs"/>
        </a:defRPr>
      </a:lvl1pPr>
      <a:lvl2pPr marL="562733" algn="l" defTabSz="562733" rtl="0" eaLnBrk="1" latinLnBrk="0" hangingPunct="1">
        <a:defRPr sz="2215" kern="1200">
          <a:solidFill>
            <a:schemeClr val="tx1"/>
          </a:solidFill>
          <a:latin typeface="+mn-lt"/>
          <a:ea typeface="+mn-ea"/>
          <a:cs typeface="+mn-cs"/>
        </a:defRPr>
      </a:lvl2pPr>
      <a:lvl3pPr marL="1125466" algn="l" defTabSz="562733" rtl="0" eaLnBrk="1" latinLnBrk="0" hangingPunct="1">
        <a:defRPr sz="2215" kern="1200">
          <a:solidFill>
            <a:schemeClr val="tx1"/>
          </a:solidFill>
          <a:latin typeface="+mn-lt"/>
          <a:ea typeface="+mn-ea"/>
          <a:cs typeface="+mn-cs"/>
        </a:defRPr>
      </a:lvl3pPr>
      <a:lvl4pPr marL="1688197" algn="l" defTabSz="562733" rtl="0" eaLnBrk="1" latinLnBrk="0" hangingPunct="1">
        <a:defRPr sz="2215" kern="1200">
          <a:solidFill>
            <a:schemeClr val="tx1"/>
          </a:solidFill>
          <a:latin typeface="+mn-lt"/>
          <a:ea typeface="+mn-ea"/>
          <a:cs typeface="+mn-cs"/>
        </a:defRPr>
      </a:lvl4pPr>
      <a:lvl5pPr marL="2250930" algn="l" defTabSz="562733" rtl="0" eaLnBrk="1" latinLnBrk="0" hangingPunct="1">
        <a:defRPr sz="2215" kern="1200">
          <a:solidFill>
            <a:schemeClr val="tx1"/>
          </a:solidFill>
          <a:latin typeface="+mn-lt"/>
          <a:ea typeface="+mn-ea"/>
          <a:cs typeface="+mn-cs"/>
        </a:defRPr>
      </a:lvl5pPr>
      <a:lvl6pPr marL="2813663" algn="l" defTabSz="562733" rtl="0" eaLnBrk="1" latinLnBrk="0" hangingPunct="1">
        <a:defRPr sz="2215" kern="1200">
          <a:solidFill>
            <a:schemeClr val="tx1"/>
          </a:solidFill>
          <a:latin typeface="+mn-lt"/>
          <a:ea typeface="+mn-ea"/>
          <a:cs typeface="+mn-cs"/>
        </a:defRPr>
      </a:lvl6pPr>
      <a:lvl7pPr marL="3376397" algn="l" defTabSz="562733" rtl="0" eaLnBrk="1" latinLnBrk="0" hangingPunct="1">
        <a:defRPr sz="2215" kern="1200">
          <a:solidFill>
            <a:schemeClr val="tx1"/>
          </a:solidFill>
          <a:latin typeface="+mn-lt"/>
          <a:ea typeface="+mn-ea"/>
          <a:cs typeface="+mn-cs"/>
        </a:defRPr>
      </a:lvl7pPr>
      <a:lvl8pPr marL="3939127" algn="l" defTabSz="562733" rtl="0" eaLnBrk="1" latinLnBrk="0" hangingPunct="1">
        <a:defRPr sz="2215" kern="1200">
          <a:solidFill>
            <a:schemeClr val="tx1"/>
          </a:solidFill>
          <a:latin typeface="+mn-lt"/>
          <a:ea typeface="+mn-ea"/>
          <a:cs typeface="+mn-cs"/>
        </a:defRPr>
      </a:lvl8pPr>
      <a:lvl9pPr marL="4501860" algn="l" defTabSz="562733" rtl="0" eaLnBrk="1" latinLnBrk="0" hangingPunct="1">
        <a:defRPr sz="221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C619451-4B0D-8C9D-2FA3-2B4A9AF52246}"/>
              </a:ext>
            </a:extLst>
          </p:cNvPr>
          <p:cNvGraphicFramePr>
            <a:graphicFrameLocks noChangeAspect="1"/>
          </p:cNvGraphicFramePr>
          <p:nvPr userDrawn="1">
            <p:custDataLst>
              <p:tags r:id="rId2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4" imgW="7772400" imgH="10058400" progId="TCLayout.ActiveDocument.1">
                  <p:embed/>
                </p:oleObj>
              </mc:Choice>
              <mc:Fallback>
                <p:oleObj name="think-cell Slide" r:id="rId24" imgW="7772400" imgH="10058400" progId="TCLayout.ActiveDocument.1">
                  <p:embed/>
                  <p:pic>
                    <p:nvPicPr>
                      <p:cNvPr id="11" name="Object 10" hidden="1">
                        <a:extLst>
                          <a:ext uri="{FF2B5EF4-FFF2-40B4-BE49-F238E27FC236}">
                            <a16:creationId xmlns:a16="http://schemas.microsoft.com/office/drawing/2014/main" id="{BC619451-4B0D-8C9D-2FA3-2B4A9AF52246}"/>
                          </a:ext>
                        </a:extLst>
                      </p:cNvPr>
                      <p:cNvPicPr/>
                      <p:nvPr/>
                    </p:nvPicPr>
                    <p:blipFill>
                      <a:blip r:embed="rId25"/>
                      <a:stretch>
                        <a:fillRect/>
                      </a:stretch>
                    </p:blipFill>
                    <p:spPr>
                      <a:xfrm>
                        <a:off x="1588" y="1588"/>
                        <a:ext cx="1227"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42CA9D22-6FE2-499F-B4A1-E5DD47B5EF98}"/>
              </a:ext>
            </a:extLst>
          </p:cNvPr>
          <p:cNvSpPr>
            <a:spLocks noGrp="1"/>
          </p:cNvSpPr>
          <p:nvPr>
            <p:ph type="dt" sz="half" idx="2"/>
          </p:nvPr>
        </p:nvSpPr>
        <p:spPr>
          <a:xfrm>
            <a:off x="2730843" y="6510340"/>
            <a:ext cx="1594176" cy="263525"/>
          </a:xfrm>
          <a:prstGeom prst="rect">
            <a:avLst/>
          </a:prstGeom>
        </p:spPr>
        <p:txBody>
          <a:bodyPr vert="horz" wrap="square" lIns="91440" tIns="45720" rIns="91440" bIns="45720" rtlCol="0" anchor="ctr">
            <a:noAutofit/>
          </a:bodyPr>
          <a:lstStyle>
            <a:lvl1pPr algn="r">
              <a:lnSpc>
                <a:spcPct val="90000"/>
              </a:lnSpc>
              <a:spcAft>
                <a:spcPts val="600"/>
              </a:spcAft>
              <a:defRPr sz="1200">
                <a:solidFill>
                  <a:schemeClr val="tx1"/>
                </a:solidFill>
              </a:defRPr>
            </a:lvl1pPr>
          </a:lstStyle>
          <a:p>
            <a:endParaRPr lang="en-US" dirty="0"/>
          </a:p>
        </p:txBody>
      </p:sp>
      <p:sp>
        <p:nvSpPr>
          <p:cNvPr id="5" name="Footer Placeholder 4">
            <a:extLst>
              <a:ext uri="{FF2B5EF4-FFF2-40B4-BE49-F238E27FC236}">
                <a16:creationId xmlns:a16="http://schemas.microsoft.com/office/drawing/2014/main" id="{C2F188DB-BA05-4BDA-B265-E82AFD8D060C}"/>
              </a:ext>
            </a:extLst>
          </p:cNvPr>
          <p:cNvSpPr>
            <a:spLocks noGrp="1"/>
          </p:cNvSpPr>
          <p:nvPr>
            <p:ph type="ftr" sz="quarter" idx="3"/>
          </p:nvPr>
        </p:nvSpPr>
        <p:spPr>
          <a:xfrm>
            <a:off x="4325019" y="6510340"/>
            <a:ext cx="5492750" cy="263525"/>
          </a:xfrm>
          <a:prstGeom prst="rect">
            <a:avLst/>
          </a:prstGeom>
        </p:spPr>
        <p:txBody>
          <a:bodyPr vert="horz" wrap="square" lIns="91440" tIns="45720" rIns="91440" bIns="45720" rtlCol="0" anchor="ctr">
            <a:noAutofit/>
          </a:bodyPr>
          <a:lstStyle>
            <a:lvl1pPr algn="r">
              <a:lnSpc>
                <a:spcPct val="90000"/>
              </a:lnSpc>
              <a:spcAft>
                <a:spcPts val="600"/>
              </a:spcAft>
              <a:defRPr sz="600">
                <a:solidFill>
                  <a:schemeClr val="tx1"/>
                </a:solidFill>
              </a:defRPr>
            </a:lvl1pPr>
          </a:lstStyle>
          <a:p>
            <a:endParaRPr lang="en-US" sz="600" noProof="0" dirty="0"/>
          </a:p>
        </p:txBody>
      </p:sp>
      <p:sp>
        <p:nvSpPr>
          <p:cNvPr id="6" name="Slide Number Placeholder 5">
            <a:extLst>
              <a:ext uri="{FF2B5EF4-FFF2-40B4-BE49-F238E27FC236}">
                <a16:creationId xmlns:a16="http://schemas.microsoft.com/office/drawing/2014/main" id="{CE9B70EA-06D9-47FC-B018-C0A28FB17F74}"/>
              </a:ext>
            </a:extLst>
          </p:cNvPr>
          <p:cNvSpPr>
            <a:spLocks noGrp="1"/>
          </p:cNvSpPr>
          <p:nvPr>
            <p:ph type="sldNum" sz="quarter" idx="4"/>
          </p:nvPr>
        </p:nvSpPr>
        <p:spPr>
          <a:xfrm>
            <a:off x="11522870" y="6515102"/>
            <a:ext cx="445293" cy="263525"/>
          </a:xfrm>
          <a:prstGeom prst="rect">
            <a:avLst/>
          </a:prstGeom>
        </p:spPr>
        <p:txBody>
          <a:bodyPr vert="horz" wrap="square" lIns="91440" tIns="45720" rIns="91440" bIns="45720" rtlCol="0" anchor="ctr">
            <a:noAutofit/>
          </a:bodyPr>
          <a:lstStyle>
            <a:lvl1pPr algn="r">
              <a:lnSpc>
                <a:spcPct val="90000"/>
              </a:lnSpc>
              <a:spcAft>
                <a:spcPts val="600"/>
              </a:spcAft>
              <a:defRPr sz="1050">
                <a:solidFill>
                  <a:schemeClr val="tx1"/>
                </a:solidFill>
              </a:defRPr>
            </a:lvl1pPr>
          </a:lstStyle>
          <a:p>
            <a:fld id="{5034EE70-12A8-400F-8E3D-398CDD8B315D}" type="slidenum">
              <a:rPr lang="en-US" smtClean="0"/>
              <a:pPr/>
              <a:t>‹#›</a:t>
            </a:fld>
            <a:endParaRPr lang="en-US" dirty="0"/>
          </a:p>
        </p:txBody>
      </p:sp>
      <p:pic>
        <p:nvPicPr>
          <p:cNvPr id="8" name="Graphic 7">
            <a:extLst>
              <a:ext uri="{FF2B5EF4-FFF2-40B4-BE49-F238E27FC236}">
                <a16:creationId xmlns:a16="http://schemas.microsoft.com/office/drawing/2014/main" id="{27005F95-168D-49CF-9563-66E6FEB3C1D9}"/>
              </a:ext>
            </a:extLst>
          </p:cNvPr>
          <p:cNvPicPr>
            <a:picLocks noChangeAspect="1"/>
          </p:cNvPicPr>
          <p:nvPr userDrawn="1"/>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9808306" y="6545838"/>
            <a:ext cx="1826482" cy="213737"/>
          </a:xfrm>
          <a:prstGeom prst="rect">
            <a:avLst/>
          </a:prstGeom>
        </p:spPr>
      </p:pic>
      <p:sp>
        <p:nvSpPr>
          <p:cNvPr id="2" name="Title Placeholder 1">
            <a:extLst>
              <a:ext uri="{FF2B5EF4-FFF2-40B4-BE49-F238E27FC236}">
                <a16:creationId xmlns:a16="http://schemas.microsoft.com/office/drawing/2014/main" id="{68919E06-11A1-49EF-A856-85078309B1FB}"/>
              </a:ext>
            </a:extLst>
          </p:cNvPr>
          <p:cNvSpPr>
            <a:spLocks noGrp="1"/>
          </p:cNvSpPr>
          <p:nvPr>
            <p:ph type="title"/>
          </p:nvPr>
        </p:nvSpPr>
        <p:spPr>
          <a:xfrm>
            <a:off x="480060" y="706279"/>
            <a:ext cx="5867400" cy="406241"/>
          </a:xfrm>
          <a:prstGeom prst="rect">
            <a:avLst/>
          </a:prstGeom>
        </p:spPr>
        <p:txBody>
          <a:bodyPr vert="horz" wrap="square" lIns="91440" tIns="45720" rIns="91440" bIns="4572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ECB167A5-4D6A-4C99-8FD7-2D2442391327}"/>
              </a:ext>
            </a:extLst>
          </p:cNvPr>
          <p:cNvSpPr>
            <a:spLocks noGrp="1"/>
          </p:cNvSpPr>
          <p:nvPr>
            <p:ph type="body" idx="1"/>
          </p:nvPr>
        </p:nvSpPr>
        <p:spPr>
          <a:xfrm>
            <a:off x="480060" y="1929764"/>
            <a:ext cx="7330440" cy="3404236"/>
          </a:xfrm>
          <a:prstGeom prst="rect">
            <a:avLst/>
          </a:prstGeom>
        </p:spPr>
        <p:txBody>
          <a:bodyPr vert="horz" wrap="square" lIns="91440" tIns="45720" rIns="91440" bIns="45720" rtlCol="0">
            <a:noAutofit/>
          </a:bodyPr>
          <a:lstStyle/>
          <a:p>
            <a:pPr lvl="0"/>
            <a:r>
              <a:rPr lang="en-US"/>
              <a:t>Click to edit </a:t>
            </a:r>
            <a:r>
              <a:rPr lang="en-US" noProof="0"/>
              <a:t>Master</a:t>
            </a:r>
            <a:r>
              <a:rPr lang="en-US"/>
              <a: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0086370"/>
      </p:ext>
    </p:extLst>
  </p:cSld>
  <p:clrMap bg1="lt1" tx1="dk1" bg2="lt2" tx2="dk2" accent1="accent1" accent2="accent2" accent3="accent3" accent4="accent4" accent5="accent5" accent6="accent6" hlink="hlink" folHlink="folHlink"/>
  <p:sldLayoutIdLst>
    <p:sldLayoutId id="2147484571" r:id="rId1"/>
    <p:sldLayoutId id="2147484572" r:id="rId2"/>
    <p:sldLayoutId id="2147484573" r:id="rId3"/>
    <p:sldLayoutId id="2147484574" r:id="rId4"/>
    <p:sldLayoutId id="2147484575" r:id="rId5"/>
    <p:sldLayoutId id="2147484576" r:id="rId6"/>
    <p:sldLayoutId id="2147484577" r:id="rId7"/>
    <p:sldLayoutId id="2147484578" r:id="rId8"/>
    <p:sldLayoutId id="2147484579" r:id="rId9"/>
    <p:sldLayoutId id="2147484580" r:id="rId10"/>
    <p:sldLayoutId id="2147484581" r:id="rId11"/>
    <p:sldLayoutId id="2147484582" r:id="rId12"/>
    <p:sldLayoutId id="2147484583" r:id="rId13"/>
    <p:sldLayoutId id="2147484584" r:id="rId14"/>
    <p:sldLayoutId id="2147484585" r:id="rId15"/>
    <p:sldLayoutId id="2147484586" r:id="rId16"/>
    <p:sldLayoutId id="2147484587" r:id="rId17"/>
    <p:sldLayoutId id="2147484588" r:id="rId18"/>
    <p:sldLayoutId id="2147484589" r:id="rId19"/>
    <p:sldLayoutId id="2147484590" r:id="rId20"/>
    <p:sldLayoutId id="2147484591" r:id="rId21"/>
  </p:sldLayoutIdLst>
  <p:hf hdr="0" ftr="0" dt="0"/>
  <p:txStyles>
    <p:titleStyle>
      <a:lvl1pPr algn="l" defTabSz="914400" rtl="0" eaLnBrk="1" latinLnBrk="0" hangingPunct="1">
        <a:lnSpc>
          <a:spcPct val="90000"/>
        </a:lnSpc>
        <a:spcBef>
          <a:spcPct val="0"/>
        </a:spcBef>
        <a:spcAft>
          <a:spcPts val="600"/>
        </a:spcAft>
        <a:buNone/>
        <a:defRPr sz="2200" b="1" kern="1200" cap="all"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1000"/>
        </a:spcBef>
        <a:spcAft>
          <a:spcPts val="300"/>
        </a:spcAft>
        <a:buFont typeface="Arial" panose="020B0604020202020204" pitchFamily="34" charset="0"/>
        <a:buNone/>
        <a:defRPr sz="1800" kern="1200">
          <a:solidFill>
            <a:schemeClr val="tx2"/>
          </a:solidFill>
          <a:latin typeface="+mn-lt"/>
          <a:ea typeface="+mn-ea"/>
          <a:cs typeface="+mn-cs"/>
        </a:defRPr>
      </a:lvl1pPr>
      <a:lvl2pPr marL="266700" indent="-228600" algn="l" defTabSz="914400" rtl="0" eaLnBrk="1" latinLnBrk="0" hangingPunct="1">
        <a:lnSpc>
          <a:spcPct val="100000"/>
        </a:lnSpc>
        <a:spcBef>
          <a:spcPts val="500"/>
        </a:spcBef>
        <a:spcAft>
          <a:spcPts val="300"/>
        </a:spcAft>
        <a:buFont typeface="Arial" panose="020B0604020202020204" pitchFamily="34" charset="0"/>
        <a:buChar char="•"/>
        <a:defRPr sz="1800" kern="1200">
          <a:solidFill>
            <a:schemeClr val="tx2"/>
          </a:solidFill>
          <a:latin typeface="+mn-lt"/>
          <a:ea typeface="+mn-ea"/>
          <a:cs typeface="+mn-cs"/>
        </a:defRPr>
      </a:lvl2pPr>
      <a:lvl3pPr marL="538163" indent="-228600" algn="l" defTabSz="914400" rtl="0" eaLnBrk="1" latinLnBrk="0" hangingPunct="1">
        <a:lnSpc>
          <a:spcPct val="100000"/>
        </a:lnSpc>
        <a:spcBef>
          <a:spcPts val="500"/>
        </a:spcBef>
        <a:spcAft>
          <a:spcPts val="300"/>
        </a:spcAft>
        <a:buFont typeface="Arial" panose="020B0604020202020204" pitchFamily="34" charset="0"/>
        <a:buChar char="•"/>
        <a:defRPr sz="1600" kern="1200">
          <a:solidFill>
            <a:schemeClr val="tx2"/>
          </a:solidFill>
          <a:latin typeface="+mn-lt"/>
          <a:ea typeface="+mn-ea"/>
          <a:cs typeface="+mn-cs"/>
        </a:defRPr>
      </a:lvl3pPr>
      <a:lvl4pPr marL="804863" indent="-228600" algn="l" defTabSz="914400" rtl="0" eaLnBrk="1" latinLnBrk="0" hangingPunct="1">
        <a:lnSpc>
          <a:spcPct val="100000"/>
        </a:lnSpc>
        <a:spcBef>
          <a:spcPts val="500"/>
        </a:spcBef>
        <a:spcAft>
          <a:spcPts val="300"/>
        </a:spcAft>
        <a:buFont typeface="Arial" panose="020B0604020202020204" pitchFamily="34" charset="0"/>
        <a:buChar char="•"/>
        <a:defRPr sz="1600" kern="1200">
          <a:solidFill>
            <a:schemeClr val="tx2"/>
          </a:solidFill>
          <a:latin typeface="+mn-lt"/>
          <a:ea typeface="+mn-ea"/>
          <a:cs typeface="+mn-cs"/>
        </a:defRPr>
      </a:lvl4pPr>
      <a:lvl5pPr marL="1076325" indent="-228600" algn="l" defTabSz="914400" rtl="0" eaLnBrk="1" latinLnBrk="0" hangingPunct="1">
        <a:lnSpc>
          <a:spcPct val="100000"/>
        </a:lnSpc>
        <a:spcBef>
          <a:spcPts val="500"/>
        </a:spcBef>
        <a:spcAft>
          <a:spcPts val="300"/>
        </a:spcAft>
        <a:buFont typeface="Arial" panose="020B0604020202020204" pitchFamily="34" charset="0"/>
        <a:buChar char="•"/>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40">
          <p15:clr>
            <a:srgbClr val="F26B43"/>
          </p15:clr>
        </p15:guide>
        <p15:guide id="2" pos="7539">
          <p15:clr>
            <a:srgbClr val="F26B43"/>
          </p15:clr>
        </p15:guide>
        <p15:guide id="4" orient="horz" pos="141">
          <p15:clr>
            <a:srgbClr val="F26B43"/>
          </p15:clr>
        </p15:guide>
        <p15:guide id="5" orient="horz" pos="4179">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80B6E9C3-D0BA-BC7B-A8D0-5051BC466086}"/>
              </a:ext>
            </a:extLst>
          </p:cNvPr>
          <p:cNvGraphicFramePr>
            <a:graphicFrameLocks noChangeAspect="1"/>
          </p:cNvGraphicFramePr>
          <p:nvPr userDrawn="1">
            <p:custDataLst>
              <p:tags r:id="rId30"/>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1" imgW="7772400" imgH="10058400" progId="TCLayout.ActiveDocument.1">
                  <p:embed/>
                </p:oleObj>
              </mc:Choice>
              <mc:Fallback>
                <p:oleObj name="think-cell Slide" r:id="rId31" imgW="7772400" imgH="10058400" progId="TCLayout.ActiveDocument.1">
                  <p:embed/>
                  <p:pic>
                    <p:nvPicPr>
                      <p:cNvPr id="10" name="Object 9" hidden="1">
                        <a:extLst>
                          <a:ext uri="{FF2B5EF4-FFF2-40B4-BE49-F238E27FC236}">
                            <a16:creationId xmlns:a16="http://schemas.microsoft.com/office/drawing/2014/main" id="{80B6E9C3-D0BA-BC7B-A8D0-5051BC466086}"/>
                          </a:ext>
                        </a:extLst>
                      </p:cNvPr>
                      <p:cNvPicPr/>
                      <p:nvPr/>
                    </p:nvPicPr>
                    <p:blipFill>
                      <a:blip r:embed="rId32"/>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8919E06-11A1-49EF-A856-85078309B1FB}"/>
              </a:ext>
            </a:extLst>
          </p:cNvPr>
          <p:cNvSpPr>
            <a:spLocks noGrp="1"/>
          </p:cNvSpPr>
          <p:nvPr>
            <p:ph type="title"/>
          </p:nvPr>
        </p:nvSpPr>
        <p:spPr>
          <a:xfrm>
            <a:off x="480060" y="706279"/>
            <a:ext cx="5867400" cy="406241"/>
          </a:xfrm>
          <a:prstGeom prst="rect">
            <a:avLst/>
          </a:prstGeom>
        </p:spPr>
        <p:txBody>
          <a:bodyPr vert="horz" wrap="square" lIns="91440" tIns="45720" rIns="91440" bIns="4572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ECB167A5-4D6A-4C99-8FD7-2D2442391327}"/>
              </a:ext>
            </a:extLst>
          </p:cNvPr>
          <p:cNvSpPr>
            <a:spLocks noGrp="1"/>
          </p:cNvSpPr>
          <p:nvPr>
            <p:ph type="body" idx="1"/>
          </p:nvPr>
        </p:nvSpPr>
        <p:spPr>
          <a:xfrm>
            <a:off x="480060" y="1929764"/>
            <a:ext cx="7330440" cy="3404236"/>
          </a:xfrm>
          <a:prstGeom prst="rect">
            <a:avLst/>
          </a:prstGeom>
        </p:spPr>
        <p:txBody>
          <a:bodyPr vert="horz" wrap="square"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2CA9D22-6FE2-499F-B4A1-E5DD47B5EF98}"/>
              </a:ext>
            </a:extLst>
          </p:cNvPr>
          <p:cNvSpPr>
            <a:spLocks noGrp="1"/>
          </p:cNvSpPr>
          <p:nvPr>
            <p:ph type="dt" sz="half" idx="2"/>
          </p:nvPr>
        </p:nvSpPr>
        <p:spPr>
          <a:xfrm>
            <a:off x="838200" y="6534150"/>
            <a:ext cx="2743200" cy="263525"/>
          </a:xfrm>
          <a:prstGeom prst="rect">
            <a:avLst/>
          </a:prstGeom>
        </p:spPr>
        <p:txBody>
          <a:bodyPr vert="horz" wrap="square" lIns="91440" tIns="45720" rIns="91440" bIns="45720" rtlCol="0" anchor="ctr">
            <a:noAutofit/>
          </a:bodyPr>
          <a:lstStyle>
            <a:lvl1pPr algn="l">
              <a:lnSpc>
                <a:spcPct val="90000"/>
              </a:lnSpc>
              <a:spcAft>
                <a:spcPts val="600"/>
              </a:spcAft>
              <a:defRPr sz="1200">
                <a:solidFill>
                  <a:schemeClr val="tx1"/>
                </a:solidFill>
              </a:defRPr>
            </a:lvl1pPr>
          </a:lstStyle>
          <a:p>
            <a:endParaRPr lang="en-US" noProof="0" dirty="0"/>
          </a:p>
        </p:txBody>
      </p:sp>
      <p:sp>
        <p:nvSpPr>
          <p:cNvPr id="5" name="Footer Placeholder 4">
            <a:extLst>
              <a:ext uri="{FF2B5EF4-FFF2-40B4-BE49-F238E27FC236}">
                <a16:creationId xmlns:a16="http://schemas.microsoft.com/office/drawing/2014/main" id="{C2F188DB-BA05-4BDA-B265-E82AFD8D060C}"/>
              </a:ext>
            </a:extLst>
          </p:cNvPr>
          <p:cNvSpPr>
            <a:spLocks noGrp="1"/>
          </p:cNvSpPr>
          <p:nvPr>
            <p:ph type="ftr" sz="quarter" idx="3"/>
          </p:nvPr>
        </p:nvSpPr>
        <p:spPr>
          <a:xfrm>
            <a:off x="4648200" y="6534150"/>
            <a:ext cx="5169569" cy="263525"/>
          </a:xfrm>
          <a:prstGeom prst="rect">
            <a:avLst/>
          </a:prstGeom>
        </p:spPr>
        <p:txBody>
          <a:bodyPr vert="horz" wrap="square" lIns="91440" tIns="45720" rIns="91440" bIns="45720" rtlCol="0" anchor="ctr">
            <a:noAutofit/>
          </a:bodyPr>
          <a:lstStyle>
            <a:lvl1pPr algn="r">
              <a:lnSpc>
                <a:spcPct val="90000"/>
              </a:lnSpc>
              <a:spcAft>
                <a:spcPts val="600"/>
              </a:spcAft>
              <a:defRPr sz="600">
                <a:solidFill>
                  <a:schemeClr val="tx1"/>
                </a:solidFill>
              </a:defRPr>
            </a:lvl1pPr>
          </a:lstStyle>
          <a:p>
            <a:endParaRPr lang="en-US" sz="600" noProof="0" dirty="0"/>
          </a:p>
        </p:txBody>
      </p:sp>
      <p:sp>
        <p:nvSpPr>
          <p:cNvPr id="6" name="Slide Number Placeholder 5">
            <a:extLst>
              <a:ext uri="{FF2B5EF4-FFF2-40B4-BE49-F238E27FC236}">
                <a16:creationId xmlns:a16="http://schemas.microsoft.com/office/drawing/2014/main" id="{CE9B70EA-06D9-47FC-B018-C0A28FB17F74}"/>
              </a:ext>
            </a:extLst>
          </p:cNvPr>
          <p:cNvSpPr>
            <a:spLocks noGrp="1"/>
          </p:cNvSpPr>
          <p:nvPr>
            <p:ph type="sldNum" sz="quarter" idx="4"/>
          </p:nvPr>
        </p:nvSpPr>
        <p:spPr>
          <a:xfrm>
            <a:off x="11610974" y="6538912"/>
            <a:ext cx="445293" cy="263525"/>
          </a:xfrm>
          <a:prstGeom prst="rect">
            <a:avLst/>
          </a:prstGeom>
        </p:spPr>
        <p:txBody>
          <a:bodyPr vert="horz" wrap="square" lIns="91440" tIns="45720" rIns="91440" bIns="45720" rtlCol="0" anchor="ctr">
            <a:noAutofit/>
          </a:bodyPr>
          <a:lstStyle>
            <a:lvl1pPr algn="r">
              <a:lnSpc>
                <a:spcPct val="90000"/>
              </a:lnSpc>
              <a:spcAft>
                <a:spcPts val="600"/>
              </a:spcAft>
              <a:defRPr sz="1050">
                <a:solidFill>
                  <a:schemeClr val="tx1"/>
                </a:solidFill>
              </a:defRPr>
            </a:lvl1pPr>
          </a:lstStyle>
          <a:p>
            <a:fld id="{5034EE70-12A8-400F-8E3D-398CDD8B315D}" type="slidenum">
              <a:rPr lang="en-US" noProof="0" smtClean="0"/>
              <a:pPr/>
              <a:t>‹#›</a:t>
            </a:fld>
            <a:endParaRPr lang="en-US" noProof="0" dirty="0"/>
          </a:p>
        </p:txBody>
      </p:sp>
      <p:sp>
        <p:nvSpPr>
          <p:cNvPr id="15" name="TextBox 14">
            <a:extLst>
              <a:ext uri="{FF2B5EF4-FFF2-40B4-BE49-F238E27FC236}">
                <a16:creationId xmlns:a16="http://schemas.microsoft.com/office/drawing/2014/main" id="{B16BA849-3006-4679-A607-AF3A19E0B54D}"/>
              </a:ext>
            </a:extLst>
          </p:cNvPr>
          <p:cNvSpPr txBox="1"/>
          <p:nvPr userDrawn="1"/>
        </p:nvSpPr>
        <p:spPr>
          <a:xfrm>
            <a:off x="9817769" y="6576218"/>
            <a:ext cx="1771776" cy="171450"/>
          </a:xfrm>
          <a:prstGeom prst="rect">
            <a:avLst/>
          </a:prstGeom>
          <a:noFill/>
        </p:spPr>
        <p:txBody>
          <a:bodyPr wrap="square" rtlCol="0">
            <a:noAutofit/>
          </a:bodyPr>
          <a:lstStyle/>
          <a:p>
            <a:pPr algn="ctr">
              <a:lnSpc>
                <a:spcPct val="90000"/>
              </a:lnSpc>
              <a:spcAft>
                <a:spcPts val="600"/>
              </a:spcAft>
            </a:pPr>
            <a:r>
              <a:rPr lang="en-US" sz="700" cap="all" spc="10" baseline="0" noProof="0" dirty="0"/>
              <a:t>Proprietary and Confidential</a:t>
            </a:r>
          </a:p>
        </p:txBody>
      </p:sp>
    </p:spTree>
    <p:extLst>
      <p:ext uri="{BB962C8B-B14F-4D97-AF65-F5344CB8AC3E}">
        <p14:creationId xmlns:p14="http://schemas.microsoft.com/office/powerpoint/2010/main" val="3630262079"/>
      </p:ext>
    </p:extLst>
  </p:cSld>
  <p:clrMap bg1="lt1" tx1="dk1" bg2="lt2" tx2="dk2" accent1="accent1" accent2="accent2" accent3="accent3" accent4="accent4" accent5="accent5" accent6="accent6" hlink="hlink" folHlink="folHlink"/>
  <p:sldLayoutIdLst>
    <p:sldLayoutId id="2147484622" r:id="rId1"/>
    <p:sldLayoutId id="2147484623" r:id="rId2"/>
    <p:sldLayoutId id="2147484450" r:id="rId3"/>
    <p:sldLayoutId id="2147484451" r:id="rId4"/>
    <p:sldLayoutId id="2147484452" r:id="rId5"/>
    <p:sldLayoutId id="2147484624" r:id="rId6"/>
    <p:sldLayoutId id="2147484625" r:id="rId7"/>
    <p:sldLayoutId id="2147484626" r:id="rId8"/>
    <p:sldLayoutId id="2147484627" r:id="rId9"/>
    <p:sldLayoutId id="2147484628" r:id="rId10"/>
    <p:sldLayoutId id="2147484629" r:id="rId11"/>
    <p:sldLayoutId id="2147484630" r:id="rId12"/>
    <p:sldLayoutId id="2147484631" r:id="rId13"/>
    <p:sldLayoutId id="2147484632" r:id="rId14"/>
    <p:sldLayoutId id="2147483933" r:id="rId15"/>
    <p:sldLayoutId id="2147484453" r:id="rId16"/>
    <p:sldLayoutId id="2147484454" r:id="rId17"/>
    <p:sldLayoutId id="2147484455" r:id="rId18"/>
    <p:sldLayoutId id="2147484456" r:id="rId19"/>
    <p:sldLayoutId id="2147484457" r:id="rId20"/>
    <p:sldLayoutId id="2147484458" r:id="rId21"/>
    <p:sldLayoutId id="2147484459" r:id="rId22"/>
    <p:sldLayoutId id="2147484460" r:id="rId23"/>
    <p:sldLayoutId id="2147484461" r:id="rId24"/>
    <p:sldLayoutId id="2147484462" r:id="rId25"/>
    <p:sldLayoutId id="2147484464" r:id="rId26"/>
    <p:sldLayoutId id="2147484465" r:id="rId27"/>
    <p:sldLayoutId id="2147484466" r:id="rId28"/>
  </p:sldLayoutIdLst>
  <p:hf hdr="0" ftr="0" dt="0"/>
  <p:txStyles>
    <p:titleStyle>
      <a:lvl1pPr algn="l" defTabSz="914400" rtl="0" eaLnBrk="1" latinLnBrk="0" hangingPunct="1">
        <a:lnSpc>
          <a:spcPct val="90000"/>
        </a:lnSpc>
        <a:spcBef>
          <a:spcPct val="0"/>
        </a:spcBef>
        <a:spcAft>
          <a:spcPts val="600"/>
        </a:spcAft>
        <a:buNone/>
        <a:defRPr sz="2200" b="1" kern="1200" cap="all" baseline="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spcAft>
          <a:spcPts val="300"/>
        </a:spcAft>
        <a:buFont typeface="Arial" panose="020B0604020202020204" pitchFamily="34" charset="0"/>
        <a:buNone/>
        <a:defRPr sz="1800" kern="1200">
          <a:solidFill>
            <a:schemeClr val="tx2"/>
          </a:solidFill>
          <a:latin typeface="+mn-lt"/>
          <a:ea typeface="+mn-ea"/>
          <a:cs typeface="+mn-cs"/>
        </a:defRPr>
      </a:lvl1pPr>
      <a:lvl2pPr marL="266700" indent="-228600" algn="l" defTabSz="914400" rtl="0" eaLnBrk="1" latinLnBrk="0" hangingPunct="1">
        <a:lnSpc>
          <a:spcPct val="90000"/>
        </a:lnSpc>
        <a:spcBef>
          <a:spcPts val="500"/>
        </a:spcBef>
        <a:spcAft>
          <a:spcPts val="300"/>
        </a:spcAft>
        <a:buFont typeface="Arial" panose="020B0604020202020204" pitchFamily="34" charset="0"/>
        <a:buChar char="•"/>
        <a:defRPr sz="1800" kern="1200">
          <a:solidFill>
            <a:schemeClr val="tx2"/>
          </a:solidFill>
          <a:latin typeface="+mn-lt"/>
          <a:ea typeface="+mn-ea"/>
          <a:cs typeface="+mn-cs"/>
        </a:defRPr>
      </a:lvl2pPr>
      <a:lvl3pPr marL="538163" indent="-228600" algn="l" defTabSz="914400" rtl="0" eaLnBrk="1" latinLnBrk="0" hangingPunct="1">
        <a:lnSpc>
          <a:spcPct val="90000"/>
        </a:lnSpc>
        <a:spcBef>
          <a:spcPts val="500"/>
        </a:spcBef>
        <a:spcAft>
          <a:spcPts val="300"/>
        </a:spcAft>
        <a:buFont typeface="Arial" panose="020B0604020202020204" pitchFamily="34" charset="0"/>
        <a:buChar char="•"/>
        <a:defRPr sz="1600" kern="1200">
          <a:solidFill>
            <a:schemeClr val="tx2"/>
          </a:solidFill>
          <a:latin typeface="+mn-lt"/>
          <a:ea typeface="+mn-ea"/>
          <a:cs typeface="+mn-cs"/>
        </a:defRPr>
      </a:lvl3pPr>
      <a:lvl4pPr marL="804863" indent="-228600" algn="l" defTabSz="914400" rtl="0" eaLnBrk="1" latinLnBrk="0" hangingPunct="1">
        <a:lnSpc>
          <a:spcPct val="90000"/>
        </a:lnSpc>
        <a:spcBef>
          <a:spcPts val="500"/>
        </a:spcBef>
        <a:spcAft>
          <a:spcPts val="300"/>
        </a:spcAft>
        <a:buFont typeface="Arial" panose="020B0604020202020204" pitchFamily="34" charset="0"/>
        <a:buChar char="•"/>
        <a:defRPr sz="1400" kern="1200">
          <a:solidFill>
            <a:schemeClr val="tx2"/>
          </a:solidFill>
          <a:latin typeface="+mn-lt"/>
          <a:ea typeface="+mn-ea"/>
          <a:cs typeface="+mn-cs"/>
        </a:defRPr>
      </a:lvl4pPr>
      <a:lvl5pPr marL="1076325" indent="-228600" algn="l" defTabSz="914400" rtl="0" eaLnBrk="1" latinLnBrk="0" hangingPunct="1">
        <a:lnSpc>
          <a:spcPct val="90000"/>
        </a:lnSpc>
        <a:spcBef>
          <a:spcPts val="500"/>
        </a:spcBef>
        <a:spcAft>
          <a:spcPts val="3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40">
          <p15:clr>
            <a:srgbClr val="F26B43"/>
          </p15:clr>
        </p15:guide>
        <p15:guide id="2" pos="7539">
          <p15:clr>
            <a:srgbClr val="F26B43"/>
          </p15:clr>
        </p15:guide>
        <p15:guide id="4" orient="horz" pos="141">
          <p15:clr>
            <a:srgbClr val="F26B43"/>
          </p15:clr>
        </p15:guide>
        <p15:guide id="5" orient="horz" pos="417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xml"/><Relationship Id="rId1" Type="http://schemas.openxmlformats.org/officeDocument/2006/relationships/slideLayout" Target="../slideLayouts/slideLayout75.xml"/><Relationship Id="rId4" Type="http://schemas.openxmlformats.org/officeDocument/2006/relationships/image" Target="../media/image17.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8.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notesSlide" Target="../notesSlides/notesSlide2.xml"/></Relationships>
</file>

<file path=ppt/slides/_rels/slide11.xml.rels><?xml version="1.0" encoding="UTF-8" standalone="yes"?>
<Relationships xmlns="http://schemas.openxmlformats.org/package/2006/relationships"><Relationship Id="rId3" Type="http://schemas.openxmlformats.org/officeDocument/2006/relationships/hyperlink" Target="http://www.cordenceworldwide.com/" TargetMode="External"/><Relationship Id="rId2" Type="http://schemas.openxmlformats.org/officeDocument/2006/relationships/hyperlink" Target="mailto:Steve.Haymon@cordence.com" TargetMode="External"/><Relationship Id="rId1" Type="http://schemas.openxmlformats.org/officeDocument/2006/relationships/slideLayout" Target="../slideLayouts/slideLayout52.xml"/><Relationship Id="rId4" Type="http://schemas.openxmlformats.org/officeDocument/2006/relationships/image" Target="../media/image62.jpeg"/></Relationships>
</file>

<file path=ppt/slides/_rels/slide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png"/><Relationship Id="rId1" Type="http://schemas.openxmlformats.org/officeDocument/2006/relationships/slideLayout" Target="../slideLayouts/slideLayout16.xml"/><Relationship Id="rId6" Type="http://schemas.openxmlformats.org/officeDocument/2006/relationships/image" Target="../media/image35.jpeg"/><Relationship Id="rId5" Type="http://schemas.openxmlformats.org/officeDocument/2006/relationships/image" Target="../media/image1.png"/><Relationship Id="rId4" Type="http://schemas.openxmlformats.org/officeDocument/2006/relationships/image" Target="../media/image34.png"/></Relationships>
</file>

<file path=ppt/slides/_rels/slide4.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7.png"/><Relationship Id="rId7" Type="http://schemas.openxmlformats.org/officeDocument/2006/relationships/image" Target="../media/image40.png"/><Relationship Id="rId12" Type="http://schemas.openxmlformats.org/officeDocument/2006/relationships/image" Target="../media/image45.png"/><Relationship Id="rId2" Type="http://schemas.openxmlformats.org/officeDocument/2006/relationships/image" Target="../media/image36.png"/><Relationship Id="rId1" Type="http://schemas.openxmlformats.org/officeDocument/2006/relationships/slideLayout" Target="../slideLayouts/slideLayout14.xml"/><Relationship Id="rId6" Type="http://schemas.openxmlformats.org/officeDocument/2006/relationships/image" Target="../media/image31.png"/><Relationship Id="rId11" Type="http://schemas.openxmlformats.org/officeDocument/2006/relationships/image" Target="../media/image44.png"/><Relationship Id="rId5" Type="http://schemas.openxmlformats.org/officeDocument/2006/relationships/image" Target="../media/image39.png"/><Relationship Id="rId10" Type="http://schemas.openxmlformats.org/officeDocument/2006/relationships/image" Target="../media/image43.png"/><Relationship Id="rId4" Type="http://schemas.openxmlformats.org/officeDocument/2006/relationships/image" Target="../media/image38.emf"/><Relationship Id="rId9" Type="http://schemas.openxmlformats.org/officeDocument/2006/relationships/image" Target="../media/image42.png"/></Relationships>
</file>

<file path=ppt/slides/_rels/slide5.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43.png"/><Relationship Id="rId3" Type="http://schemas.openxmlformats.org/officeDocument/2006/relationships/image" Target="../media/image48.png"/><Relationship Id="rId7" Type="http://schemas.openxmlformats.org/officeDocument/2006/relationships/image" Target="../media/image52.png"/><Relationship Id="rId12" Type="http://schemas.openxmlformats.org/officeDocument/2006/relationships/image" Target="../media/image56.png"/><Relationship Id="rId2" Type="http://schemas.openxmlformats.org/officeDocument/2006/relationships/image" Target="../media/image47.jpeg"/><Relationship Id="rId1" Type="http://schemas.openxmlformats.org/officeDocument/2006/relationships/slideLayout" Target="../slideLayouts/slideLayout48.xml"/><Relationship Id="rId6" Type="http://schemas.openxmlformats.org/officeDocument/2006/relationships/image" Target="../media/image51.png"/><Relationship Id="rId11" Type="http://schemas.openxmlformats.org/officeDocument/2006/relationships/image" Target="../media/image55.png"/><Relationship Id="rId5" Type="http://schemas.openxmlformats.org/officeDocument/2006/relationships/image" Target="../media/image50.tiff"/><Relationship Id="rId10" Type="http://schemas.openxmlformats.org/officeDocument/2006/relationships/image" Target="../media/image40.png"/><Relationship Id="rId4" Type="http://schemas.openxmlformats.org/officeDocument/2006/relationships/image" Target="../media/image49.png"/><Relationship Id="rId9" Type="http://schemas.openxmlformats.org/officeDocument/2006/relationships/image" Target="../media/image54.png"/><Relationship Id="rId14" Type="http://schemas.openxmlformats.org/officeDocument/2006/relationships/image" Target="../media/image45.png"/></Relationships>
</file>

<file path=ppt/slides/_rels/slide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69.xml"/></Relationships>
</file>

<file path=ppt/slides/_rels/slide9.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60.jpeg"/><Relationship Id="rId3" Type="http://schemas.openxmlformats.org/officeDocument/2006/relationships/hyperlink" Target="mailto:florent.stetten.pigasse@oresys.eu" TargetMode="External"/><Relationship Id="rId7" Type="http://schemas.openxmlformats.org/officeDocument/2006/relationships/image" Target="../media/image52.png"/><Relationship Id="rId12" Type="http://schemas.openxmlformats.org/officeDocument/2006/relationships/image" Target="../media/image59.png"/><Relationship Id="rId17" Type="http://schemas.openxmlformats.org/officeDocument/2006/relationships/image" Target="../media/image43.png"/><Relationship Id="rId2" Type="http://schemas.openxmlformats.org/officeDocument/2006/relationships/hyperlink" Target="mailto:vpl@tg.nl" TargetMode="External"/><Relationship Id="rId16" Type="http://schemas.openxmlformats.org/officeDocument/2006/relationships/hyperlink" Target="mailto:davi.almeida@elogroup.com.br" TargetMode="External"/><Relationship Id="rId1" Type="http://schemas.openxmlformats.org/officeDocument/2006/relationships/slideLayout" Target="../slideLayouts/slideLayout48.xml"/><Relationship Id="rId6" Type="http://schemas.openxmlformats.org/officeDocument/2006/relationships/hyperlink" Target="mailto:oike@genexpartners.com" TargetMode="External"/><Relationship Id="rId11" Type="http://schemas.openxmlformats.org/officeDocument/2006/relationships/image" Target="../media/image51.png"/><Relationship Id="rId5" Type="http://schemas.openxmlformats.org/officeDocument/2006/relationships/hyperlink" Target="mailto:young.kwon@keytoway.kr" TargetMode="External"/><Relationship Id="rId15" Type="http://schemas.openxmlformats.org/officeDocument/2006/relationships/image" Target="../media/image61.png"/><Relationship Id="rId10" Type="http://schemas.openxmlformats.org/officeDocument/2006/relationships/image" Target="../media/image58.tiff"/><Relationship Id="rId4" Type="http://schemas.openxmlformats.org/officeDocument/2006/relationships/hyperlink" Target="mailto:dmueller@horvath-partners.com" TargetMode="External"/><Relationship Id="rId9" Type="http://schemas.openxmlformats.org/officeDocument/2006/relationships/hyperlink" Target="mailto:santosh.sreedhar@consultavalon.com" TargetMode="External"/><Relationship Id="rId14" Type="http://schemas.openxmlformats.org/officeDocument/2006/relationships/image" Target="../media/image4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oup of people skiing on a mountain&#10;&#10;Description automatically generated with low confidence">
            <a:extLst>
              <a:ext uri="{FF2B5EF4-FFF2-40B4-BE49-F238E27FC236}">
                <a16:creationId xmlns:a16="http://schemas.microsoft.com/office/drawing/2014/main" id="{22A5C787-56F6-4935-0158-27658E334AC8}"/>
              </a:ext>
            </a:extLst>
          </p:cNvPr>
          <p:cNvPicPr>
            <a:picLocks noChangeAspect="1"/>
          </p:cNvPicPr>
          <p:nvPr/>
        </p:nvPicPr>
        <p:blipFill rotWithShape="1">
          <a:blip r:embed="rId3"/>
          <a:srcRect t="8804" b="7026"/>
          <a:stretch/>
        </p:blipFill>
        <p:spPr>
          <a:xfrm>
            <a:off x="8965" y="-406"/>
            <a:ext cx="12178817" cy="6842921"/>
          </a:xfrm>
          <a:prstGeom prst="rect">
            <a:avLst/>
          </a:prstGeom>
        </p:spPr>
      </p:pic>
      <p:pic>
        <p:nvPicPr>
          <p:cNvPr id="6" name="Picture 5">
            <a:extLst>
              <a:ext uri="{FF2B5EF4-FFF2-40B4-BE49-F238E27FC236}">
                <a16:creationId xmlns:a16="http://schemas.microsoft.com/office/drawing/2014/main" id="{11FF8C5A-69D8-0E8F-B11E-51FB3D3C934C}"/>
              </a:ext>
            </a:extLst>
          </p:cNvPr>
          <p:cNvPicPr>
            <a:picLocks noChangeAspect="1"/>
          </p:cNvPicPr>
          <p:nvPr/>
        </p:nvPicPr>
        <p:blipFill>
          <a:blip r:embed="rId4"/>
          <a:stretch>
            <a:fillRect/>
          </a:stretch>
        </p:blipFill>
        <p:spPr>
          <a:xfrm>
            <a:off x="8175704" y="5007006"/>
            <a:ext cx="3060464" cy="1077283"/>
          </a:xfrm>
          <a:prstGeom prst="rect">
            <a:avLst/>
          </a:prstGeom>
        </p:spPr>
      </p:pic>
      <p:grpSp>
        <p:nvGrpSpPr>
          <p:cNvPr id="9" name="Graphic 11">
            <a:extLst>
              <a:ext uri="{FF2B5EF4-FFF2-40B4-BE49-F238E27FC236}">
                <a16:creationId xmlns:a16="http://schemas.microsoft.com/office/drawing/2014/main" id="{717727F4-153D-62A5-C0A9-9E3C34DBFCD6}"/>
              </a:ext>
            </a:extLst>
          </p:cNvPr>
          <p:cNvGrpSpPr/>
          <p:nvPr/>
        </p:nvGrpSpPr>
        <p:grpSpPr>
          <a:xfrm>
            <a:off x="527361" y="1145858"/>
            <a:ext cx="4950587" cy="710389"/>
            <a:chOff x="527361" y="1145858"/>
            <a:chExt cx="4950587" cy="710389"/>
          </a:xfrm>
          <a:solidFill>
            <a:srgbClr val="07D8ED"/>
          </a:solidFill>
        </p:grpSpPr>
        <p:sp>
          <p:nvSpPr>
            <p:cNvPr id="10" name="Freeform: Shape 9">
              <a:extLst>
                <a:ext uri="{FF2B5EF4-FFF2-40B4-BE49-F238E27FC236}">
                  <a16:creationId xmlns:a16="http://schemas.microsoft.com/office/drawing/2014/main" id="{3A02C8A8-D969-B9ED-6788-397A487AEA2A}"/>
                </a:ext>
              </a:extLst>
            </p:cNvPr>
            <p:cNvSpPr/>
            <p:nvPr/>
          </p:nvSpPr>
          <p:spPr>
            <a:xfrm>
              <a:off x="4894829" y="1153551"/>
              <a:ext cx="583119" cy="687812"/>
            </a:xfrm>
            <a:custGeom>
              <a:avLst/>
              <a:gdLst>
                <a:gd name="connsiteX0" fmla="*/ 137521 w 583119"/>
                <a:gd name="connsiteY0" fmla="*/ 687767 h 687812"/>
                <a:gd name="connsiteX1" fmla="*/ 0 w 583119"/>
                <a:gd name="connsiteY1" fmla="*/ 687767 h 687812"/>
                <a:gd name="connsiteX2" fmla="*/ 0 w 583119"/>
                <a:gd name="connsiteY2" fmla="*/ 0 h 687812"/>
                <a:gd name="connsiteX3" fmla="*/ 308236 w 583119"/>
                <a:gd name="connsiteY3" fmla="*/ 0 h 687812"/>
                <a:gd name="connsiteX4" fmla="*/ 381265 w 583119"/>
                <a:gd name="connsiteY4" fmla="*/ 9816 h 687812"/>
                <a:gd name="connsiteX5" fmla="*/ 446739 w 583119"/>
                <a:gd name="connsiteY5" fmla="*/ 37645 h 687812"/>
                <a:gd name="connsiteX6" fmla="*/ 502236 w 583119"/>
                <a:gd name="connsiteY6" fmla="*/ 80723 h 687812"/>
                <a:gd name="connsiteX7" fmla="*/ 545451 w 583119"/>
                <a:gd name="connsiteY7" fmla="*/ 136722 h 687812"/>
                <a:gd name="connsiteX8" fmla="*/ 573280 w 583119"/>
                <a:gd name="connsiteY8" fmla="*/ 202378 h 687812"/>
                <a:gd name="connsiteX9" fmla="*/ 583119 w 583119"/>
                <a:gd name="connsiteY9" fmla="*/ 275248 h 687812"/>
                <a:gd name="connsiteX10" fmla="*/ 574284 w 583119"/>
                <a:gd name="connsiteY10" fmla="*/ 344329 h 687812"/>
                <a:gd name="connsiteX11" fmla="*/ 548899 w 583119"/>
                <a:gd name="connsiteY11" fmla="*/ 408158 h 687812"/>
                <a:gd name="connsiteX12" fmla="*/ 508286 w 583119"/>
                <a:gd name="connsiteY12" fmla="*/ 463838 h 687812"/>
                <a:gd name="connsiteX13" fmla="*/ 454592 w 583119"/>
                <a:gd name="connsiteY13" fmla="*/ 507898 h 687812"/>
                <a:gd name="connsiteX14" fmla="*/ 530886 w 583119"/>
                <a:gd name="connsiteY14" fmla="*/ 687812 h 687812"/>
                <a:gd name="connsiteX15" fmla="*/ 384508 w 583119"/>
                <a:gd name="connsiteY15" fmla="*/ 687812 h 687812"/>
                <a:gd name="connsiteX16" fmla="*/ 324582 w 583119"/>
                <a:gd name="connsiteY16" fmla="*/ 549150 h 687812"/>
                <a:gd name="connsiteX17" fmla="*/ 137476 w 583119"/>
                <a:gd name="connsiteY17" fmla="*/ 550108 h 687812"/>
                <a:gd name="connsiteX18" fmla="*/ 137476 w 583119"/>
                <a:gd name="connsiteY18" fmla="*/ 687790 h 687812"/>
                <a:gd name="connsiteX19" fmla="*/ 137476 w 583119"/>
                <a:gd name="connsiteY19" fmla="*/ 687790 h 687812"/>
                <a:gd name="connsiteX20" fmla="*/ 137521 w 583119"/>
                <a:gd name="connsiteY20" fmla="*/ 137681 h 687812"/>
                <a:gd name="connsiteX21" fmla="*/ 137521 w 583119"/>
                <a:gd name="connsiteY21" fmla="*/ 412907 h 687812"/>
                <a:gd name="connsiteX22" fmla="*/ 308236 w 583119"/>
                <a:gd name="connsiteY22" fmla="*/ 412907 h 687812"/>
                <a:gd name="connsiteX23" fmla="*/ 361610 w 583119"/>
                <a:gd name="connsiteY23" fmla="*/ 402108 h 687812"/>
                <a:gd name="connsiteX24" fmla="*/ 405167 w 583119"/>
                <a:gd name="connsiteY24" fmla="*/ 372614 h 687812"/>
                <a:gd name="connsiteX25" fmla="*/ 434640 w 583119"/>
                <a:gd name="connsiteY25" fmla="*/ 328759 h 687812"/>
                <a:gd name="connsiteX26" fmla="*/ 445438 w 583119"/>
                <a:gd name="connsiteY26" fmla="*/ 275225 h 687812"/>
                <a:gd name="connsiteX27" fmla="*/ 434640 w 583119"/>
                <a:gd name="connsiteY27" fmla="*/ 221829 h 687812"/>
                <a:gd name="connsiteX28" fmla="*/ 405167 w 583119"/>
                <a:gd name="connsiteY28" fmla="*/ 177951 h 687812"/>
                <a:gd name="connsiteX29" fmla="*/ 361610 w 583119"/>
                <a:gd name="connsiteY29" fmla="*/ 148479 h 687812"/>
                <a:gd name="connsiteX30" fmla="*/ 308236 w 583119"/>
                <a:gd name="connsiteY30" fmla="*/ 137658 h 687812"/>
                <a:gd name="connsiteX31" fmla="*/ 137521 w 583119"/>
                <a:gd name="connsiteY31" fmla="*/ 137658 h 687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83119" h="687812">
                  <a:moveTo>
                    <a:pt x="137521" y="687767"/>
                  </a:moveTo>
                  <a:lnTo>
                    <a:pt x="0" y="687767"/>
                  </a:lnTo>
                  <a:lnTo>
                    <a:pt x="0" y="0"/>
                  </a:lnTo>
                  <a:lnTo>
                    <a:pt x="308236" y="0"/>
                  </a:lnTo>
                  <a:cubicBezTo>
                    <a:pt x="333622" y="0"/>
                    <a:pt x="357889" y="3265"/>
                    <a:pt x="381265" y="9816"/>
                  </a:cubicBezTo>
                  <a:cubicBezTo>
                    <a:pt x="404506" y="16323"/>
                    <a:pt x="426261" y="25705"/>
                    <a:pt x="446739" y="37645"/>
                  </a:cubicBezTo>
                  <a:cubicBezTo>
                    <a:pt x="467034" y="49607"/>
                    <a:pt x="485548" y="64012"/>
                    <a:pt x="502236" y="80723"/>
                  </a:cubicBezTo>
                  <a:cubicBezTo>
                    <a:pt x="519107" y="97594"/>
                    <a:pt x="533511" y="116245"/>
                    <a:pt x="545451" y="136722"/>
                  </a:cubicBezTo>
                  <a:cubicBezTo>
                    <a:pt x="557414" y="157177"/>
                    <a:pt x="566750" y="179116"/>
                    <a:pt x="573280" y="202378"/>
                  </a:cubicBezTo>
                  <a:cubicBezTo>
                    <a:pt x="579831" y="225778"/>
                    <a:pt x="583119" y="250022"/>
                    <a:pt x="583119" y="275248"/>
                  </a:cubicBezTo>
                  <a:cubicBezTo>
                    <a:pt x="583119" y="298990"/>
                    <a:pt x="580174" y="322070"/>
                    <a:pt x="574284" y="344329"/>
                  </a:cubicBezTo>
                  <a:cubicBezTo>
                    <a:pt x="568371" y="366746"/>
                    <a:pt x="559856" y="388023"/>
                    <a:pt x="548899" y="408158"/>
                  </a:cubicBezTo>
                  <a:cubicBezTo>
                    <a:pt x="537758" y="428293"/>
                    <a:pt x="524358" y="446807"/>
                    <a:pt x="508286" y="463838"/>
                  </a:cubicBezTo>
                  <a:cubicBezTo>
                    <a:pt x="492260" y="480709"/>
                    <a:pt x="474408" y="495433"/>
                    <a:pt x="454592" y="507898"/>
                  </a:cubicBezTo>
                  <a:lnTo>
                    <a:pt x="530886" y="687812"/>
                  </a:lnTo>
                  <a:lnTo>
                    <a:pt x="384508" y="687812"/>
                  </a:lnTo>
                  <a:lnTo>
                    <a:pt x="324582" y="549150"/>
                  </a:lnTo>
                  <a:lnTo>
                    <a:pt x="137476" y="550108"/>
                  </a:lnTo>
                  <a:lnTo>
                    <a:pt x="137476" y="687790"/>
                  </a:lnTo>
                  <a:lnTo>
                    <a:pt x="137476" y="687790"/>
                  </a:lnTo>
                  <a:close/>
                  <a:moveTo>
                    <a:pt x="137521" y="137681"/>
                  </a:moveTo>
                  <a:lnTo>
                    <a:pt x="137521" y="412907"/>
                  </a:lnTo>
                  <a:lnTo>
                    <a:pt x="308236" y="412907"/>
                  </a:lnTo>
                  <a:cubicBezTo>
                    <a:pt x="327230" y="412907"/>
                    <a:pt x="344922" y="409322"/>
                    <a:pt x="361610" y="402108"/>
                  </a:cubicBezTo>
                  <a:cubicBezTo>
                    <a:pt x="378115" y="394940"/>
                    <a:pt x="392703" y="385078"/>
                    <a:pt x="405167" y="372614"/>
                  </a:cubicBezTo>
                  <a:cubicBezTo>
                    <a:pt x="417609" y="360172"/>
                    <a:pt x="427425" y="345607"/>
                    <a:pt x="434640" y="328759"/>
                  </a:cubicBezTo>
                  <a:cubicBezTo>
                    <a:pt x="441831" y="312071"/>
                    <a:pt x="445438" y="294219"/>
                    <a:pt x="445438" y="275225"/>
                  </a:cubicBezTo>
                  <a:cubicBezTo>
                    <a:pt x="445438" y="256232"/>
                    <a:pt x="441831" y="238539"/>
                    <a:pt x="434640" y="221829"/>
                  </a:cubicBezTo>
                  <a:cubicBezTo>
                    <a:pt x="427425" y="204981"/>
                    <a:pt x="417609" y="190393"/>
                    <a:pt x="405167" y="177951"/>
                  </a:cubicBezTo>
                  <a:cubicBezTo>
                    <a:pt x="392703" y="165510"/>
                    <a:pt x="378115" y="155533"/>
                    <a:pt x="361610" y="148479"/>
                  </a:cubicBezTo>
                  <a:cubicBezTo>
                    <a:pt x="344922" y="141334"/>
                    <a:pt x="327207" y="137658"/>
                    <a:pt x="308236" y="137658"/>
                  </a:cubicBezTo>
                  <a:lnTo>
                    <a:pt x="137521" y="137658"/>
                  </a:lnTo>
                  <a:close/>
                </a:path>
              </a:pathLst>
            </a:custGeom>
            <a:solidFill>
              <a:srgbClr val="07D8ED"/>
            </a:solidFill>
            <a:ln w="228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46513C23-79AB-298E-0A32-E64FA82E0C10}"/>
                </a:ext>
              </a:extLst>
            </p:cNvPr>
            <p:cNvSpPr/>
            <p:nvPr/>
          </p:nvSpPr>
          <p:spPr>
            <a:xfrm>
              <a:off x="4359925" y="1153551"/>
              <a:ext cx="471508" cy="687789"/>
            </a:xfrm>
            <a:custGeom>
              <a:avLst/>
              <a:gdLst>
                <a:gd name="connsiteX0" fmla="*/ 471509 w 471508"/>
                <a:gd name="connsiteY0" fmla="*/ 687767 h 687789"/>
                <a:gd name="connsiteX1" fmla="*/ 0 w 471508"/>
                <a:gd name="connsiteY1" fmla="*/ 687767 h 687789"/>
                <a:gd name="connsiteX2" fmla="*/ 0 w 471508"/>
                <a:gd name="connsiteY2" fmla="*/ 0 h 687789"/>
                <a:gd name="connsiteX3" fmla="*/ 471509 w 471508"/>
                <a:gd name="connsiteY3" fmla="*/ 0 h 687789"/>
                <a:gd name="connsiteX4" fmla="*/ 471509 w 471508"/>
                <a:gd name="connsiteY4" fmla="*/ 45019 h 687789"/>
                <a:gd name="connsiteX5" fmla="*/ 45019 w 471508"/>
                <a:gd name="connsiteY5" fmla="*/ 45019 h 687789"/>
                <a:gd name="connsiteX6" fmla="*/ 45019 w 471508"/>
                <a:gd name="connsiteY6" fmla="*/ 642771 h 687789"/>
                <a:gd name="connsiteX7" fmla="*/ 471509 w 471508"/>
                <a:gd name="connsiteY7" fmla="*/ 642771 h 687789"/>
                <a:gd name="connsiteX8" fmla="*/ 471509 w 471508"/>
                <a:gd name="connsiteY8" fmla="*/ 687790 h 687789"/>
                <a:gd name="connsiteX9" fmla="*/ 471509 w 471508"/>
                <a:gd name="connsiteY9" fmla="*/ 687790 h 687789"/>
                <a:gd name="connsiteX10" fmla="*/ 471509 w 471508"/>
                <a:gd name="connsiteY10" fmla="*/ 92663 h 687789"/>
                <a:gd name="connsiteX11" fmla="*/ 471509 w 471508"/>
                <a:gd name="connsiteY11" fmla="*/ 137681 h 687789"/>
                <a:gd name="connsiteX12" fmla="*/ 137521 w 471508"/>
                <a:gd name="connsiteY12" fmla="*/ 137681 h 687789"/>
                <a:gd name="connsiteX13" fmla="*/ 137521 w 471508"/>
                <a:gd name="connsiteY13" fmla="*/ 275203 h 687789"/>
                <a:gd name="connsiteX14" fmla="*/ 363459 w 471508"/>
                <a:gd name="connsiteY14" fmla="*/ 275203 h 687789"/>
                <a:gd name="connsiteX15" fmla="*/ 363459 w 471508"/>
                <a:gd name="connsiteY15" fmla="*/ 320221 h 687789"/>
                <a:gd name="connsiteX16" fmla="*/ 92503 w 471508"/>
                <a:gd name="connsiteY16" fmla="*/ 320221 h 687789"/>
                <a:gd name="connsiteX17" fmla="*/ 92503 w 471508"/>
                <a:gd name="connsiteY17" fmla="*/ 92663 h 687789"/>
                <a:gd name="connsiteX18" fmla="*/ 471509 w 471508"/>
                <a:gd name="connsiteY18" fmla="*/ 92663 h 687789"/>
                <a:gd name="connsiteX19" fmla="*/ 363436 w 471508"/>
                <a:gd name="connsiteY19" fmla="*/ 367888 h 687789"/>
                <a:gd name="connsiteX20" fmla="*/ 363436 w 471508"/>
                <a:gd name="connsiteY20" fmla="*/ 412907 h 687789"/>
                <a:gd name="connsiteX21" fmla="*/ 137499 w 471508"/>
                <a:gd name="connsiteY21" fmla="*/ 412907 h 687789"/>
                <a:gd name="connsiteX22" fmla="*/ 137499 w 471508"/>
                <a:gd name="connsiteY22" fmla="*/ 550085 h 687789"/>
                <a:gd name="connsiteX23" fmla="*/ 471486 w 471508"/>
                <a:gd name="connsiteY23" fmla="*/ 550085 h 687789"/>
                <a:gd name="connsiteX24" fmla="*/ 471486 w 471508"/>
                <a:gd name="connsiteY24" fmla="*/ 595104 h 687789"/>
                <a:gd name="connsiteX25" fmla="*/ 92480 w 471508"/>
                <a:gd name="connsiteY25" fmla="*/ 595104 h 687789"/>
                <a:gd name="connsiteX26" fmla="*/ 92480 w 471508"/>
                <a:gd name="connsiteY26" fmla="*/ 367888 h 687789"/>
                <a:gd name="connsiteX27" fmla="*/ 363436 w 471508"/>
                <a:gd name="connsiteY27" fmla="*/ 367888 h 687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71508" h="687789">
                  <a:moveTo>
                    <a:pt x="471509" y="687767"/>
                  </a:moveTo>
                  <a:lnTo>
                    <a:pt x="0" y="687767"/>
                  </a:lnTo>
                  <a:lnTo>
                    <a:pt x="0" y="0"/>
                  </a:lnTo>
                  <a:lnTo>
                    <a:pt x="471509" y="0"/>
                  </a:lnTo>
                  <a:lnTo>
                    <a:pt x="471509" y="45019"/>
                  </a:lnTo>
                  <a:lnTo>
                    <a:pt x="45019" y="45019"/>
                  </a:lnTo>
                  <a:lnTo>
                    <a:pt x="45019" y="642771"/>
                  </a:lnTo>
                  <a:lnTo>
                    <a:pt x="471509" y="642771"/>
                  </a:lnTo>
                  <a:lnTo>
                    <a:pt x="471509" y="687790"/>
                  </a:lnTo>
                  <a:lnTo>
                    <a:pt x="471509" y="687790"/>
                  </a:lnTo>
                  <a:close/>
                  <a:moveTo>
                    <a:pt x="471509" y="92663"/>
                  </a:moveTo>
                  <a:lnTo>
                    <a:pt x="471509" y="137681"/>
                  </a:lnTo>
                  <a:lnTo>
                    <a:pt x="137521" y="137681"/>
                  </a:lnTo>
                  <a:lnTo>
                    <a:pt x="137521" y="275203"/>
                  </a:lnTo>
                  <a:lnTo>
                    <a:pt x="363459" y="275203"/>
                  </a:lnTo>
                  <a:lnTo>
                    <a:pt x="363459" y="320221"/>
                  </a:lnTo>
                  <a:lnTo>
                    <a:pt x="92503" y="320221"/>
                  </a:lnTo>
                  <a:lnTo>
                    <a:pt x="92503" y="92663"/>
                  </a:lnTo>
                  <a:lnTo>
                    <a:pt x="471509" y="92663"/>
                  </a:lnTo>
                  <a:close/>
                  <a:moveTo>
                    <a:pt x="363436" y="367888"/>
                  </a:moveTo>
                  <a:lnTo>
                    <a:pt x="363436" y="412907"/>
                  </a:lnTo>
                  <a:lnTo>
                    <a:pt x="137499" y="412907"/>
                  </a:lnTo>
                  <a:lnTo>
                    <a:pt x="137499" y="550085"/>
                  </a:lnTo>
                  <a:lnTo>
                    <a:pt x="471486" y="550085"/>
                  </a:lnTo>
                  <a:lnTo>
                    <a:pt x="471486" y="595104"/>
                  </a:lnTo>
                  <a:lnTo>
                    <a:pt x="92480" y="595104"/>
                  </a:lnTo>
                  <a:lnTo>
                    <a:pt x="92480" y="367888"/>
                  </a:lnTo>
                  <a:lnTo>
                    <a:pt x="363436" y="367888"/>
                  </a:lnTo>
                  <a:close/>
                </a:path>
              </a:pathLst>
            </a:custGeom>
            <a:solidFill>
              <a:srgbClr val="07D8ED"/>
            </a:solidFill>
            <a:ln w="228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2205B41A-1334-2896-E68C-023497A33A3B}"/>
                </a:ext>
              </a:extLst>
            </p:cNvPr>
            <p:cNvSpPr/>
            <p:nvPr/>
          </p:nvSpPr>
          <p:spPr>
            <a:xfrm>
              <a:off x="3544567" y="1363531"/>
              <a:ext cx="753696" cy="477786"/>
            </a:xfrm>
            <a:custGeom>
              <a:avLst/>
              <a:gdLst>
                <a:gd name="connsiteX0" fmla="*/ 137544 w 753696"/>
                <a:gd name="connsiteY0" fmla="*/ 477786 h 477786"/>
                <a:gd name="connsiteX1" fmla="*/ 0 w 753696"/>
                <a:gd name="connsiteY1" fmla="*/ 477786 h 477786"/>
                <a:gd name="connsiteX2" fmla="*/ 0 w 753696"/>
                <a:gd name="connsiteY2" fmla="*/ 0 h 477786"/>
                <a:gd name="connsiteX3" fmla="*/ 137544 w 753696"/>
                <a:gd name="connsiteY3" fmla="*/ 0 h 477786"/>
                <a:gd name="connsiteX4" fmla="*/ 137544 w 753696"/>
                <a:gd name="connsiteY4" fmla="*/ 202675 h 477786"/>
                <a:gd name="connsiteX5" fmla="*/ 616016 w 753696"/>
                <a:gd name="connsiteY5" fmla="*/ 202675 h 477786"/>
                <a:gd name="connsiteX6" fmla="*/ 616016 w 753696"/>
                <a:gd name="connsiteY6" fmla="*/ 0 h 477786"/>
                <a:gd name="connsiteX7" fmla="*/ 753697 w 753696"/>
                <a:gd name="connsiteY7" fmla="*/ 0 h 477786"/>
                <a:gd name="connsiteX8" fmla="*/ 753697 w 753696"/>
                <a:gd name="connsiteY8" fmla="*/ 477786 h 477786"/>
                <a:gd name="connsiteX9" fmla="*/ 616016 w 753696"/>
                <a:gd name="connsiteY9" fmla="*/ 477786 h 477786"/>
                <a:gd name="connsiteX10" fmla="*/ 616016 w 753696"/>
                <a:gd name="connsiteY10" fmla="*/ 340356 h 477786"/>
                <a:gd name="connsiteX11" fmla="*/ 137544 w 753696"/>
                <a:gd name="connsiteY11" fmla="*/ 340356 h 477786"/>
                <a:gd name="connsiteX12" fmla="*/ 137544 w 753696"/>
                <a:gd name="connsiteY12" fmla="*/ 477786 h 477786"/>
                <a:gd name="connsiteX13" fmla="*/ 137544 w 753696"/>
                <a:gd name="connsiteY13" fmla="*/ 477786 h 477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53696" h="477786">
                  <a:moveTo>
                    <a:pt x="137544" y="477786"/>
                  </a:moveTo>
                  <a:lnTo>
                    <a:pt x="0" y="477786"/>
                  </a:lnTo>
                  <a:lnTo>
                    <a:pt x="0" y="0"/>
                  </a:lnTo>
                  <a:lnTo>
                    <a:pt x="137544" y="0"/>
                  </a:lnTo>
                  <a:lnTo>
                    <a:pt x="137544" y="202675"/>
                  </a:lnTo>
                  <a:lnTo>
                    <a:pt x="616016" y="202675"/>
                  </a:lnTo>
                  <a:lnTo>
                    <a:pt x="616016" y="0"/>
                  </a:lnTo>
                  <a:lnTo>
                    <a:pt x="753697" y="0"/>
                  </a:lnTo>
                  <a:lnTo>
                    <a:pt x="753697" y="477786"/>
                  </a:lnTo>
                  <a:lnTo>
                    <a:pt x="616016" y="477786"/>
                  </a:lnTo>
                  <a:lnTo>
                    <a:pt x="616016" y="340356"/>
                  </a:lnTo>
                  <a:lnTo>
                    <a:pt x="137544" y="340356"/>
                  </a:lnTo>
                  <a:lnTo>
                    <a:pt x="137544" y="477786"/>
                  </a:lnTo>
                  <a:lnTo>
                    <a:pt x="137544" y="477786"/>
                  </a:lnTo>
                  <a:close/>
                </a:path>
              </a:pathLst>
            </a:custGeom>
            <a:solidFill>
              <a:srgbClr val="07D8ED"/>
            </a:solidFill>
            <a:ln w="228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947B15CC-F8F6-2F69-CC91-FCEF941FA896}"/>
                </a:ext>
              </a:extLst>
            </p:cNvPr>
            <p:cNvSpPr/>
            <p:nvPr/>
          </p:nvSpPr>
          <p:spPr>
            <a:xfrm>
              <a:off x="3025940" y="1153551"/>
              <a:ext cx="1272323" cy="687766"/>
            </a:xfrm>
            <a:custGeom>
              <a:avLst/>
              <a:gdLst>
                <a:gd name="connsiteX0" fmla="*/ 376860 w 1272323"/>
                <a:gd name="connsiteY0" fmla="*/ 687767 h 687766"/>
                <a:gd name="connsiteX1" fmla="*/ 239658 w 1272323"/>
                <a:gd name="connsiteY1" fmla="*/ 687767 h 687766"/>
                <a:gd name="connsiteX2" fmla="*/ 239658 w 1272323"/>
                <a:gd name="connsiteY2" fmla="*/ 137681 h 687766"/>
                <a:gd name="connsiteX3" fmla="*/ 0 w 1272323"/>
                <a:gd name="connsiteY3" fmla="*/ 137681 h 687766"/>
                <a:gd name="connsiteX4" fmla="*/ 0 w 1272323"/>
                <a:gd name="connsiteY4" fmla="*/ 0 h 687766"/>
                <a:gd name="connsiteX5" fmla="*/ 1272324 w 1272323"/>
                <a:gd name="connsiteY5" fmla="*/ 0 h 687766"/>
                <a:gd name="connsiteX6" fmla="*/ 1272324 w 1272323"/>
                <a:gd name="connsiteY6" fmla="*/ 137681 h 687766"/>
                <a:gd name="connsiteX7" fmla="*/ 376860 w 1272323"/>
                <a:gd name="connsiteY7" fmla="*/ 137681 h 687766"/>
                <a:gd name="connsiteX8" fmla="*/ 376860 w 1272323"/>
                <a:gd name="connsiteY8" fmla="*/ 687767 h 687766"/>
                <a:gd name="connsiteX9" fmla="*/ 376860 w 1272323"/>
                <a:gd name="connsiteY9" fmla="*/ 687767 h 68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2323" h="687766">
                  <a:moveTo>
                    <a:pt x="376860" y="687767"/>
                  </a:moveTo>
                  <a:lnTo>
                    <a:pt x="239658" y="687767"/>
                  </a:lnTo>
                  <a:lnTo>
                    <a:pt x="239658" y="137681"/>
                  </a:lnTo>
                  <a:lnTo>
                    <a:pt x="0" y="137681"/>
                  </a:lnTo>
                  <a:lnTo>
                    <a:pt x="0" y="0"/>
                  </a:lnTo>
                  <a:lnTo>
                    <a:pt x="1272324" y="0"/>
                  </a:lnTo>
                  <a:lnTo>
                    <a:pt x="1272324" y="137681"/>
                  </a:lnTo>
                  <a:lnTo>
                    <a:pt x="376860" y="137681"/>
                  </a:lnTo>
                  <a:lnTo>
                    <a:pt x="376860" y="687767"/>
                  </a:lnTo>
                  <a:lnTo>
                    <a:pt x="376860" y="687767"/>
                  </a:lnTo>
                  <a:close/>
                </a:path>
              </a:pathLst>
            </a:custGeom>
            <a:solidFill>
              <a:srgbClr val="07D8ED"/>
            </a:solidFill>
            <a:ln w="228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B1A7E26B-C99B-670E-3864-8C22EB7ACDA6}"/>
                </a:ext>
              </a:extLst>
            </p:cNvPr>
            <p:cNvSpPr/>
            <p:nvPr/>
          </p:nvSpPr>
          <p:spPr>
            <a:xfrm>
              <a:off x="2501651" y="1153551"/>
              <a:ext cx="471508" cy="687766"/>
            </a:xfrm>
            <a:custGeom>
              <a:avLst/>
              <a:gdLst>
                <a:gd name="connsiteX0" fmla="*/ 471509 w 471508"/>
                <a:gd name="connsiteY0" fmla="*/ 687767 h 687766"/>
                <a:gd name="connsiteX1" fmla="*/ 0 w 471508"/>
                <a:gd name="connsiteY1" fmla="*/ 687767 h 687766"/>
                <a:gd name="connsiteX2" fmla="*/ 0 w 471508"/>
                <a:gd name="connsiteY2" fmla="*/ 0 h 687766"/>
                <a:gd name="connsiteX3" fmla="*/ 471509 w 471508"/>
                <a:gd name="connsiteY3" fmla="*/ 0 h 687766"/>
                <a:gd name="connsiteX4" fmla="*/ 471509 w 471508"/>
                <a:gd name="connsiteY4" fmla="*/ 137681 h 687766"/>
                <a:gd name="connsiteX5" fmla="*/ 137521 w 471508"/>
                <a:gd name="connsiteY5" fmla="*/ 137681 h 687766"/>
                <a:gd name="connsiteX6" fmla="*/ 137521 w 471508"/>
                <a:gd name="connsiteY6" fmla="*/ 275225 h 687766"/>
                <a:gd name="connsiteX7" fmla="*/ 363436 w 471508"/>
                <a:gd name="connsiteY7" fmla="*/ 275225 h 687766"/>
                <a:gd name="connsiteX8" fmla="*/ 363436 w 471508"/>
                <a:gd name="connsiteY8" fmla="*/ 412907 h 687766"/>
                <a:gd name="connsiteX9" fmla="*/ 137521 w 471508"/>
                <a:gd name="connsiteY9" fmla="*/ 412907 h 687766"/>
                <a:gd name="connsiteX10" fmla="*/ 137521 w 471508"/>
                <a:gd name="connsiteY10" fmla="*/ 550085 h 687766"/>
                <a:gd name="connsiteX11" fmla="*/ 471509 w 471508"/>
                <a:gd name="connsiteY11" fmla="*/ 550085 h 687766"/>
                <a:gd name="connsiteX12" fmla="*/ 471509 w 471508"/>
                <a:gd name="connsiteY12" fmla="*/ 687767 h 687766"/>
                <a:gd name="connsiteX13" fmla="*/ 471509 w 471508"/>
                <a:gd name="connsiteY13" fmla="*/ 687767 h 68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1508" h="687766">
                  <a:moveTo>
                    <a:pt x="471509" y="687767"/>
                  </a:moveTo>
                  <a:lnTo>
                    <a:pt x="0" y="687767"/>
                  </a:lnTo>
                  <a:lnTo>
                    <a:pt x="0" y="0"/>
                  </a:lnTo>
                  <a:lnTo>
                    <a:pt x="471509" y="0"/>
                  </a:lnTo>
                  <a:lnTo>
                    <a:pt x="471509" y="137681"/>
                  </a:lnTo>
                  <a:lnTo>
                    <a:pt x="137521" y="137681"/>
                  </a:lnTo>
                  <a:lnTo>
                    <a:pt x="137521" y="275225"/>
                  </a:lnTo>
                  <a:lnTo>
                    <a:pt x="363436" y="275225"/>
                  </a:lnTo>
                  <a:lnTo>
                    <a:pt x="363436" y="412907"/>
                  </a:lnTo>
                  <a:lnTo>
                    <a:pt x="137521" y="412907"/>
                  </a:lnTo>
                  <a:lnTo>
                    <a:pt x="137521" y="550085"/>
                  </a:lnTo>
                  <a:lnTo>
                    <a:pt x="471509" y="550085"/>
                  </a:lnTo>
                  <a:lnTo>
                    <a:pt x="471509" y="687767"/>
                  </a:lnTo>
                  <a:lnTo>
                    <a:pt x="471509" y="687767"/>
                  </a:lnTo>
                  <a:close/>
                </a:path>
              </a:pathLst>
            </a:custGeom>
            <a:solidFill>
              <a:srgbClr val="07D8ED"/>
            </a:solidFill>
            <a:ln w="228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74D1CF80-CC84-3792-8B15-4D297D1C68A9}"/>
                </a:ext>
              </a:extLst>
            </p:cNvPr>
            <p:cNvSpPr/>
            <p:nvPr/>
          </p:nvSpPr>
          <p:spPr>
            <a:xfrm>
              <a:off x="1855456" y="1145880"/>
              <a:ext cx="584671" cy="710367"/>
            </a:xfrm>
            <a:custGeom>
              <a:avLst/>
              <a:gdLst>
                <a:gd name="connsiteX0" fmla="*/ 584671 w 584671"/>
                <a:gd name="connsiteY0" fmla="*/ 625878 h 710367"/>
                <a:gd name="connsiteX1" fmla="*/ 477741 w 584671"/>
                <a:gd name="connsiteY1" fmla="*/ 688588 h 710367"/>
                <a:gd name="connsiteX2" fmla="*/ 354967 w 584671"/>
                <a:gd name="connsiteY2" fmla="*/ 710367 h 710367"/>
                <a:gd name="connsiteX3" fmla="*/ 260661 w 584671"/>
                <a:gd name="connsiteY3" fmla="*/ 697606 h 710367"/>
                <a:gd name="connsiteX4" fmla="*/ 176011 w 584671"/>
                <a:gd name="connsiteY4" fmla="*/ 661582 h 710367"/>
                <a:gd name="connsiteX5" fmla="*/ 104146 w 584671"/>
                <a:gd name="connsiteY5" fmla="*/ 606085 h 710367"/>
                <a:gd name="connsiteX6" fmla="*/ 48466 w 584671"/>
                <a:gd name="connsiteY6" fmla="*/ 534060 h 710367"/>
                <a:gd name="connsiteX7" fmla="*/ 12761 w 584671"/>
                <a:gd name="connsiteY7" fmla="*/ 448931 h 710367"/>
                <a:gd name="connsiteX8" fmla="*/ 0 w 584671"/>
                <a:gd name="connsiteY8" fmla="*/ 354442 h 710367"/>
                <a:gd name="connsiteX9" fmla="*/ 12761 w 584671"/>
                <a:gd name="connsiteY9" fmla="*/ 260478 h 710367"/>
                <a:gd name="connsiteX10" fmla="*/ 48466 w 584671"/>
                <a:gd name="connsiteY10" fmla="*/ 175828 h 710367"/>
                <a:gd name="connsiteX11" fmla="*/ 104146 w 584671"/>
                <a:gd name="connsiteY11" fmla="*/ 103803 h 710367"/>
                <a:gd name="connsiteX12" fmla="*/ 176011 w 584671"/>
                <a:gd name="connsiteY12" fmla="*/ 48466 h 710367"/>
                <a:gd name="connsiteX13" fmla="*/ 260661 w 584671"/>
                <a:gd name="connsiteY13" fmla="*/ 12761 h 710367"/>
                <a:gd name="connsiteX14" fmla="*/ 354967 w 584671"/>
                <a:gd name="connsiteY14" fmla="*/ 0 h 710367"/>
                <a:gd name="connsiteX15" fmla="*/ 477741 w 584671"/>
                <a:gd name="connsiteY15" fmla="*/ 21779 h 710367"/>
                <a:gd name="connsiteX16" fmla="*/ 584671 w 584671"/>
                <a:gd name="connsiteY16" fmla="*/ 84490 h 710367"/>
                <a:gd name="connsiteX17" fmla="*/ 512783 w 584671"/>
                <a:gd name="connsiteY17" fmla="*/ 204342 h 710367"/>
                <a:gd name="connsiteX18" fmla="*/ 440918 w 584671"/>
                <a:gd name="connsiteY18" fmla="*/ 154734 h 710367"/>
                <a:gd name="connsiteX19" fmla="*/ 354967 w 584671"/>
                <a:gd name="connsiteY19" fmla="*/ 136722 h 710367"/>
                <a:gd name="connsiteX20" fmla="*/ 270317 w 584671"/>
                <a:gd name="connsiteY20" fmla="*/ 153912 h 710367"/>
                <a:gd name="connsiteX21" fmla="*/ 201054 w 584671"/>
                <a:gd name="connsiteY21" fmla="*/ 200735 h 710367"/>
                <a:gd name="connsiteX22" fmla="*/ 154072 w 584671"/>
                <a:gd name="connsiteY22" fmla="*/ 269838 h 710367"/>
                <a:gd name="connsiteX23" fmla="*/ 136722 w 584671"/>
                <a:gd name="connsiteY23" fmla="*/ 354465 h 710367"/>
                <a:gd name="connsiteX24" fmla="*/ 154072 w 584671"/>
                <a:gd name="connsiteY24" fmla="*/ 439753 h 710367"/>
                <a:gd name="connsiteX25" fmla="*/ 201054 w 584671"/>
                <a:gd name="connsiteY25" fmla="*/ 509336 h 710367"/>
                <a:gd name="connsiteX26" fmla="*/ 270317 w 584671"/>
                <a:gd name="connsiteY26" fmla="*/ 556341 h 710367"/>
                <a:gd name="connsiteX27" fmla="*/ 354967 w 584671"/>
                <a:gd name="connsiteY27" fmla="*/ 573691 h 710367"/>
                <a:gd name="connsiteX28" fmla="*/ 405396 w 584671"/>
                <a:gd name="connsiteY28" fmla="*/ 567481 h 710367"/>
                <a:gd name="connsiteX29" fmla="*/ 451876 w 584671"/>
                <a:gd name="connsiteY29" fmla="*/ 550108 h 710367"/>
                <a:gd name="connsiteX30" fmla="*/ 451876 w 584671"/>
                <a:gd name="connsiteY30" fmla="*/ 454204 h 710367"/>
                <a:gd name="connsiteX31" fmla="*/ 360286 w 584671"/>
                <a:gd name="connsiteY31" fmla="*/ 454204 h 710367"/>
                <a:gd name="connsiteX32" fmla="*/ 360286 w 584671"/>
                <a:gd name="connsiteY32" fmla="*/ 321431 h 710367"/>
                <a:gd name="connsiteX33" fmla="*/ 584648 w 584671"/>
                <a:gd name="connsiteY33" fmla="*/ 321431 h 710367"/>
                <a:gd name="connsiteX34" fmla="*/ 584648 w 584671"/>
                <a:gd name="connsiteY34" fmla="*/ 625923 h 710367"/>
                <a:gd name="connsiteX35" fmla="*/ 584648 w 584671"/>
                <a:gd name="connsiteY35" fmla="*/ 625923 h 710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84671" h="710367">
                  <a:moveTo>
                    <a:pt x="584671" y="625878"/>
                  </a:moveTo>
                  <a:cubicBezTo>
                    <a:pt x="552734" y="653067"/>
                    <a:pt x="517052" y="674024"/>
                    <a:pt x="477741" y="688588"/>
                  </a:cubicBezTo>
                  <a:cubicBezTo>
                    <a:pt x="438452" y="702993"/>
                    <a:pt x="397520" y="710367"/>
                    <a:pt x="354967" y="710367"/>
                  </a:cubicBezTo>
                  <a:cubicBezTo>
                    <a:pt x="322390" y="710367"/>
                    <a:pt x="290955" y="706098"/>
                    <a:pt x="260661" y="697606"/>
                  </a:cubicBezTo>
                  <a:cubicBezTo>
                    <a:pt x="230526" y="689091"/>
                    <a:pt x="202219" y="677151"/>
                    <a:pt x="176011" y="661582"/>
                  </a:cubicBezTo>
                  <a:cubicBezTo>
                    <a:pt x="149803" y="646195"/>
                    <a:pt x="125924" y="627544"/>
                    <a:pt x="104146" y="606085"/>
                  </a:cubicBezTo>
                  <a:cubicBezTo>
                    <a:pt x="82367" y="584466"/>
                    <a:pt x="63875" y="560427"/>
                    <a:pt x="48466" y="534060"/>
                  </a:cubicBezTo>
                  <a:cubicBezTo>
                    <a:pt x="33079" y="507692"/>
                    <a:pt x="21277" y="479384"/>
                    <a:pt x="12761" y="448931"/>
                  </a:cubicBezTo>
                  <a:cubicBezTo>
                    <a:pt x="4269" y="418637"/>
                    <a:pt x="0" y="387041"/>
                    <a:pt x="0" y="354442"/>
                  </a:cubicBezTo>
                  <a:cubicBezTo>
                    <a:pt x="0" y="321842"/>
                    <a:pt x="4269" y="290452"/>
                    <a:pt x="12761" y="260478"/>
                  </a:cubicBezTo>
                  <a:cubicBezTo>
                    <a:pt x="21277" y="230344"/>
                    <a:pt x="33056" y="202196"/>
                    <a:pt x="48466" y="175828"/>
                  </a:cubicBezTo>
                  <a:cubicBezTo>
                    <a:pt x="63875" y="149461"/>
                    <a:pt x="82367" y="125399"/>
                    <a:pt x="104146" y="103803"/>
                  </a:cubicBezTo>
                  <a:cubicBezTo>
                    <a:pt x="125924" y="82184"/>
                    <a:pt x="149803" y="63852"/>
                    <a:pt x="176011" y="48466"/>
                  </a:cubicBezTo>
                  <a:cubicBezTo>
                    <a:pt x="202219" y="33056"/>
                    <a:pt x="230526" y="21117"/>
                    <a:pt x="260661" y="12761"/>
                  </a:cubicBezTo>
                  <a:cubicBezTo>
                    <a:pt x="290955" y="4246"/>
                    <a:pt x="322390" y="0"/>
                    <a:pt x="354967" y="0"/>
                  </a:cubicBezTo>
                  <a:cubicBezTo>
                    <a:pt x="397543" y="0"/>
                    <a:pt x="438475" y="7214"/>
                    <a:pt x="477741" y="21779"/>
                  </a:cubicBezTo>
                  <a:cubicBezTo>
                    <a:pt x="517052" y="36344"/>
                    <a:pt x="552734" y="57301"/>
                    <a:pt x="584671" y="84490"/>
                  </a:cubicBezTo>
                  <a:lnTo>
                    <a:pt x="512783" y="204342"/>
                  </a:lnTo>
                  <a:cubicBezTo>
                    <a:pt x="491986" y="183202"/>
                    <a:pt x="468084" y="166674"/>
                    <a:pt x="440918" y="154734"/>
                  </a:cubicBezTo>
                  <a:cubicBezTo>
                    <a:pt x="413591" y="142772"/>
                    <a:pt x="385078" y="136722"/>
                    <a:pt x="354967" y="136722"/>
                  </a:cubicBezTo>
                  <a:cubicBezTo>
                    <a:pt x="324855" y="136722"/>
                    <a:pt x="296662" y="142452"/>
                    <a:pt x="270317" y="153912"/>
                  </a:cubicBezTo>
                  <a:cubicBezTo>
                    <a:pt x="243950" y="165532"/>
                    <a:pt x="220870" y="181079"/>
                    <a:pt x="201054" y="200735"/>
                  </a:cubicBezTo>
                  <a:cubicBezTo>
                    <a:pt x="181239" y="220390"/>
                    <a:pt x="165532" y="243470"/>
                    <a:pt x="154072" y="269838"/>
                  </a:cubicBezTo>
                  <a:cubicBezTo>
                    <a:pt x="142452" y="296205"/>
                    <a:pt x="136722" y="324353"/>
                    <a:pt x="136722" y="354465"/>
                  </a:cubicBezTo>
                  <a:cubicBezTo>
                    <a:pt x="136722" y="384576"/>
                    <a:pt x="142452" y="413249"/>
                    <a:pt x="154072" y="439753"/>
                  </a:cubicBezTo>
                  <a:cubicBezTo>
                    <a:pt x="165532" y="466440"/>
                    <a:pt x="181239" y="489543"/>
                    <a:pt x="201054" y="509336"/>
                  </a:cubicBezTo>
                  <a:cubicBezTo>
                    <a:pt x="220870" y="529129"/>
                    <a:pt x="243950" y="544858"/>
                    <a:pt x="270317" y="556341"/>
                  </a:cubicBezTo>
                  <a:cubicBezTo>
                    <a:pt x="296662" y="567961"/>
                    <a:pt x="324992" y="573691"/>
                    <a:pt x="354967" y="573691"/>
                  </a:cubicBezTo>
                  <a:cubicBezTo>
                    <a:pt x="372317" y="573691"/>
                    <a:pt x="389027" y="571567"/>
                    <a:pt x="405396" y="567481"/>
                  </a:cubicBezTo>
                  <a:cubicBezTo>
                    <a:pt x="421604" y="563212"/>
                    <a:pt x="437174" y="557482"/>
                    <a:pt x="451876" y="550108"/>
                  </a:cubicBezTo>
                  <a:lnTo>
                    <a:pt x="451876" y="454204"/>
                  </a:lnTo>
                  <a:lnTo>
                    <a:pt x="360286" y="454204"/>
                  </a:lnTo>
                  <a:lnTo>
                    <a:pt x="360286" y="321431"/>
                  </a:lnTo>
                  <a:lnTo>
                    <a:pt x="584648" y="321431"/>
                  </a:lnTo>
                  <a:lnTo>
                    <a:pt x="584648" y="625923"/>
                  </a:lnTo>
                  <a:lnTo>
                    <a:pt x="584648" y="625923"/>
                  </a:lnTo>
                  <a:close/>
                </a:path>
              </a:pathLst>
            </a:custGeom>
            <a:solidFill>
              <a:srgbClr val="07D8ED"/>
            </a:solidFill>
            <a:ln w="228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E0B385BC-52FE-DC75-CDA1-FE0FBB3D0E8E}"/>
                </a:ext>
              </a:extLst>
            </p:cNvPr>
            <p:cNvSpPr/>
            <p:nvPr/>
          </p:nvSpPr>
          <p:spPr>
            <a:xfrm>
              <a:off x="1298316" y="1145858"/>
              <a:ext cx="507053" cy="507007"/>
            </a:xfrm>
            <a:custGeom>
              <a:avLst/>
              <a:gdLst>
                <a:gd name="connsiteX0" fmla="*/ 507053 w 507053"/>
                <a:gd name="connsiteY0" fmla="*/ 253355 h 507007"/>
                <a:gd name="connsiteX1" fmla="*/ 497944 w 507053"/>
                <a:gd name="connsiteY1" fmla="*/ 320586 h 507007"/>
                <a:gd name="connsiteX2" fmla="*/ 472536 w 507053"/>
                <a:gd name="connsiteY2" fmla="*/ 381015 h 507007"/>
                <a:gd name="connsiteX3" fmla="*/ 432836 w 507053"/>
                <a:gd name="connsiteY3" fmla="*/ 432471 h 507007"/>
                <a:gd name="connsiteX4" fmla="*/ 381585 w 507053"/>
                <a:gd name="connsiteY4" fmla="*/ 472239 h 507007"/>
                <a:gd name="connsiteX5" fmla="*/ 321043 w 507053"/>
                <a:gd name="connsiteY5" fmla="*/ 497921 h 507007"/>
                <a:gd name="connsiteX6" fmla="*/ 253698 w 507053"/>
                <a:gd name="connsiteY6" fmla="*/ 507007 h 507007"/>
                <a:gd name="connsiteX7" fmla="*/ 186467 w 507053"/>
                <a:gd name="connsiteY7" fmla="*/ 497921 h 507007"/>
                <a:gd name="connsiteX8" fmla="*/ 126016 w 507053"/>
                <a:gd name="connsiteY8" fmla="*/ 472239 h 507007"/>
                <a:gd name="connsiteX9" fmla="*/ 74559 w 507053"/>
                <a:gd name="connsiteY9" fmla="*/ 432471 h 507007"/>
                <a:gd name="connsiteX10" fmla="*/ 34654 w 507053"/>
                <a:gd name="connsiteY10" fmla="*/ 381015 h 507007"/>
                <a:gd name="connsiteX11" fmla="*/ 9086 w 507053"/>
                <a:gd name="connsiteY11" fmla="*/ 320586 h 507007"/>
                <a:gd name="connsiteX12" fmla="*/ 0 w 507053"/>
                <a:gd name="connsiteY12" fmla="*/ 253355 h 507007"/>
                <a:gd name="connsiteX13" fmla="*/ 9086 w 507053"/>
                <a:gd name="connsiteY13" fmla="*/ 186010 h 507007"/>
                <a:gd name="connsiteX14" fmla="*/ 34654 w 507053"/>
                <a:gd name="connsiteY14" fmla="*/ 125468 h 507007"/>
                <a:gd name="connsiteX15" fmla="*/ 74559 w 507053"/>
                <a:gd name="connsiteY15" fmla="*/ 74217 h 507007"/>
                <a:gd name="connsiteX16" fmla="*/ 126016 w 507053"/>
                <a:gd name="connsiteY16" fmla="*/ 34540 h 507007"/>
                <a:gd name="connsiteX17" fmla="*/ 186467 w 507053"/>
                <a:gd name="connsiteY17" fmla="*/ 9086 h 507007"/>
                <a:gd name="connsiteX18" fmla="*/ 253698 w 507053"/>
                <a:gd name="connsiteY18" fmla="*/ 0 h 507007"/>
                <a:gd name="connsiteX19" fmla="*/ 321043 w 507053"/>
                <a:gd name="connsiteY19" fmla="*/ 9086 h 507007"/>
                <a:gd name="connsiteX20" fmla="*/ 381585 w 507053"/>
                <a:gd name="connsiteY20" fmla="*/ 34540 h 507007"/>
                <a:gd name="connsiteX21" fmla="*/ 432836 w 507053"/>
                <a:gd name="connsiteY21" fmla="*/ 74217 h 507007"/>
                <a:gd name="connsiteX22" fmla="*/ 472536 w 507053"/>
                <a:gd name="connsiteY22" fmla="*/ 125468 h 507007"/>
                <a:gd name="connsiteX23" fmla="*/ 497944 w 507053"/>
                <a:gd name="connsiteY23" fmla="*/ 186010 h 507007"/>
                <a:gd name="connsiteX24" fmla="*/ 507053 w 507053"/>
                <a:gd name="connsiteY24" fmla="*/ 253355 h 507007"/>
                <a:gd name="connsiteX25" fmla="*/ 507053 w 507053"/>
                <a:gd name="connsiteY25" fmla="*/ 253355 h 507007"/>
                <a:gd name="connsiteX26" fmla="*/ 382293 w 507053"/>
                <a:gd name="connsiteY26" fmla="*/ 264245 h 507007"/>
                <a:gd name="connsiteX27" fmla="*/ 372088 w 507053"/>
                <a:gd name="connsiteY27" fmla="*/ 214181 h 507007"/>
                <a:gd name="connsiteX28" fmla="*/ 344625 w 507053"/>
                <a:gd name="connsiteY28" fmla="*/ 173271 h 507007"/>
                <a:gd name="connsiteX29" fmla="*/ 303739 w 507053"/>
                <a:gd name="connsiteY29" fmla="*/ 145740 h 507007"/>
                <a:gd name="connsiteX30" fmla="*/ 253698 w 507053"/>
                <a:gd name="connsiteY30" fmla="*/ 135627 h 507007"/>
                <a:gd name="connsiteX31" fmla="*/ 203543 w 507053"/>
                <a:gd name="connsiteY31" fmla="*/ 145740 h 507007"/>
                <a:gd name="connsiteX32" fmla="*/ 162633 w 507053"/>
                <a:gd name="connsiteY32" fmla="*/ 173271 h 507007"/>
                <a:gd name="connsiteX33" fmla="*/ 134987 w 507053"/>
                <a:gd name="connsiteY33" fmla="*/ 214181 h 507007"/>
                <a:gd name="connsiteX34" fmla="*/ 124760 w 507053"/>
                <a:gd name="connsiteY34" fmla="*/ 264245 h 507007"/>
                <a:gd name="connsiteX35" fmla="*/ 134987 w 507053"/>
                <a:gd name="connsiteY35" fmla="*/ 314035 h 507007"/>
                <a:gd name="connsiteX36" fmla="*/ 162633 w 507053"/>
                <a:gd name="connsiteY36" fmla="*/ 354739 h 507007"/>
                <a:gd name="connsiteX37" fmla="*/ 203543 w 507053"/>
                <a:gd name="connsiteY37" fmla="*/ 382453 h 507007"/>
                <a:gd name="connsiteX38" fmla="*/ 253698 w 507053"/>
                <a:gd name="connsiteY38" fmla="*/ 392543 h 507007"/>
                <a:gd name="connsiteX39" fmla="*/ 303739 w 507053"/>
                <a:gd name="connsiteY39" fmla="*/ 382453 h 507007"/>
                <a:gd name="connsiteX40" fmla="*/ 344625 w 507053"/>
                <a:gd name="connsiteY40" fmla="*/ 354739 h 507007"/>
                <a:gd name="connsiteX41" fmla="*/ 372088 w 507053"/>
                <a:gd name="connsiteY41" fmla="*/ 314035 h 507007"/>
                <a:gd name="connsiteX42" fmla="*/ 382293 w 507053"/>
                <a:gd name="connsiteY42" fmla="*/ 264245 h 507007"/>
                <a:gd name="connsiteX43" fmla="*/ 382293 w 507053"/>
                <a:gd name="connsiteY43" fmla="*/ 264245 h 507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07053" h="507007">
                  <a:moveTo>
                    <a:pt x="507053" y="253355"/>
                  </a:moveTo>
                  <a:cubicBezTo>
                    <a:pt x="507053" y="276572"/>
                    <a:pt x="504040" y="298967"/>
                    <a:pt x="497944" y="320586"/>
                  </a:cubicBezTo>
                  <a:cubicBezTo>
                    <a:pt x="491895" y="342046"/>
                    <a:pt x="483494" y="362226"/>
                    <a:pt x="472536" y="381015"/>
                  </a:cubicBezTo>
                  <a:cubicBezTo>
                    <a:pt x="461578" y="399803"/>
                    <a:pt x="448360" y="416947"/>
                    <a:pt x="432836" y="432471"/>
                  </a:cubicBezTo>
                  <a:cubicBezTo>
                    <a:pt x="417313" y="447972"/>
                    <a:pt x="400282" y="461258"/>
                    <a:pt x="381585" y="472239"/>
                  </a:cubicBezTo>
                  <a:cubicBezTo>
                    <a:pt x="362820" y="483334"/>
                    <a:pt x="342731" y="491849"/>
                    <a:pt x="321043" y="497921"/>
                  </a:cubicBezTo>
                  <a:cubicBezTo>
                    <a:pt x="299470" y="503971"/>
                    <a:pt x="276938" y="507007"/>
                    <a:pt x="253698" y="507007"/>
                  </a:cubicBezTo>
                  <a:cubicBezTo>
                    <a:pt x="230458" y="507007"/>
                    <a:pt x="208086" y="503971"/>
                    <a:pt x="186467" y="497921"/>
                  </a:cubicBezTo>
                  <a:cubicBezTo>
                    <a:pt x="165007" y="491849"/>
                    <a:pt x="144827" y="483334"/>
                    <a:pt x="126016" y="472239"/>
                  </a:cubicBezTo>
                  <a:cubicBezTo>
                    <a:pt x="107205" y="461258"/>
                    <a:pt x="90083" y="447972"/>
                    <a:pt x="74559" y="432471"/>
                  </a:cubicBezTo>
                  <a:cubicBezTo>
                    <a:pt x="59058" y="416947"/>
                    <a:pt x="45726" y="399780"/>
                    <a:pt x="34654" y="381015"/>
                  </a:cubicBezTo>
                  <a:cubicBezTo>
                    <a:pt x="23674" y="362204"/>
                    <a:pt x="15158" y="342023"/>
                    <a:pt x="9086" y="320586"/>
                  </a:cubicBezTo>
                  <a:cubicBezTo>
                    <a:pt x="3036" y="298990"/>
                    <a:pt x="0" y="276572"/>
                    <a:pt x="0" y="253355"/>
                  </a:cubicBezTo>
                  <a:cubicBezTo>
                    <a:pt x="0" y="230138"/>
                    <a:pt x="3036" y="207583"/>
                    <a:pt x="9086" y="186010"/>
                  </a:cubicBezTo>
                  <a:cubicBezTo>
                    <a:pt x="15136" y="164323"/>
                    <a:pt x="23674" y="144142"/>
                    <a:pt x="34654" y="125468"/>
                  </a:cubicBezTo>
                  <a:cubicBezTo>
                    <a:pt x="45726" y="106794"/>
                    <a:pt x="59058" y="89763"/>
                    <a:pt x="74559" y="74217"/>
                  </a:cubicBezTo>
                  <a:cubicBezTo>
                    <a:pt x="90083" y="58693"/>
                    <a:pt x="107227" y="45498"/>
                    <a:pt x="126016" y="34540"/>
                  </a:cubicBezTo>
                  <a:cubicBezTo>
                    <a:pt x="144827" y="23559"/>
                    <a:pt x="165007" y="15044"/>
                    <a:pt x="186467" y="9086"/>
                  </a:cubicBezTo>
                  <a:cubicBezTo>
                    <a:pt x="208063" y="3036"/>
                    <a:pt x="230481" y="0"/>
                    <a:pt x="253698" y="0"/>
                  </a:cubicBezTo>
                  <a:cubicBezTo>
                    <a:pt x="276915" y="0"/>
                    <a:pt x="299470" y="3036"/>
                    <a:pt x="321043" y="9086"/>
                  </a:cubicBezTo>
                  <a:cubicBezTo>
                    <a:pt x="342731" y="15021"/>
                    <a:pt x="362797" y="23559"/>
                    <a:pt x="381585" y="34540"/>
                  </a:cubicBezTo>
                  <a:cubicBezTo>
                    <a:pt x="400282" y="45498"/>
                    <a:pt x="417313" y="58693"/>
                    <a:pt x="432836" y="74217"/>
                  </a:cubicBezTo>
                  <a:cubicBezTo>
                    <a:pt x="448360" y="89740"/>
                    <a:pt x="461555" y="106794"/>
                    <a:pt x="472536" y="125468"/>
                  </a:cubicBezTo>
                  <a:cubicBezTo>
                    <a:pt x="483494" y="144119"/>
                    <a:pt x="491917" y="164300"/>
                    <a:pt x="497944" y="186010"/>
                  </a:cubicBezTo>
                  <a:cubicBezTo>
                    <a:pt x="504017" y="207606"/>
                    <a:pt x="507053" y="230138"/>
                    <a:pt x="507053" y="253355"/>
                  </a:cubicBezTo>
                  <a:lnTo>
                    <a:pt x="507053" y="253355"/>
                  </a:lnTo>
                  <a:close/>
                  <a:moveTo>
                    <a:pt x="382293" y="264245"/>
                  </a:moveTo>
                  <a:cubicBezTo>
                    <a:pt x="382293" y="246529"/>
                    <a:pt x="378937" y="229887"/>
                    <a:pt x="372088" y="214181"/>
                  </a:cubicBezTo>
                  <a:cubicBezTo>
                    <a:pt x="365354" y="198497"/>
                    <a:pt x="356222" y="184846"/>
                    <a:pt x="344625" y="173271"/>
                  </a:cubicBezTo>
                  <a:cubicBezTo>
                    <a:pt x="333097" y="161720"/>
                    <a:pt x="319445" y="152588"/>
                    <a:pt x="303739" y="145740"/>
                  </a:cubicBezTo>
                  <a:cubicBezTo>
                    <a:pt x="288055" y="139005"/>
                    <a:pt x="271390" y="135627"/>
                    <a:pt x="253698" y="135627"/>
                  </a:cubicBezTo>
                  <a:cubicBezTo>
                    <a:pt x="236005" y="135627"/>
                    <a:pt x="219112" y="138982"/>
                    <a:pt x="203543" y="145740"/>
                  </a:cubicBezTo>
                  <a:cubicBezTo>
                    <a:pt x="187836" y="152566"/>
                    <a:pt x="174253" y="161720"/>
                    <a:pt x="162633" y="173271"/>
                  </a:cubicBezTo>
                  <a:cubicBezTo>
                    <a:pt x="150968" y="184846"/>
                    <a:pt x="141722" y="198497"/>
                    <a:pt x="134987" y="214181"/>
                  </a:cubicBezTo>
                  <a:cubicBezTo>
                    <a:pt x="128139" y="229887"/>
                    <a:pt x="124760" y="246529"/>
                    <a:pt x="124760" y="264245"/>
                  </a:cubicBezTo>
                  <a:cubicBezTo>
                    <a:pt x="124760" y="281960"/>
                    <a:pt x="128139" y="298511"/>
                    <a:pt x="134987" y="314035"/>
                  </a:cubicBezTo>
                  <a:cubicBezTo>
                    <a:pt x="141722" y="329535"/>
                    <a:pt x="150968" y="343073"/>
                    <a:pt x="162633" y="354739"/>
                  </a:cubicBezTo>
                  <a:cubicBezTo>
                    <a:pt x="174253" y="366495"/>
                    <a:pt x="187836" y="375604"/>
                    <a:pt x="203543" y="382453"/>
                  </a:cubicBezTo>
                  <a:cubicBezTo>
                    <a:pt x="219135" y="389187"/>
                    <a:pt x="235800" y="392543"/>
                    <a:pt x="253698" y="392543"/>
                  </a:cubicBezTo>
                  <a:cubicBezTo>
                    <a:pt x="271596" y="392543"/>
                    <a:pt x="288032" y="389187"/>
                    <a:pt x="303739" y="382453"/>
                  </a:cubicBezTo>
                  <a:cubicBezTo>
                    <a:pt x="319445" y="375604"/>
                    <a:pt x="333097" y="366473"/>
                    <a:pt x="344625" y="354739"/>
                  </a:cubicBezTo>
                  <a:cubicBezTo>
                    <a:pt x="356200" y="343073"/>
                    <a:pt x="365331" y="329513"/>
                    <a:pt x="372088" y="314035"/>
                  </a:cubicBezTo>
                  <a:cubicBezTo>
                    <a:pt x="378937" y="298511"/>
                    <a:pt x="382293" y="281960"/>
                    <a:pt x="382293" y="264245"/>
                  </a:cubicBezTo>
                  <a:lnTo>
                    <a:pt x="382293" y="264245"/>
                  </a:lnTo>
                  <a:close/>
                </a:path>
              </a:pathLst>
            </a:custGeom>
            <a:solidFill>
              <a:srgbClr val="07D8ED"/>
            </a:solidFill>
            <a:ln w="228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867A1D1E-BF21-2CF0-77AE-032BB1B490DA}"/>
                </a:ext>
              </a:extLst>
            </p:cNvPr>
            <p:cNvSpPr/>
            <p:nvPr/>
          </p:nvSpPr>
          <p:spPr>
            <a:xfrm>
              <a:off x="527361" y="1153551"/>
              <a:ext cx="748309" cy="687766"/>
            </a:xfrm>
            <a:custGeom>
              <a:avLst/>
              <a:gdLst>
                <a:gd name="connsiteX0" fmla="*/ 442927 w 748309"/>
                <a:gd name="connsiteY0" fmla="*/ 687767 h 687766"/>
                <a:gd name="connsiteX1" fmla="*/ 305702 w 748309"/>
                <a:gd name="connsiteY1" fmla="*/ 687767 h 687766"/>
                <a:gd name="connsiteX2" fmla="*/ 305702 w 748309"/>
                <a:gd name="connsiteY2" fmla="*/ 137681 h 687766"/>
                <a:gd name="connsiteX3" fmla="*/ 0 w 748309"/>
                <a:gd name="connsiteY3" fmla="*/ 137681 h 687766"/>
                <a:gd name="connsiteX4" fmla="*/ 0 w 748309"/>
                <a:gd name="connsiteY4" fmla="*/ 0 h 687766"/>
                <a:gd name="connsiteX5" fmla="*/ 748309 w 748309"/>
                <a:gd name="connsiteY5" fmla="*/ 0 h 687766"/>
                <a:gd name="connsiteX6" fmla="*/ 748309 w 748309"/>
                <a:gd name="connsiteY6" fmla="*/ 137681 h 687766"/>
                <a:gd name="connsiteX7" fmla="*/ 442927 w 748309"/>
                <a:gd name="connsiteY7" fmla="*/ 137681 h 687766"/>
                <a:gd name="connsiteX8" fmla="*/ 442927 w 748309"/>
                <a:gd name="connsiteY8" fmla="*/ 687767 h 687766"/>
                <a:gd name="connsiteX9" fmla="*/ 442927 w 748309"/>
                <a:gd name="connsiteY9" fmla="*/ 687767 h 68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8309" h="687766">
                  <a:moveTo>
                    <a:pt x="442927" y="687767"/>
                  </a:moveTo>
                  <a:lnTo>
                    <a:pt x="305702" y="687767"/>
                  </a:lnTo>
                  <a:lnTo>
                    <a:pt x="305702" y="137681"/>
                  </a:lnTo>
                  <a:lnTo>
                    <a:pt x="0" y="137681"/>
                  </a:lnTo>
                  <a:lnTo>
                    <a:pt x="0" y="0"/>
                  </a:lnTo>
                  <a:lnTo>
                    <a:pt x="748309" y="0"/>
                  </a:lnTo>
                  <a:lnTo>
                    <a:pt x="748309" y="137681"/>
                  </a:lnTo>
                  <a:lnTo>
                    <a:pt x="442927" y="137681"/>
                  </a:lnTo>
                  <a:lnTo>
                    <a:pt x="442927" y="687767"/>
                  </a:lnTo>
                  <a:lnTo>
                    <a:pt x="442927" y="687767"/>
                  </a:lnTo>
                  <a:close/>
                </a:path>
              </a:pathLst>
            </a:custGeom>
            <a:solidFill>
              <a:srgbClr val="07D8ED"/>
            </a:solidFill>
            <a:ln w="228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6F8FB502-CC88-82BB-8D7E-A0C4650E4C20}"/>
                </a:ext>
              </a:extLst>
            </p:cNvPr>
            <p:cNvSpPr/>
            <p:nvPr/>
          </p:nvSpPr>
          <p:spPr>
            <a:xfrm>
              <a:off x="1293682" y="1703636"/>
              <a:ext cx="516390" cy="137681"/>
            </a:xfrm>
            <a:custGeom>
              <a:avLst/>
              <a:gdLst>
                <a:gd name="connsiteX0" fmla="*/ 0 w 516390"/>
                <a:gd name="connsiteY0" fmla="*/ 0 h 137681"/>
                <a:gd name="connsiteX1" fmla="*/ 516390 w 516390"/>
                <a:gd name="connsiteY1" fmla="*/ 0 h 137681"/>
                <a:gd name="connsiteX2" fmla="*/ 516390 w 516390"/>
                <a:gd name="connsiteY2" fmla="*/ 137681 h 137681"/>
                <a:gd name="connsiteX3" fmla="*/ 0 w 516390"/>
                <a:gd name="connsiteY3" fmla="*/ 137681 h 137681"/>
                <a:gd name="connsiteX4" fmla="*/ 0 w 516390"/>
                <a:gd name="connsiteY4" fmla="*/ 0 h 137681"/>
                <a:gd name="connsiteX5" fmla="*/ 0 w 516390"/>
                <a:gd name="connsiteY5" fmla="*/ 0 h 137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6390" h="137681">
                  <a:moveTo>
                    <a:pt x="0" y="0"/>
                  </a:moveTo>
                  <a:lnTo>
                    <a:pt x="516390" y="0"/>
                  </a:lnTo>
                  <a:lnTo>
                    <a:pt x="516390" y="137681"/>
                  </a:lnTo>
                  <a:lnTo>
                    <a:pt x="0" y="137681"/>
                  </a:lnTo>
                  <a:lnTo>
                    <a:pt x="0" y="0"/>
                  </a:lnTo>
                  <a:lnTo>
                    <a:pt x="0" y="0"/>
                  </a:lnTo>
                  <a:close/>
                </a:path>
              </a:pathLst>
            </a:custGeom>
            <a:solidFill>
              <a:srgbClr val="07D8ED"/>
            </a:solidFill>
            <a:ln w="2280" cap="flat">
              <a:noFill/>
              <a:prstDash val="solid"/>
              <a:miter/>
            </a:ln>
          </p:spPr>
          <p:txBody>
            <a:bodyPr rtlCol="0" anchor="ctr"/>
            <a:lstStyle/>
            <a:p>
              <a:endParaRPr lang="en-US"/>
            </a:p>
          </p:txBody>
        </p:sp>
      </p:grpSp>
      <p:grpSp>
        <p:nvGrpSpPr>
          <p:cNvPr id="20" name="Graphic 11">
            <a:extLst>
              <a:ext uri="{FF2B5EF4-FFF2-40B4-BE49-F238E27FC236}">
                <a16:creationId xmlns:a16="http://schemas.microsoft.com/office/drawing/2014/main" id="{F0E07AB5-764D-6F3F-A434-1323CA356691}"/>
              </a:ext>
            </a:extLst>
          </p:cNvPr>
          <p:cNvGrpSpPr/>
          <p:nvPr/>
        </p:nvGrpSpPr>
        <p:grpSpPr>
          <a:xfrm>
            <a:off x="507272" y="353923"/>
            <a:ext cx="4969466" cy="710367"/>
            <a:chOff x="507272" y="353923"/>
            <a:chExt cx="4969466" cy="710367"/>
          </a:xfrm>
          <a:solidFill>
            <a:srgbClr val="BCBEC0"/>
          </a:solidFill>
        </p:grpSpPr>
        <p:sp>
          <p:nvSpPr>
            <p:cNvPr id="21" name="Freeform: Shape 20">
              <a:extLst>
                <a:ext uri="{FF2B5EF4-FFF2-40B4-BE49-F238E27FC236}">
                  <a16:creationId xmlns:a16="http://schemas.microsoft.com/office/drawing/2014/main" id="{23636670-CA9E-040D-752E-ED74A15D0AD3}"/>
                </a:ext>
              </a:extLst>
            </p:cNvPr>
            <p:cNvSpPr/>
            <p:nvPr/>
          </p:nvSpPr>
          <p:spPr>
            <a:xfrm>
              <a:off x="4893642" y="361616"/>
              <a:ext cx="583096" cy="687789"/>
            </a:xfrm>
            <a:custGeom>
              <a:avLst/>
              <a:gdLst>
                <a:gd name="connsiteX0" fmla="*/ 137521 w 583096"/>
                <a:gd name="connsiteY0" fmla="*/ 687767 h 687789"/>
                <a:gd name="connsiteX1" fmla="*/ 0 w 583096"/>
                <a:gd name="connsiteY1" fmla="*/ 687767 h 687789"/>
                <a:gd name="connsiteX2" fmla="*/ 0 w 583096"/>
                <a:gd name="connsiteY2" fmla="*/ 0 h 687789"/>
                <a:gd name="connsiteX3" fmla="*/ 308236 w 583096"/>
                <a:gd name="connsiteY3" fmla="*/ 0 h 687789"/>
                <a:gd name="connsiteX4" fmla="*/ 381265 w 583096"/>
                <a:gd name="connsiteY4" fmla="*/ 9816 h 687789"/>
                <a:gd name="connsiteX5" fmla="*/ 446739 w 583096"/>
                <a:gd name="connsiteY5" fmla="*/ 37645 h 687789"/>
                <a:gd name="connsiteX6" fmla="*/ 502236 w 583096"/>
                <a:gd name="connsiteY6" fmla="*/ 80700 h 687789"/>
                <a:gd name="connsiteX7" fmla="*/ 545451 w 583096"/>
                <a:gd name="connsiteY7" fmla="*/ 136700 h 687789"/>
                <a:gd name="connsiteX8" fmla="*/ 573280 w 583096"/>
                <a:gd name="connsiteY8" fmla="*/ 202355 h 687789"/>
                <a:gd name="connsiteX9" fmla="*/ 583096 w 583096"/>
                <a:gd name="connsiteY9" fmla="*/ 275225 h 687789"/>
                <a:gd name="connsiteX10" fmla="*/ 574261 w 583096"/>
                <a:gd name="connsiteY10" fmla="*/ 344306 h 687789"/>
                <a:gd name="connsiteX11" fmla="*/ 548876 w 583096"/>
                <a:gd name="connsiteY11" fmla="*/ 408158 h 687789"/>
                <a:gd name="connsiteX12" fmla="*/ 508263 w 583096"/>
                <a:gd name="connsiteY12" fmla="*/ 463815 h 687789"/>
                <a:gd name="connsiteX13" fmla="*/ 454569 w 583096"/>
                <a:gd name="connsiteY13" fmla="*/ 507875 h 687789"/>
                <a:gd name="connsiteX14" fmla="*/ 530863 w 583096"/>
                <a:gd name="connsiteY14" fmla="*/ 687789 h 687789"/>
                <a:gd name="connsiteX15" fmla="*/ 384508 w 583096"/>
                <a:gd name="connsiteY15" fmla="*/ 687789 h 687789"/>
                <a:gd name="connsiteX16" fmla="*/ 324582 w 583096"/>
                <a:gd name="connsiteY16" fmla="*/ 549127 h 687789"/>
                <a:gd name="connsiteX17" fmla="*/ 137499 w 583096"/>
                <a:gd name="connsiteY17" fmla="*/ 550086 h 687789"/>
                <a:gd name="connsiteX18" fmla="*/ 137499 w 583096"/>
                <a:gd name="connsiteY18" fmla="*/ 687767 h 687789"/>
                <a:gd name="connsiteX19" fmla="*/ 137499 w 583096"/>
                <a:gd name="connsiteY19" fmla="*/ 687767 h 687789"/>
                <a:gd name="connsiteX20" fmla="*/ 137521 w 583096"/>
                <a:gd name="connsiteY20" fmla="*/ 137681 h 687789"/>
                <a:gd name="connsiteX21" fmla="*/ 137521 w 583096"/>
                <a:gd name="connsiteY21" fmla="*/ 412884 h 687789"/>
                <a:gd name="connsiteX22" fmla="*/ 308236 w 583096"/>
                <a:gd name="connsiteY22" fmla="*/ 412884 h 687789"/>
                <a:gd name="connsiteX23" fmla="*/ 361610 w 583096"/>
                <a:gd name="connsiteY23" fmla="*/ 402086 h 687789"/>
                <a:gd name="connsiteX24" fmla="*/ 405167 w 583096"/>
                <a:gd name="connsiteY24" fmla="*/ 372591 h 687789"/>
                <a:gd name="connsiteX25" fmla="*/ 434617 w 583096"/>
                <a:gd name="connsiteY25" fmla="*/ 328714 h 687789"/>
                <a:gd name="connsiteX26" fmla="*/ 445415 w 583096"/>
                <a:gd name="connsiteY26" fmla="*/ 275180 h 687789"/>
                <a:gd name="connsiteX27" fmla="*/ 434617 w 583096"/>
                <a:gd name="connsiteY27" fmla="*/ 221783 h 687789"/>
                <a:gd name="connsiteX28" fmla="*/ 405167 w 583096"/>
                <a:gd name="connsiteY28" fmla="*/ 177906 h 687789"/>
                <a:gd name="connsiteX29" fmla="*/ 361610 w 583096"/>
                <a:gd name="connsiteY29" fmla="*/ 148434 h 687789"/>
                <a:gd name="connsiteX30" fmla="*/ 308236 w 583096"/>
                <a:gd name="connsiteY30" fmla="*/ 137636 h 687789"/>
                <a:gd name="connsiteX31" fmla="*/ 137521 w 583096"/>
                <a:gd name="connsiteY31" fmla="*/ 137636 h 687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83096" h="687789">
                  <a:moveTo>
                    <a:pt x="137521" y="687767"/>
                  </a:moveTo>
                  <a:lnTo>
                    <a:pt x="0" y="687767"/>
                  </a:lnTo>
                  <a:lnTo>
                    <a:pt x="0" y="0"/>
                  </a:lnTo>
                  <a:lnTo>
                    <a:pt x="308236" y="0"/>
                  </a:lnTo>
                  <a:cubicBezTo>
                    <a:pt x="333622" y="0"/>
                    <a:pt x="357912" y="3310"/>
                    <a:pt x="381265" y="9816"/>
                  </a:cubicBezTo>
                  <a:cubicBezTo>
                    <a:pt x="404460" y="16300"/>
                    <a:pt x="426330" y="25705"/>
                    <a:pt x="446739" y="37645"/>
                  </a:cubicBezTo>
                  <a:cubicBezTo>
                    <a:pt x="467034" y="49516"/>
                    <a:pt x="485571" y="64012"/>
                    <a:pt x="502236" y="80700"/>
                  </a:cubicBezTo>
                  <a:cubicBezTo>
                    <a:pt x="519084" y="97571"/>
                    <a:pt x="533557" y="116290"/>
                    <a:pt x="545451" y="136700"/>
                  </a:cubicBezTo>
                  <a:cubicBezTo>
                    <a:pt x="557368" y="157131"/>
                    <a:pt x="566796" y="179138"/>
                    <a:pt x="573280" y="202355"/>
                  </a:cubicBezTo>
                  <a:cubicBezTo>
                    <a:pt x="579808" y="225709"/>
                    <a:pt x="583096" y="249999"/>
                    <a:pt x="583096" y="275225"/>
                  </a:cubicBezTo>
                  <a:cubicBezTo>
                    <a:pt x="583096" y="298967"/>
                    <a:pt x="580106" y="322093"/>
                    <a:pt x="574261" y="344306"/>
                  </a:cubicBezTo>
                  <a:cubicBezTo>
                    <a:pt x="568371" y="366701"/>
                    <a:pt x="559856" y="388114"/>
                    <a:pt x="548876" y="408158"/>
                  </a:cubicBezTo>
                  <a:cubicBezTo>
                    <a:pt x="537849" y="428293"/>
                    <a:pt x="524312" y="446876"/>
                    <a:pt x="508263" y="463815"/>
                  </a:cubicBezTo>
                  <a:cubicBezTo>
                    <a:pt x="492283" y="480663"/>
                    <a:pt x="474362" y="495410"/>
                    <a:pt x="454569" y="507875"/>
                  </a:cubicBezTo>
                  <a:lnTo>
                    <a:pt x="530863" y="687789"/>
                  </a:lnTo>
                  <a:lnTo>
                    <a:pt x="384508" y="687789"/>
                  </a:lnTo>
                  <a:lnTo>
                    <a:pt x="324582" y="549127"/>
                  </a:lnTo>
                  <a:lnTo>
                    <a:pt x="137499" y="550086"/>
                  </a:lnTo>
                  <a:lnTo>
                    <a:pt x="137499" y="687767"/>
                  </a:lnTo>
                  <a:lnTo>
                    <a:pt x="137499" y="687767"/>
                  </a:lnTo>
                  <a:close/>
                  <a:moveTo>
                    <a:pt x="137521" y="137681"/>
                  </a:moveTo>
                  <a:lnTo>
                    <a:pt x="137521" y="412884"/>
                  </a:lnTo>
                  <a:lnTo>
                    <a:pt x="308236" y="412884"/>
                  </a:lnTo>
                  <a:cubicBezTo>
                    <a:pt x="327230" y="412884"/>
                    <a:pt x="344968" y="409277"/>
                    <a:pt x="361610" y="402086"/>
                  </a:cubicBezTo>
                  <a:cubicBezTo>
                    <a:pt x="378092" y="394963"/>
                    <a:pt x="392726" y="385032"/>
                    <a:pt x="405167" y="372591"/>
                  </a:cubicBezTo>
                  <a:cubicBezTo>
                    <a:pt x="417609" y="360149"/>
                    <a:pt x="427448" y="345538"/>
                    <a:pt x="434617" y="328714"/>
                  </a:cubicBezTo>
                  <a:cubicBezTo>
                    <a:pt x="441739" y="312048"/>
                    <a:pt x="445415" y="294173"/>
                    <a:pt x="445415" y="275180"/>
                  </a:cubicBezTo>
                  <a:cubicBezTo>
                    <a:pt x="445415" y="256186"/>
                    <a:pt x="441739" y="238471"/>
                    <a:pt x="434617" y="221783"/>
                  </a:cubicBezTo>
                  <a:cubicBezTo>
                    <a:pt x="427425" y="204981"/>
                    <a:pt x="417541" y="190302"/>
                    <a:pt x="405167" y="177906"/>
                  </a:cubicBezTo>
                  <a:cubicBezTo>
                    <a:pt x="392771" y="165510"/>
                    <a:pt x="378047" y="155465"/>
                    <a:pt x="361610" y="148434"/>
                  </a:cubicBezTo>
                  <a:cubicBezTo>
                    <a:pt x="344945" y="141334"/>
                    <a:pt x="327115" y="137636"/>
                    <a:pt x="308236" y="137636"/>
                  </a:cubicBezTo>
                  <a:lnTo>
                    <a:pt x="137521" y="137636"/>
                  </a:lnTo>
                  <a:close/>
                </a:path>
              </a:pathLst>
            </a:custGeom>
            <a:solidFill>
              <a:srgbClr val="BCBEC0"/>
            </a:solidFill>
            <a:ln w="228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5B19A6FD-86E7-9B6B-2B00-16C1FE7464D3}"/>
                </a:ext>
              </a:extLst>
            </p:cNvPr>
            <p:cNvSpPr/>
            <p:nvPr/>
          </p:nvSpPr>
          <p:spPr>
            <a:xfrm>
              <a:off x="4358738" y="361616"/>
              <a:ext cx="471508" cy="687766"/>
            </a:xfrm>
            <a:custGeom>
              <a:avLst/>
              <a:gdLst>
                <a:gd name="connsiteX0" fmla="*/ 471509 w 471508"/>
                <a:gd name="connsiteY0" fmla="*/ 687767 h 687766"/>
                <a:gd name="connsiteX1" fmla="*/ 0 w 471508"/>
                <a:gd name="connsiteY1" fmla="*/ 687767 h 687766"/>
                <a:gd name="connsiteX2" fmla="*/ 0 w 471508"/>
                <a:gd name="connsiteY2" fmla="*/ 0 h 687766"/>
                <a:gd name="connsiteX3" fmla="*/ 471509 w 471508"/>
                <a:gd name="connsiteY3" fmla="*/ 0 h 687766"/>
                <a:gd name="connsiteX4" fmla="*/ 471509 w 471508"/>
                <a:gd name="connsiteY4" fmla="*/ 45019 h 687766"/>
                <a:gd name="connsiteX5" fmla="*/ 45019 w 471508"/>
                <a:gd name="connsiteY5" fmla="*/ 45019 h 687766"/>
                <a:gd name="connsiteX6" fmla="*/ 45019 w 471508"/>
                <a:gd name="connsiteY6" fmla="*/ 642748 h 687766"/>
                <a:gd name="connsiteX7" fmla="*/ 471509 w 471508"/>
                <a:gd name="connsiteY7" fmla="*/ 642748 h 687766"/>
                <a:gd name="connsiteX8" fmla="*/ 471509 w 471508"/>
                <a:gd name="connsiteY8" fmla="*/ 687767 h 687766"/>
                <a:gd name="connsiteX9" fmla="*/ 471509 w 471508"/>
                <a:gd name="connsiteY9" fmla="*/ 687767 h 687766"/>
                <a:gd name="connsiteX10" fmla="*/ 471509 w 471508"/>
                <a:gd name="connsiteY10" fmla="*/ 92663 h 687766"/>
                <a:gd name="connsiteX11" fmla="*/ 471509 w 471508"/>
                <a:gd name="connsiteY11" fmla="*/ 137681 h 687766"/>
                <a:gd name="connsiteX12" fmla="*/ 137521 w 471508"/>
                <a:gd name="connsiteY12" fmla="*/ 137681 h 687766"/>
                <a:gd name="connsiteX13" fmla="*/ 137521 w 471508"/>
                <a:gd name="connsiteY13" fmla="*/ 275203 h 687766"/>
                <a:gd name="connsiteX14" fmla="*/ 363459 w 471508"/>
                <a:gd name="connsiteY14" fmla="*/ 275203 h 687766"/>
                <a:gd name="connsiteX15" fmla="*/ 363459 w 471508"/>
                <a:gd name="connsiteY15" fmla="*/ 320221 h 687766"/>
                <a:gd name="connsiteX16" fmla="*/ 92503 w 471508"/>
                <a:gd name="connsiteY16" fmla="*/ 320221 h 687766"/>
                <a:gd name="connsiteX17" fmla="*/ 92503 w 471508"/>
                <a:gd name="connsiteY17" fmla="*/ 92663 h 687766"/>
                <a:gd name="connsiteX18" fmla="*/ 471509 w 471508"/>
                <a:gd name="connsiteY18" fmla="*/ 92663 h 687766"/>
                <a:gd name="connsiteX19" fmla="*/ 363459 w 471508"/>
                <a:gd name="connsiteY19" fmla="*/ 367865 h 687766"/>
                <a:gd name="connsiteX20" fmla="*/ 363459 w 471508"/>
                <a:gd name="connsiteY20" fmla="*/ 412884 h 687766"/>
                <a:gd name="connsiteX21" fmla="*/ 137521 w 471508"/>
                <a:gd name="connsiteY21" fmla="*/ 412884 h 687766"/>
                <a:gd name="connsiteX22" fmla="*/ 137521 w 471508"/>
                <a:gd name="connsiteY22" fmla="*/ 550086 h 687766"/>
                <a:gd name="connsiteX23" fmla="*/ 471509 w 471508"/>
                <a:gd name="connsiteY23" fmla="*/ 550086 h 687766"/>
                <a:gd name="connsiteX24" fmla="*/ 471509 w 471508"/>
                <a:gd name="connsiteY24" fmla="*/ 595104 h 687766"/>
                <a:gd name="connsiteX25" fmla="*/ 92503 w 471508"/>
                <a:gd name="connsiteY25" fmla="*/ 595104 h 687766"/>
                <a:gd name="connsiteX26" fmla="*/ 92503 w 471508"/>
                <a:gd name="connsiteY26" fmla="*/ 367865 h 687766"/>
                <a:gd name="connsiteX27" fmla="*/ 363459 w 471508"/>
                <a:gd name="connsiteY27" fmla="*/ 367865 h 68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71508" h="687766">
                  <a:moveTo>
                    <a:pt x="471509" y="687767"/>
                  </a:moveTo>
                  <a:lnTo>
                    <a:pt x="0" y="687767"/>
                  </a:lnTo>
                  <a:lnTo>
                    <a:pt x="0" y="0"/>
                  </a:lnTo>
                  <a:lnTo>
                    <a:pt x="471509" y="0"/>
                  </a:lnTo>
                  <a:lnTo>
                    <a:pt x="471509" y="45019"/>
                  </a:lnTo>
                  <a:lnTo>
                    <a:pt x="45019" y="45019"/>
                  </a:lnTo>
                  <a:lnTo>
                    <a:pt x="45019" y="642748"/>
                  </a:lnTo>
                  <a:lnTo>
                    <a:pt x="471509" y="642748"/>
                  </a:lnTo>
                  <a:lnTo>
                    <a:pt x="471509" y="687767"/>
                  </a:lnTo>
                  <a:lnTo>
                    <a:pt x="471509" y="687767"/>
                  </a:lnTo>
                  <a:close/>
                  <a:moveTo>
                    <a:pt x="471509" y="92663"/>
                  </a:moveTo>
                  <a:lnTo>
                    <a:pt x="471509" y="137681"/>
                  </a:lnTo>
                  <a:lnTo>
                    <a:pt x="137521" y="137681"/>
                  </a:lnTo>
                  <a:lnTo>
                    <a:pt x="137521" y="275203"/>
                  </a:lnTo>
                  <a:lnTo>
                    <a:pt x="363459" y="275203"/>
                  </a:lnTo>
                  <a:lnTo>
                    <a:pt x="363459" y="320221"/>
                  </a:lnTo>
                  <a:lnTo>
                    <a:pt x="92503" y="320221"/>
                  </a:lnTo>
                  <a:lnTo>
                    <a:pt x="92503" y="92663"/>
                  </a:lnTo>
                  <a:lnTo>
                    <a:pt x="471509" y="92663"/>
                  </a:lnTo>
                  <a:close/>
                  <a:moveTo>
                    <a:pt x="363459" y="367865"/>
                  </a:moveTo>
                  <a:lnTo>
                    <a:pt x="363459" y="412884"/>
                  </a:lnTo>
                  <a:lnTo>
                    <a:pt x="137521" y="412884"/>
                  </a:lnTo>
                  <a:lnTo>
                    <a:pt x="137521" y="550086"/>
                  </a:lnTo>
                  <a:lnTo>
                    <a:pt x="471509" y="550086"/>
                  </a:lnTo>
                  <a:lnTo>
                    <a:pt x="471509" y="595104"/>
                  </a:lnTo>
                  <a:lnTo>
                    <a:pt x="92503" y="595104"/>
                  </a:lnTo>
                  <a:lnTo>
                    <a:pt x="92503" y="367865"/>
                  </a:lnTo>
                  <a:lnTo>
                    <a:pt x="363459" y="367865"/>
                  </a:lnTo>
                  <a:close/>
                </a:path>
              </a:pathLst>
            </a:custGeom>
            <a:solidFill>
              <a:srgbClr val="BCBEC0"/>
            </a:solidFill>
            <a:ln w="228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758B92D5-EBFC-E400-F8CB-855AF5E7B3D0}"/>
                </a:ext>
              </a:extLst>
            </p:cNvPr>
            <p:cNvSpPr/>
            <p:nvPr/>
          </p:nvSpPr>
          <p:spPr>
            <a:xfrm>
              <a:off x="3668003" y="353923"/>
              <a:ext cx="584671" cy="710367"/>
            </a:xfrm>
            <a:custGeom>
              <a:avLst/>
              <a:gdLst>
                <a:gd name="connsiteX0" fmla="*/ 584648 w 584671"/>
                <a:gd name="connsiteY0" fmla="*/ 625878 h 710367"/>
                <a:gd name="connsiteX1" fmla="*/ 477741 w 584671"/>
                <a:gd name="connsiteY1" fmla="*/ 688589 h 710367"/>
                <a:gd name="connsiteX2" fmla="*/ 354944 w 584671"/>
                <a:gd name="connsiteY2" fmla="*/ 710367 h 710367"/>
                <a:gd name="connsiteX3" fmla="*/ 260638 w 584671"/>
                <a:gd name="connsiteY3" fmla="*/ 697606 h 710367"/>
                <a:gd name="connsiteX4" fmla="*/ 175988 w 584671"/>
                <a:gd name="connsiteY4" fmla="*/ 661582 h 710367"/>
                <a:gd name="connsiteX5" fmla="*/ 104123 w 584671"/>
                <a:gd name="connsiteY5" fmla="*/ 606085 h 710367"/>
                <a:gd name="connsiteX6" fmla="*/ 48466 w 584671"/>
                <a:gd name="connsiteY6" fmla="*/ 534060 h 710367"/>
                <a:gd name="connsiteX7" fmla="*/ 12761 w 584671"/>
                <a:gd name="connsiteY7" fmla="*/ 448931 h 710367"/>
                <a:gd name="connsiteX8" fmla="*/ 0 w 584671"/>
                <a:gd name="connsiteY8" fmla="*/ 354442 h 710367"/>
                <a:gd name="connsiteX9" fmla="*/ 12761 w 584671"/>
                <a:gd name="connsiteY9" fmla="*/ 260455 h 710367"/>
                <a:gd name="connsiteX10" fmla="*/ 48466 w 584671"/>
                <a:gd name="connsiteY10" fmla="*/ 175805 h 710367"/>
                <a:gd name="connsiteX11" fmla="*/ 104123 w 584671"/>
                <a:gd name="connsiteY11" fmla="*/ 103780 h 710367"/>
                <a:gd name="connsiteX12" fmla="*/ 175988 w 584671"/>
                <a:gd name="connsiteY12" fmla="*/ 48466 h 710367"/>
                <a:gd name="connsiteX13" fmla="*/ 260638 w 584671"/>
                <a:gd name="connsiteY13" fmla="*/ 12761 h 710367"/>
                <a:gd name="connsiteX14" fmla="*/ 354944 w 584671"/>
                <a:gd name="connsiteY14" fmla="*/ 0 h 710367"/>
                <a:gd name="connsiteX15" fmla="*/ 477741 w 584671"/>
                <a:gd name="connsiteY15" fmla="*/ 21779 h 710367"/>
                <a:gd name="connsiteX16" fmla="*/ 584648 w 584671"/>
                <a:gd name="connsiteY16" fmla="*/ 84490 h 710367"/>
                <a:gd name="connsiteX17" fmla="*/ 512760 w 584671"/>
                <a:gd name="connsiteY17" fmla="*/ 204342 h 710367"/>
                <a:gd name="connsiteX18" fmla="*/ 440895 w 584671"/>
                <a:gd name="connsiteY18" fmla="*/ 154734 h 710367"/>
                <a:gd name="connsiteX19" fmla="*/ 354944 w 584671"/>
                <a:gd name="connsiteY19" fmla="*/ 136700 h 710367"/>
                <a:gd name="connsiteX20" fmla="*/ 270317 w 584671"/>
                <a:gd name="connsiteY20" fmla="*/ 153913 h 710367"/>
                <a:gd name="connsiteX21" fmla="*/ 201054 w 584671"/>
                <a:gd name="connsiteY21" fmla="*/ 200735 h 710367"/>
                <a:gd name="connsiteX22" fmla="*/ 154072 w 584671"/>
                <a:gd name="connsiteY22" fmla="*/ 269838 h 710367"/>
                <a:gd name="connsiteX23" fmla="*/ 136700 w 584671"/>
                <a:gd name="connsiteY23" fmla="*/ 354487 h 710367"/>
                <a:gd name="connsiteX24" fmla="*/ 154072 w 584671"/>
                <a:gd name="connsiteY24" fmla="*/ 439776 h 710367"/>
                <a:gd name="connsiteX25" fmla="*/ 201054 w 584671"/>
                <a:gd name="connsiteY25" fmla="*/ 509359 h 710367"/>
                <a:gd name="connsiteX26" fmla="*/ 270317 w 584671"/>
                <a:gd name="connsiteY26" fmla="*/ 556341 h 710367"/>
                <a:gd name="connsiteX27" fmla="*/ 354944 w 584671"/>
                <a:gd name="connsiteY27" fmla="*/ 573691 h 710367"/>
                <a:gd name="connsiteX28" fmla="*/ 405373 w 584671"/>
                <a:gd name="connsiteY28" fmla="*/ 567481 h 710367"/>
                <a:gd name="connsiteX29" fmla="*/ 451875 w 584671"/>
                <a:gd name="connsiteY29" fmla="*/ 550131 h 710367"/>
                <a:gd name="connsiteX30" fmla="*/ 451875 w 584671"/>
                <a:gd name="connsiteY30" fmla="*/ 454227 h 710367"/>
                <a:gd name="connsiteX31" fmla="*/ 360286 w 584671"/>
                <a:gd name="connsiteY31" fmla="*/ 454227 h 710367"/>
                <a:gd name="connsiteX32" fmla="*/ 360286 w 584671"/>
                <a:gd name="connsiteY32" fmla="*/ 321454 h 710367"/>
                <a:gd name="connsiteX33" fmla="*/ 584671 w 584671"/>
                <a:gd name="connsiteY33" fmla="*/ 321454 h 710367"/>
                <a:gd name="connsiteX34" fmla="*/ 584671 w 584671"/>
                <a:gd name="connsiteY34" fmla="*/ 625923 h 710367"/>
                <a:gd name="connsiteX35" fmla="*/ 584671 w 584671"/>
                <a:gd name="connsiteY35" fmla="*/ 625923 h 710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84671" h="710367">
                  <a:moveTo>
                    <a:pt x="584648" y="625878"/>
                  </a:moveTo>
                  <a:cubicBezTo>
                    <a:pt x="552711" y="653067"/>
                    <a:pt x="517006" y="674138"/>
                    <a:pt x="477741" y="688589"/>
                  </a:cubicBezTo>
                  <a:cubicBezTo>
                    <a:pt x="438498" y="703039"/>
                    <a:pt x="397520" y="710367"/>
                    <a:pt x="354944" y="710367"/>
                  </a:cubicBezTo>
                  <a:cubicBezTo>
                    <a:pt x="322367" y="710367"/>
                    <a:pt x="290863" y="706098"/>
                    <a:pt x="260638" y="697606"/>
                  </a:cubicBezTo>
                  <a:cubicBezTo>
                    <a:pt x="230549" y="689159"/>
                    <a:pt x="202196" y="677037"/>
                    <a:pt x="175988" y="661582"/>
                  </a:cubicBezTo>
                  <a:cubicBezTo>
                    <a:pt x="149872" y="646150"/>
                    <a:pt x="125810" y="627521"/>
                    <a:pt x="104123" y="606085"/>
                  </a:cubicBezTo>
                  <a:cubicBezTo>
                    <a:pt x="82344" y="584557"/>
                    <a:pt x="63852" y="560404"/>
                    <a:pt x="48466" y="534060"/>
                  </a:cubicBezTo>
                  <a:cubicBezTo>
                    <a:pt x="33056" y="507692"/>
                    <a:pt x="21254" y="479316"/>
                    <a:pt x="12761" y="448931"/>
                  </a:cubicBezTo>
                  <a:cubicBezTo>
                    <a:pt x="4315" y="418659"/>
                    <a:pt x="0" y="387041"/>
                    <a:pt x="0" y="354442"/>
                  </a:cubicBezTo>
                  <a:cubicBezTo>
                    <a:pt x="0" y="321842"/>
                    <a:pt x="4338" y="290407"/>
                    <a:pt x="12761" y="260455"/>
                  </a:cubicBezTo>
                  <a:cubicBezTo>
                    <a:pt x="21254" y="230389"/>
                    <a:pt x="33056" y="202173"/>
                    <a:pt x="48466" y="175805"/>
                  </a:cubicBezTo>
                  <a:cubicBezTo>
                    <a:pt x="63852" y="149438"/>
                    <a:pt x="82344" y="125376"/>
                    <a:pt x="104123" y="103780"/>
                  </a:cubicBezTo>
                  <a:cubicBezTo>
                    <a:pt x="125902" y="82184"/>
                    <a:pt x="149803" y="63852"/>
                    <a:pt x="175988" y="48466"/>
                  </a:cubicBezTo>
                  <a:cubicBezTo>
                    <a:pt x="202196" y="33079"/>
                    <a:pt x="230572" y="21140"/>
                    <a:pt x="260638" y="12761"/>
                  </a:cubicBezTo>
                  <a:cubicBezTo>
                    <a:pt x="290886" y="4337"/>
                    <a:pt x="322367" y="0"/>
                    <a:pt x="354944" y="0"/>
                  </a:cubicBezTo>
                  <a:cubicBezTo>
                    <a:pt x="397520" y="0"/>
                    <a:pt x="438452" y="7214"/>
                    <a:pt x="477741" y="21779"/>
                  </a:cubicBezTo>
                  <a:cubicBezTo>
                    <a:pt x="517029" y="36344"/>
                    <a:pt x="552711" y="57301"/>
                    <a:pt x="584648" y="84490"/>
                  </a:cubicBezTo>
                  <a:lnTo>
                    <a:pt x="512760" y="204342"/>
                  </a:lnTo>
                  <a:cubicBezTo>
                    <a:pt x="491963" y="183225"/>
                    <a:pt x="468038" y="166605"/>
                    <a:pt x="440895" y="154734"/>
                  </a:cubicBezTo>
                  <a:cubicBezTo>
                    <a:pt x="413614" y="142795"/>
                    <a:pt x="385078" y="136700"/>
                    <a:pt x="354944" y="136700"/>
                  </a:cubicBezTo>
                  <a:cubicBezTo>
                    <a:pt x="324810" y="136700"/>
                    <a:pt x="296593" y="142407"/>
                    <a:pt x="270317" y="153913"/>
                  </a:cubicBezTo>
                  <a:cubicBezTo>
                    <a:pt x="243973" y="165418"/>
                    <a:pt x="220870" y="181102"/>
                    <a:pt x="201054" y="200735"/>
                  </a:cubicBezTo>
                  <a:cubicBezTo>
                    <a:pt x="181262" y="220390"/>
                    <a:pt x="165578" y="243539"/>
                    <a:pt x="154072" y="269838"/>
                  </a:cubicBezTo>
                  <a:cubicBezTo>
                    <a:pt x="142544" y="296182"/>
                    <a:pt x="136700" y="324353"/>
                    <a:pt x="136700" y="354487"/>
                  </a:cubicBezTo>
                  <a:cubicBezTo>
                    <a:pt x="136700" y="384622"/>
                    <a:pt x="142589" y="413272"/>
                    <a:pt x="154072" y="439776"/>
                  </a:cubicBezTo>
                  <a:cubicBezTo>
                    <a:pt x="165601" y="466395"/>
                    <a:pt x="181284" y="489589"/>
                    <a:pt x="201054" y="509359"/>
                  </a:cubicBezTo>
                  <a:cubicBezTo>
                    <a:pt x="220847" y="529106"/>
                    <a:pt x="244018" y="544858"/>
                    <a:pt x="270317" y="556341"/>
                  </a:cubicBezTo>
                  <a:cubicBezTo>
                    <a:pt x="296639" y="567846"/>
                    <a:pt x="324992" y="573691"/>
                    <a:pt x="354944" y="573691"/>
                  </a:cubicBezTo>
                  <a:cubicBezTo>
                    <a:pt x="372294" y="573691"/>
                    <a:pt x="389073" y="571636"/>
                    <a:pt x="405373" y="567481"/>
                  </a:cubicBezTo>
                  <a:cubicBezTo>
                    <a:pt x="421559" y="563349"/>
                    <a:pt x="437151" y="557505"/>
                    <a:pt x="451875" y="550131"/>
                  </a:cubicBezTo>
                  <a:lnTo>
                    <a:pt x="451875" y="454227"/>
                  </a:lnTo>
                  <a:lnTo>
                    <a:pt x="360286" y="454227"/>
                  </a:lnTo>
                  <a:lnTo>
                    <a:pt x="360286" y="321454"/>
                  </a:lnTo>
                  <a:lnTo>
                    <a:pt x="584671" y="321454"/>
                  </a:lnTo>
                  <a:lnTo>
                    <a:pt x="584671" y="625923"/>
                  </a:lnTo>
                  <a:lnTo>
                    <a:pt x="584671" y="625923"/>
                  </a:lnTo>
                  <a:close/>
                </a:path>
              </a:pathLst>
            </a:custGeom>
            <a:solidFill>
              <a:srgbClr val="BCBEC0"/>
            </a:solidFill>
            <a:ln w="228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E57B99F4-0368-D595-A0C4-F4A47FCA6593}"/>
                </a:ext>
              </a:extLst>
            </p:cNvPr>
            <p:cNvSpPr/>
            <p:nvPr/>
          </p:nvSpPr>
          <p:spPr>
            <a:xfrm>
              <a:off x="1623286" y="361616"/>
              <a:ext cx="805997" cy="687789"/>
            </a:xfrm>
            <a:custGeom>
              <a:avLst/>
              <a:gdLst>
                <a:gd name="connsiteX0" fmla="*/ 137521 w 805997"/>
                <a:gd name="connsiteY0" fmla="*/ 687767 h 687789"/>
                <a:gd name="connsiteX1" fmla="*/ 0 w 805997"/>
                <a:gd name="connsiteY1" fmla="*/ 687767 h 687789"/>
                <a:gd name="connsiteX2" fmla="*/ 0 w 805997"/>
                <a:gd name="connsiteY2" fmla="*/ 0 h 687789"/>
                <a:gd name="connsiteX3" fmla="*/ 531115 w 805997"/>
                <a:gd name="connsiteY3" fmla="*/ 0 h 687789"/>
                <a:gd name="connsiteX4" fmla="*/ 604144 w 805997"/>
                <a:gd name="connsiteY4" fmla="*/ 9816 h 687789"/>
                <a:gd name="connsiteX5" fmla="*/ 669618 w 805997"/>
                <a:gd name="connsiteY5" fmla="*/ 37645 h 687789"/>
                <a:gd name="connsiteX6" fmla="*/ 725115 w 805997"/>
                <a:gd name="connsiteY6" fmla="*/ 80700 h 687789"/>
                <a:gd name="connsiteX7" fmla="*/ 768330 w 805997"/>
                <a:gd name="connsiteY7" fmla="*/ 136700 h 687789"/>
                <a:gd name="connsiteX8" fmla="*/ 796158 w 805997"/>
                <a:gd name="connsiteY8" fmla="*/ 202355 h 687789"/>
                <a:gd name="connsiteX9" fmla="*/ 805998 w 805997"/>
                <a:gd name="connsiteY9" fmla="*/ 275225 h 687789"/>
                <a:gd name="connsiteX10" fmla="*/ 797163 w 805997"/>
                <a:gd name="connsiteY10" fmla="*/ 344306 h 687789"/>
                <a:gd name="connsiteX11" fmla="*/ 771777 w 805997"/>
                <a:gd name="connsiteY11" fmla="*/ 408158 h 687789"/>
                <a:gd name="connsiteX12" fmla="*/ 731165 w 805997"/>
                <a:gd name="connsiteY12" fmla="*/ 463815 h 687789"/>
                <a:gd name="connsiteX13" fmla="*/ 677471 w 805997"/>
                <a:gd name="connsiteY13" fmla="*/ 507875 h 687789"/>
                <a:gd name="connsiteX14" fmla="*/ 753765 w 805997"/>
                <a:gd name="connsiteY14" fmla="*/ 687789 h 687789"/>
                <a:gd name="connsiteX15" fmla="*/ 607409 w 805997"/>
                <a:gd name="connsiteY15" fmla="*/ 687789 h 687789"/>
                <a:gd name="connsiteX16" fmla="*/ 547483 w 805997"/>
                <a:gd name="connsiteY16" fmla="*/ 549127 h 687789"/>
                <a:gd name="connsiteX17" fmla="*/ 137544 w 805997"/>
                <a:gd name="connsiteY17" fmla="*/ 550086 h 687789"/>
                <a:gd name="connsiteX18" fmla="*/ 137544 w 805997"/>
                <a:gd name="connsiteY18" fmla="*/ 687767 h 687789"/>
                <a:gd name="connsiteX19" fmla="*/ 137544 w 805997"/>
                <a:gd name="connsiteY19" fmla="*/ 687767 h 687789"/>
                <a:gd name="connsiteX20" fmla="*/ 137521 w 805997"/>
                <a:gd name="connsiteY20" fmla="*/ 137681 h 687789"/>
                <a:gd name="connsiteX21" fmla="*/ 137521 w 805997"/>
                <a:gd name="connsiteY21" fmla="*/ 412884 h 687789"/>
                <a:gd name="connsiteX22" fmla="*/ 531092 w 805997"/>
                <a:gd name="connsiteY22" fmla="*/ 412884 h 687789"/>
                <a:gd name="connsiteX23" fmla="*/ 584443 w 805997"/>
                <a:gd name="connsiteY23" fmla="*/ 402086 h 687789"/>
                <a:gd name="connsiteX24" fmla="*/ 628001 w 805997"/>
                <a:gd name="connsiteY24" fmla="*/ 372591 h 687789"/>
                <a:gd name="connsiteX25" fmla="*/ 657473 w 805997"/>
                <a:gd name="connsiteY25" fmla="*/ 328714 h 687789"/>
                <a:gd name="connsiteX26" fmla="*/ 668271 w 805997"/>
                <a:gd name="connsiteY26" fmla="*/ 275180 h 687789"/>
                <a:gd name="connsiteX27" fmla="*/ 657473 w 805997"/>
                <a:gd name="connsiteY27" fmla="*/ 221783 h 687789"/>
                <a:gd name="connsiteX28" fmla="*/ 628001 w 805997"/>
                <a:gd name="connsiteY28" fmla="*/ 177906 h 687789"/>
                <a:gd name="connsiteX29" fmla="*/ 584443 w 805997"/>
                <a:gd name="connsiteY29" fmla="*/ 148434 h 687789"/>
                <a:gd name="connsiteX30" fmla="*/ 531092 w 805997"/>
                <a:gd name="connsiteY30" fmla="*/ 137636 h 687789"/>
                <a:gd name="connsiteX31" fmla="*/ 137521 w 805997"/>
                <a:gd name="connsiteY31" fmla="*/ 137636 h 687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05997" h="687789">
                  <a:moveTo>
                    <a:pt x="137521" y="687767"/>
                  </a:moveTo>
                  <a:lnTo>
                    <a:pt x="0" y="687767"/>
                  </a:lnTo>
                  <a:lnTo>
                    <a:pt x="0" y="0"/>
                  </a:lnTo>
                  <a:lnTo>
                    <a:pt x="531115" y="0"/>
                  </a:lnTo>
                  <a:cubicBezTo>
                    <a:pt x="556478" y="0"/>
                    <a:pt x="580768" y="3265"/>
                    <a:pt x="604144" y="9816"/>
                  </a:cubicBezTo>
                  <a:cubicBezTo>
                    <a:pt x="627339" y="16300"/>
                    <a:pt x="649232" y="25705"/>
                    <a:pt x="669618" y="37645"/>
                  </a:cubicBezTo>
                  <a:cubicBezTo>
                    <a:pt x="689913" y="49516"/>
                    <a:pt x="708427" y="64012"/>
                    <a:pt x="725115" y="80700"/>
                  </a:cubicBezTo>
                  <a:cubicBezTo>
                    <a:pt x="741985" y="97571"/>
                    <a:pt x="756459" y="116290"/>
                    <a:pt x="768330" y="136700"/>
                  </a:cubicBezTo>
                  <a:cubicBezTo>
                    <a:pt x="780247" y="157109"/>
                    <a:pt x="789698" y="179138"/>
                    <a:pt x="796158" y="202355"/>
                  </a:cubicBezTo>
                  <a:cubicBezTo>
                    <a:pt x="802687" y="225687"/>
                    <a:pt x="805998" y="249999"/>
                    <a:pt x="805998" y="275225"/>
                  </a:cubicBezTo>
                  <a:cubicBezTo>
                    <a:pt x="805998" y="298967"/>
                    <a:pt x="803007" y="322116"/>
                    <a:pt x="797163" y="344306"/>
                  </a:cubicBezTo>
                  <a:cubicBezTo>
                    <a:pt x="791296" y="366701"/>
                    <a:pt x="782758" y="388114"/>
                    <a:pt x="771777" y="408158"/>
                  </a:cubicBezTo>
                  <a:cubicBezTo>
                    <a:pt x="760751" y="428293"/>
                    <a:pt x="747213" y="446899"/>
                    <a:pt x="731165" y="463815"/>
                  </a:cubicBezTo>
                  <a:cubicBezTo>
                    <a:pt x="715207" y="480663"/>
                    <a:pt x="697286" y="495410"/>
                    <a:pt x="677471" y="507875"/>
                  </a:cubicBezTo>
                  <a:lnTo>
                    <a:pt x="753765" y="687789"/>
                  </a:lnTo>
                  <a:lnTo>
                    <a:pt x="607409" y="687789"/>
                  </a:lnTo>
                  <a:lnTo>
                    <a:pt x="547483" y="549127"/>
                  </a:lnTo>
                  <a:lnTo>
                    <a:pt x="137544" y="550086"/>
                  </a:lnTo>
                  <a:lnTo>
                    <a:pt x="137544" y="687767"/>
                  </a:lnTo>
                  <a:lnTo>
                    <a:pt x="137544" y="687767"/>
                  </a:lnTo>
                  <a:close/>
                  <a:moveTo>
                    <a:pt x="137521" y="137681"/>
                  </a:moveTo>
                  <a:lnTo>
                    <a:pt x="137521" y="412884"/>
                  </a:lnTo>
                  <a:lnTo>
                    <a:pt x="531092" y="412884"/>
                  </a:lnTo>
                  <a:cubicBezTo>
                    <a:pt x="550086" y="412884"/>
                    <a:pt x="567824" y="409277"/>
                    <a:pt x="584443" y="402086"/>
                  </a:cubicBezTo>
                  <a:cubicBezTo>
                    <a:pt x="600926" y="394940"/>
                    <a:pt x="615559" y="385032"/>
                    <a:pt x="628001" y="372591"/>
                  </a:cubicBezTo>
                  <a:cubicBezTo>
                    <a:pt x="640443" y="360149"/>
                    <a:pt x="650282" y="345516"/>
                    <a:pt x="657473" y="328714"/>
                  </a:cubicBezTo>
                  <a:cubicBezTo>
                    <a:pt x="664595" y="312048"/>
                    <a:pt x="668271" y="294173"/>
                    <a:pt x="668271" y="275180"/>
                  </a:cubicBezTo>
                  <a:cubicBezTo>
                    <a:pt x="668271" y="256186"/>
                    <a:pt x="664595" y="238471"/>
                    <a:pt x="657473" y="221783"/>
                  </a:cubicBezTo>
                  <a:cubicBezTo>
                    <a:pt x="650282" y="205004"/>
                    <a:pt x="640397" y="190302"/>
                    <a:pt x="628001" y="177906"/>
                  </a:cubicBezTo>
                  <a:cubicBezTo>
                    <a:pt x="615605" y="165532"/>
                    <a:pt x="600903" y="155465"/>
                    <a:pt x="584443" y="148434"/>
                  </a:cubicBezTo>
                  <a:cubicBezTo>
                    <a:pt x="567778" y="141334"/>
                    <a:pt x="549972" y="137636"/>
                    <a:pt x="531092" y="137636"/>
                  </a:cubicBezTo>
                  <a:lnTo>
                    <a:pt x="137521" y="137636"/>
                  </a:lnTo>
                  <a:close/>
                </a:path>
              </a:pathLst>
            </a:custGeom>
            <a:solidFill>
              <a:srgbClr val="BCBEC0"/>
            </a:solidFill>
            <a:ln w="228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8A63CB1F-5291-ADB0-26F4-EEA84FE6F036}"/>
                </a:ext>
              </a:extLst>
            </p:cNvPr>
            <p:cNvSpPr/>
            <p:nvPr/>
          </p:nvSpPr>
          <p:spPr>
            <a:xfrm>
              <a:off x="1082743" y="564862"/>
              <a:ext cx="467536" cy="484520"/>
            </a:xfrm>
            <a:custGeom>
              <a:avLst/>
              <a:gdLst>
                <a:gd name="connsiteX0" fmla="*/ 310793 w 467536"/>
                <a:gd name="connsiteY0" fmla="*/ 484521 h 484520"/>
                <a:gd name="connsiteX1" fmla="*/ 173568 w 467536"/>
                <a:gd name="connsiteY1" fmla="*/ 484521 h 484520"/>
                <a:gd name="connsiteX2" fmla="*/ 173568 w 467536"/>
                <a:gd name="connsiteY2" fmla="*/ 137704 h 484520"/>
                <a:gd name="connsiteX3" fmla="*/ 0 w 467536"/>
                <a:gd name="connsiteY3" fmla="*/ 137704 h 484520"/>
                <a:gd name="connsiteX4" fmla="*/ 0 w 467536"/>
                <a:gd name="connsiteY4" fmla="*/ 0 h 484520"/>
                <a:gd name="connsiteX5" fmla="*/ 467536 w 467536"/>
                <a:gd name="connsiteY5" fmla="*/ 0 h 484520"/>
                <a:gd name="connsiteX6" fmla="*/ 467536 w 467536"/>
                <a:gd name="connsiteY6" fmla="*/ 137704 h 484520"/>
                <a:gd name="connsiteX7" fmla="*/ 310793 w 467536"/>
                <a:gd name="connsiteY7" fmla="*/ 137704 h 484520"/>
                <a:gd name="connsiteX8" fmla="*/ 310793 w 467536"/>
                <a:gd name="connsiteY8" fmla="*/ 484521 h 484520"/>
                <a:gd name="connsiteX9" fmla="*/ 310793 w 467536"/>
                <a:gd name="connsiteY9" fmla="*/ 484521 h 48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7536" h="484520">
                  <a:moveTo>
                    <a:pt x="310793" y="484521"/>
                  </a:moveTo>
                  <a:lnTo>
                    <a:pt x="173568" y="484521"/>
                  </a:lnTo>
                  <a:lnTo>
                    <a:pt x="173568" y="137704"/>
                  </a:lnTo>
                  <a:lnTo>
                    <a:pt x="0" y="137704"/>
                  </a:lnTo>
                  <a:lnTo>
                    <a:pt x="0" y="0"/>
                  </a:lnTo>
                  <a:lnTo>
                    <a:pt x="467536" y="0"/>
                  </a:lnTo>
                  <a:lnTo>
                    <a:pt x="467536" y="137704"/>
                  </a:lnTo>
                  <a:lnTo>
                    <a:pt x="310793" y="137704"/>
                  </a:lnTo>
                  <a:lnTo>
                    <a:pt x="310793" y="484521"/>
                  </a:lnTo>
                  <a:lnTo>
                    <a:pt x="310793" y="484521"/>
                  </a:lnTo>
                  <a:close/>
                </a:path>
              </a:pathLst>
            </a:custGeom>
            <a:solidFill>
              <a:srgbClr val="BCBEC0"/>
            </a:solidFill>
            <a:ln w="228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6285D3EA-AE16-C8D3-B537-193D770B8667}"/>
                </a:ext>
              </a:extLst>
            </p:cNvPr>
            <p:cNvSpPr/>
            <p:nvPr/>
          </p:nvSpPr>
          <p:spPr>
            <a:xfrm>
              <a:off x="507272" y="361616"/>
              <a:ext cx="1043007" cy="687789"/>
            </a:xfrm>
            <a:custGeom>
              <a:avLst/>
              <a:gdLst>
                <a:gd name="connsiteX0" fmla="*/ 0 w 1043007"/>
                <a:gd name="connsiteY0" fmla="*/ 206282 h 687789"/>
                <a:gd name="connsiteX1" fmla="*/ 16209 w 1043007"/>
                <a:gd name="connsiteY1" fmla="*/ 126061 h 687789"/>
                <a:gd name="connsiteX2" fmla="*/ 60588 w 1043007"/>
                <a:gd name="connsiteY2" fmla="*/ 60565 h 687789"/>
                <a:gd name="connsiteX3" fmla="*/ 126084 w 1043007"/>
                <a:gd name="connsiteY3" fmla="*/ 16209 h 687789"/>
                <a:gd name="connsiteX4" fmla="*/ 206145 w 1043007"/>
                <a:gd name="connsiteY4" fmla="*/ 0 h 687789"/>
                <a:gd name="connsiteX5" fmla="*/ 1043008 w 1043007"/>
                <a:gd name="connsiteY5" fmla="*/ 0 h 687789"/>
                <a:gd name="connsiteX6" fmla="*/ 1043008 w 1043007"/>
                <a:gd name="connsiteY6" fmla="*/ 137681 h 687789"/>
                <a:gd name="connsiteX7" fmla="*/ 206145 w 1043007"/>
                <a:gd name="connsiteY7" fmla="*/ 137681 h 687789"/>
                <a:gd name="connsiteX8" fmla="*/ 179275 w 1043007"/>
                <a:gd name="connsiteY8" fmla="*/ 142909 h 687789"/>
                <a:gd name="connsiteX9" fmla="*/ 157497 w 1043007"/>
                <a:gd name="connsiteY9" fmla="*/ 157497 h 687789"/>
                <a:gd name="connsiteX10" fmla="*/ 142932 w 1043007"/>
                <a:gd name="connsiteY10" fmla="*/ 179253 h 687789"/>
                <a:gd name="connsiteX11" fmla="*/ 137499 w 1043007"/>
                <a:gd name="connsiteY11" fmla="*/ 206282 h 687789"/>
                <a:gd name="connsiteX12" fmla="*/ 142932 w 1043007"/>
                <a:gd name="connsiteY12" fmla="*/ 233289 h 687789"/>
                <a:gd name="connsiteX13" fmla="*/ 157497 w 1043007"/>
                <a:gd name="connsiteY13" fmla="*/ 255387 h 687789"/>
                <a:gd name="connsiteX14" fmla="*/ 179275 w 1043007"/>
                <a:gd name="connsiteY14" fmla="*/ 269975 h 687789"/>
                <a:gd name="connsiteX15" fmla="*/ 206145 w 1043007"/>
                <a:gd name="connsiteY15" fmla="*/ 275203 h 687789"/>
                <a:gd name="connsiteX16" fmla="*/ 343826 w 1043007"/>
                <a:gd name="connsiteY16" fmla="*/ 275203 h 687789"/>
                <a:gd name="connsiteX17" fmla="*/ 424184 w 1043007"/>
                <a:gd name="connsiteY17" fmla="*/ 291411 h 687789"/>
                <a:gd name="connsiteX18" fmla="*/ 489863 w 1043007"/>
                <a:gd name="connsiteY18" fmla="*/ 335448 h 687789"/>
                <a:gd name="connsiteX19" fmla="*/ 534060 w 1043007"/>
                <a:gd name="connsiteY19" fmla="*/ 401104 h 687789"/>
                <a:gd name="connsiteX20" fmla="*/ 550131 w 1043007"/>
                <a:gd name="connsiteY20" fmla="*/ 481485 h 687789"/>
                <a:gd name="connsiteX21" fmla="*/ 534060 w 1043007"/>
                <a:gd name="connsiteY21" fmla="*/ 561705 h 687789"/>
                <a:gd name="connsiteX22" fmla="*/ 489863 w 1043007"/>
                <a:gd name="connsiteY22" fmla="*/ 627042 h 687789"/>
                <a:gd name="connsiteX23" fmla="*/ 424184 w 1043007"/>
                <a:gd name="connsiteY23" fmla="*/ 671421 h 687789"/>
                <a:gd name="connsiteX24" fmla="*/ 343826 w 1043007"/>
                <a:gd name="connsiteY24" fmla="*/ 687789 h 687789"/>
                <a:gd name="connsiteX25" fmla="*/ 38307 w 1043007"/>
                <a:gd name="connsiteY25" fmla="*/ 687789 h 687789"/>
                <a:gd name="connsiteX26" fmla="*/ 38307 w 1043007"/>
                <a:gd name="connsiteY26" fmla="*/ 550108 h 687789"/>
                <a:gd name="connsiteX27" fmla="*/ 343826 w 1043007"/>
                <a:gd name="connsiteY27" fmla="*/ 550108 h 687789"/>
                <a:gd name="connsiteX28" fmla="*/ 370650 w 1043007"/>
                <a:gd name="connsiteY28" fmla="*/ 544881 h 687789"/>
                <a:gd name="connsiteX29" fmla="*/ 392589 w 1043007"/>
                <a:gd name="connsiteY29" fmla="*/ 530293 h 687789"/>
                <a:gd name="connsiteX30" fmla="*/ 407154 w 1043007"/>
                <a:gd name="connsiteY30" fmla="*/ 508354 h 687789"/>
                <a:gd name="connsiteX31" fmla="*/ 412404 w 1043007"/>
                <a:gd name="connsiteY31" fmla="*/ 481507 h 687789"/>
                <a:gd name="connsiteX32" fmla="*/ 407154 w 1043007"/>
                <a:gd name="connsiteY32" fmla="*/ 454661 h 687789"/>
                <a:gd name="connsiteX33" fmla="*/ 392589 w 1043007"/>
                <a:gd name="connsiteY33" fmla="*/ 432882 h 687789"/>
                <a:gd name="connsiteX34" fmla="*/ 370650 w 1043007"/>
                <a:gd name="connsiteY34" fmla="*/ 418317 h 687789"/>
                <a:gd name="connsiteX35" fmla="*/ 343826 w 1043007"/>
                <a:gd name="connsiteY35" fmla="*/ 412907 h 687789"/>
                <a:gd name="connsiteX36" fmla="*/ 206145 w 1043007"/>
                <a:gd name="connsiteY36" fmla="*/ 412907 h 687789"/>
                <a:gd name="connsiteX37" fmla="*/ 126084 w 1043007"/>
                <a:gd name="connsiteY37" fmla="*/ 396698 h 687789"/>
                <a:gd name="connsiteX38" fmla="*/ 60588 w 1043007"/>
                <a:gd name="connsiteY38" fmla="*/ 352341 h 687789"/>
                <a:gd name="connsiteX39" fmla="*/ 16209 w 1043007"/>
                <a:gd name="connsiteY39" fmla="*/ 286526 h 687789"/>
                <a:gd name="connsiteX40" fmla="*/ 0 w 1043007"/>
                <a:gd name="connsiteY40" fmla="*/ 206282 h 687789"/>
                <a:gd name="connsiteX41" fmla="*/ 0 w 1043007"/>
                <a:gd name="connsiteY41" fmla="*/ 206282 h 687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043007" h="687789">
                  <a:moveTo>
                    <a:pt x="0" y="206282"/>
                  </a:moveTo>
                  <a:cubicBezTo>
                    <a:pt x="0" y="177792"/>
                    <a:pt x="5410" y="151105"/>
                    <a:pt x="16209" y="126061"/>
                  </a:cubicBezTo>
                  <a:cubicBezTo>
                    <a:pt x="27166" y="101155"/>
                    <a:pt x="41914" y="79399"/>
                    <a:pt x="60588" y="60565"/>
                  </a:cubicBezTo>
                  <a:cubicBezTo>
                    <a:pt x="79239" y="41914"/>
                    <a:pt x="101155" y="27075"/>
                    <a:pt x="126084" y="16209"/>
                  </a:cubicBezTo>
                  <a:cubicBezTo>
                    <a:pt x="150922" y="5319"/>
                    <a:pt x="177814" y="0"/>
                    <a:pt x="206145" y="0"/>
                  </a:cubicBezTo>
                  <a:lnTo>
                    <a:pt x="1043008" y="0"/>
                  </a:lnTo>
                  <a:lnTo>
                    <a:pt x="1043008" y="137681"/>
                  </a:lnTo>
                  <a:lnTo>
                    <a:pt x="206145" y="137681"/>
                  </a:lnTo>
                  <a:cubicBezTo>
                    <a:pt x="196648" y="137681"/>
                    <a:pt x="187631" y="139393"/>
                    <a:pt x="179275" y="142909"/>
                  </a:cubicBezTo>
                  <a:cubicBezTo>
                    <a:pt x="170943" y="146425"/>
                    <a:pt x="163706" y="151242"/>
                    <a:pt x="157497" y="157497"/>
                  </a:cubicBezTo>
                  <a:cubicBezTo>
                    <a:pt x="151264" y="163729"/>
                    <a:pt x="146356" y="171080"/>
                    <a:pt x="142932" y="179253"/>
                  </a:cubicBezTo>
                  <a:cubicBezTo>
                    <a:pt x="139325" y="187631"/>
                    <a:pt x="137499" y="196625"/>
                    <a:pt x="137499" y="206282"/>
                  </a:cubicBezTo>
                  <a:cubicBezTo>
                    <a:pt x="137499" y="215939"/>
                    <a:pt x="139302" y="224773"/>
                    <a:pt x="142932" y="233289"/>
                  </a:cubicBezTo>
                  <a:cubicBezTo>
                    <a:pt x="146356" y="241804"/>
                    <a:pt x="151264" y="249178"/>
                    <a:pt x="157497" y="255387"/>
                  </a:cubicBezTo>
                  <a:cubicBezTo>
                    <a:pt x="163706" y="261619"/>
                    <a:pt x="170920" y="266528"/>
                    <a:pt x="179275" y="269975"/>
                  </a:cubicBezTo>
                  <a:cubicBezTo>
                    <a:pt x="187608" y="273582"/>
                    <a:pt x="196625" y="275203"/>
                    <a:pt x="206145" y="275203"/>
                  </a:cubicBezTo>
                  <a:lnTo>
                    <a:pt x="343826" y="275203"/>
                  </a:lnTo>
                  <a:cubicBezTo>
                    <a:pt x="372294" y="275203"/>
                    <a:pt x="399141" y="280613"/>
                    <a:pt x="424184" y="291411"/>
                  </a:cubicBezTo>
                  <a:cubicBezTo>
                    <a:pt x="449250" y="302049"/>
                    <a:pt x="471189" y="316797"/>
                    <a:pt x="489863" y="335448"/>
                  </a:cubicBezTo>
                  <a:cubicBezTo>
                    <a:pt x="508514" y="354099"/>
                    <a:pt x="523262" y="376061"/>
                    <a:pt x="534060" y="401104"/>
                  </a:cubicBezTo>
                  <a:cubicBezTo>
                    <a:pt x="544721" y="426330"/>
                    <a:pt x="550131" y="452994"/>
                    <a:pt x="550131" y="481485"/>
                  </a:cubicBezTo>
                  <a:cubicBezTo>
                    <a:pt x="550131" y="509975"/>
                    <a:pt x="544721" y="536639"/>
                    <a:pt x="534060" y="561705"/>
                  </a:cubicBezTo>
                  <a:cubicBezTo>
                    <a:pt x="523262" y="586589"/>
                    <a:pt x="508537" y="608368"/>
                    <a:pt x="489863" y="627042"/>
                  </a:cubicBezTo>
                  <a:cubicBezTo>
                    <a:pt x="471189" y="645876"/>
                    <a:pt x="449250" y="660600"/>
                    <a:pt x="424184" y="671421"/>
                  </a:cubicBezTo>
                  <a:cubicBezTo>
                    <a:pt x="399141" y="682379"/>
                    <a:pt x="372294" y="687789"/>
                    <a:pt x="343826" y="687789"/>
                  </a:cubicBezTo>
                  <a:lnTo>
                    <a:pt x="38307" y="687789"/>
                  </a:lnTo>
                  <a:lnTo>
                    <a:pt x="38307" y="550108"/>
                  </a:lnTo>
                  <a:lnTo>
                    <a:pt x="343826" y="550108"/>
                  </a:lnTo>
                  <a:cubicBezTo>
                    <a:pt x="353460" y="550108"/>
                    <a:pt x="362318" y="548305"/>
                    <a:pt x="370650" y="544881"/>
                  </a:cubicBezTo>
                  <a:cubicBezTo>
                    <a:pt x="379006" y="541274"/>
                    <a:pt x="386220" y="536502"/>
                    <a:pt x="392589" y="530293"/>
                  </a:cubicBezTo>
                  <a:cubicBezTo>
                    <a:pt x="398821" y="524061"/>
                    <a:pt x="403547" y="516710"/>
                    <a:pt x="407154" y="508354"/>
                  </a:cubicBezTo>
                  <a:cubicBezTo>
                    <a:pt x="410601" y="500181"/>
                    <a:pt x="412404" y="491164"/>
                    <a:pt x="412404" y="481507"/>
                  </a:cubicBezTo>
                  <a:cubicBezTo>
                    <a:pt x="412404" y="471851"/>
                    <a:pt x="410601" y="463016"/>
                    <a:pt x="407154" y="454661"/>
                  </a:cubicBezTo>
                  <a:cubicBezTo>
                    <a:pt x="403547" y="446328"/>
                    <a:pt x="398821" y="439114"/>
                    <a:pt x="392589" y="432882"/>
                  </a:cubicBezTo>
                  <a:cubicBezTo>
                    <a:pt x="386220" y="426650"/>
                    <a:pt x="379006" y="421741"/>
                    <a:pt x="370650" y="418317"/>
                  </a:cubicBezTo>
                  <a:cubicBezTo>
                    <a:pt x="362318" y="414710"/>
                    <a:pt x="353460" y="412907"/>
                    <a:pt x="343826" y="412907"/>
                  </a:cubicBezTo>
                  <a:lnTo>
                    <a:pt x="206145" y="412907"/>
                  </a:lnTo>
                  <a:cubicBezTo>
                    <a:pt x="177814" y="412907"/>
                    <a:pt x="150945" y="407519"/>
                    <a:pt x="126084" y="396698"/>
                  </a:cubicBezTo>
                  <a:cubicBezTo>
                    <a:pt x="101201" y="385740"/>
                    <a:pt x="79262" y="370993"/>
                    <a:pt x="60588" y="352341"/>
                  </a:cubicBezTo>
                  <a:cubicBezTo>
                    <a:pt x="41914" y="333508"/>
                    <a:pt x="27189" y="311729"/>
                    <a:pt x="16209" y="286526"/>
                  </a:cubicBezTo>
                  <a:cubicBezTo>
                    <a:pt x="5410" y="261460"/>
                    <a:pt x="0" y="234613"/>
                    <a:pt x="0" y="206282"/>
                  </a:cubicBezTo>
                  <a:lnTo>
                    <a:pt x="0" y="206282"/>
                  </a:lnTo>
                  <a:close/>
                </a:path>
              </a:pathLst>
            </a:custGeom>
            <a:solidFill>
              <a:srgbClr val="BCBEC0"/>
            </a:solidFill>
            <a:ln w="2280" cap="flat">
              <a:noFill/>
              <a:prstDash val="solid"/>
              <a:miter/>
            </a:ln>
          </p:spPr>
          <p:txBody>
            <a:bodyPr rtlCol="0" anchor="ctr"/>
            <a:lstStyle/>
            <a:p>
              <a:endParaRPr lang="en-US"/>
            </a:p>
          </p:txBody>
        </p:sp>
      </p:grpSp>
      <p:sp>
        <p:nvSpPr>
          <p:cNvPr id="27" name="Freeform: Shape 26">
            <a:extLst>
              <a:ext uri="{FF2B5EF4-FFF2-40B4-BE49-F238E27FC236}">
                <a16:creationId xmlns:a16="http://schemas.microsoft.com/office/drawing/2014/main" id="{94AF10F8-A930-B0A3-6D58-DD6AA0D10B0A}"/>
              </a:ext>
            </a:extLst>
          </p:cNvPr>
          <p:cNvSpPr/>
          <p:nvPr/>
        </p:nvSpPr>
        <p:spPr>
          <a:xfrm>
            <a:off x="3027675" y="346070"/>
            <a:ext cx="549469" cy="703335"/>
          </a:xfrm>
          <a:custGeom>
            <a:avLst/>
            <a:gdLst>
              <a:gd name="connsiteX0" fmla="*/ 411948 w 549469"/>
              <a:gd name="connsiteY0" fmla="*/ 467924 h 703335"/>
              <a:gd name="connsiteX1" fmla="*/ 147178 w 549469"/>
              <a:gd name="connsiteY1" fmla="*/ 15546 h 703335"/>
              <a:gd name="connsiteX2" fmla="*/ 0 w 549469"/>
              <a:gd name="connsiteY2" fmla="*/ 15546 h 703335"/>
              <a:gd name="connsiteX3" fmla="*/ 0 w 549469"/>
              <a:gd name="connsiteY3" fmla="*/ 703313 h 703335"/>
              <a:gd name="connsiteX4" fmla="*/ 137521 w 549469"/>
              <a:gd name="connsiteY4" fmla="*/ 703313 h 703335"/>
              <a:gd name="connsiteX5" fmla="*/ 137521 w 549469"/>
              <a:gd name="connsiteY5" fmla="*/ 250479 h 703335"/>
              <a:gd name="connsiteX6" fmla="*/ 402908 w 549469"/>
              <a:gd name="connsiteY6" fmla="*/ 703336 h 703335"/>
              <a:gd name="connsiteX7" fmla="*/ 549469 w 549469"/>
              <a:gd name="connsiteY7" fmla="*/ 703336 h 703335"/>
              <a:gd name="connsiteX8" fmla="*/ 549469 w 549469"/>
              <a:gd name="connsiteY8" fmla="*/ 0 h 703335"/>
              <a:gd name="connsiteX9" fmla="*/ 411948 w 549469"/>
              <a:gd name="connsiteY9" fmla="*/ 0 h 703335"/>
              <a:gd name="connsiteX10" fmla="*/ 411948 w 549469"/>
              <a:gd name="connsiteY10" fmla="*/ 467924 h 703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9469" h="703335">
                <a:moveTo>
                  <a:pt x="411948" y="467924"/>
                </a:moveTo>
                <a:lnTo>
                  <a:pt x="147178" y="15546"/>
                </a:lnTo>
                <a:lnTo>
                  <a:pt x="0" y="15546"/>
                </a:lnTo>
                <a:lnTo>
                  <a:pt x="0" y="703313"/>
                </a:lnTo>
                <a:lnTo>
                  <a:pt x="137521" y="703313"/>
                </a:lnTo>
                <a:lnTo>
                  <a:pt x="137521" y="250479"/>
                </a:lnTo>
                <a:lnTo>
                  <a:pt x="402908" y="703336"/>
                </a:lnTo>
                <a:lnTo>
                  <a:pt x="549469" y="703336"/>
                </a:lnTo>
                <a:lnTo>
                  <a:pt x="549469" y="0"/>
                </a:lnTo>
                <a:lnTo>
                  <a:pt x="411948" y="0"/>
                </a:lnTo>
                <a:lnTo>
                  <a:pt x="411948" y="467924"/>
                </a:lnTo>
                <a:close/>
              </a:path>
            </a:pathLst>
          </a:custGeom>
          <a:solidFill>
            <a:srgbClr val="BCBEC0"/>
          </a:solidFill>
          <a:ln w="2280"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1939A3A9-D90B-B5DC-1AED-913A34A3D541}"/>
              </a:ext>
            </a:extLst>
          </p:cNvPr>
          <p:cNvSpPr/>
          <p:nvPr/>
        </p:nvSpPr>
        <p:spPr>
          <a:xfrm>
            <a:off x="2467659" y="353945"/>
            <a:ext cx="507030" cy="507007"/>
          </a:xfrm>
          <a:custGeom>
            <a:avLst/>
            <a:gdLst>
              <a:gd name="connsiteX0" fmla="*/ 507030 w 507030"/>
              <a:gd name="connsiteY0" fmla="*/ 253310 h 507007"/>
              <a:gd name="connsiteX1" fmla="*/ 497921 w 507030"/>
              <a:gd name="connsiteY1" fmla="*/ 320541 h 507007"/>
              <a:gd name="connsiteX2" fmla="*/ 472513 w 507030"/>
              <a:gd name="connsiteY2" fmla="*/ 380992 h 507007"/>
              <a:gd name="connsiteX3" fmla="*/ 432813 w 507030"/>
              <a:gd name="connsiteY3" fmla="*/ 432448 h 507007"/>
              <a:gd name="connsiteX4" fmla="*/ 381563 w 507030"/>
              <a:gd name="connsiteY4" fmla="*/ 472216 h 507007"/>
              <a:gd name="connsiteX5" fmla="*/ 321020 w 507030"/>
              <a:gd name="connsiteY5" fmla="*/ 497899 h 507007"/>
              <a:gd name="connsiteX6" fmla="*/ 253698 w 507030"/>
              <a:gd name="connsiteY6" fmla="*/ 507007 h 507007"/>
              <a:gd name="connsiteX7" fmla="*/ 186467 w 507030"/>
              <a:gd name="connsiteY7" fmla="*/ 497899 h 507007"/>
              <a:gd name="connsiteX8" fmla="*/ 126016 w 507030"/>
              <a:gd name="connsiteY8" fmla="*/ 472216 h 507007"/>
              <a:gd name="connsiteX9" fmla="*/ 74559 w 507030"/>
              <a:gd name="connsiteY9" fmla="*/ 432448 h 507007"/>
              <a:gd name="connsiteX10" fmla="*/ 34654 w 507030"/>
              <a:gd name="connsiteY10" fmla="*/ 380992 h 507007"/>
              <a:gd name="connsiteX11" fmla="*/ 9109 w 507030"/>
              <a:gd name="connsiteY11" fmla="*/ 320541 h 507007"/>
              <a:gd name="connsiteX12" fmla="*/ 0 w 507030"/>
              <a:gd name="connsiteY12" fmla="*/ 253310 h 507007"/>
              <a:gd name="connsiteX13" fmla="*/ 9109 w 507030"/>
              <a:gd name="connsiteY13" fmla="*/ 185987 h 507007"/>
              <a:gd name="connsiteX14" fmla="*/ 34654 w 507030"/>
              <a:gd name="connsiteY14" fmla="*/ 125445 h 507007"/>
              <a:gd name="connsiteX15" fmla="*/ 74559 w 507030"/>
              <a:gd name="connsiteY15" fmla="*/ 74194 h 507007"/>
              <a:gd name="connsiteX16" fmla="*/ 126016 w 507030"/>
              <a:gd name="connsiteY16" fmla="*/ 34517 h 507007"/>
              <a:gd name="connsiteX17" fmla="*/ 186467 w 507030"/>
              <a:gd name="connsiteY17" fmla="*/ 9086 h 507007"/>
              <a:gd name="connsiteX18" fmla="*/ 253698 w 507030"/>
              <a:gd name="connsiteY18" fmla="*/ 0 h 507007"/>
              <a:gd name="connsiteX19" fmla="*/ 321020 w 507030"/>
              <a:gd name="connsiteY19" fmla="*/ 9086 h 507007"/>
              <a:gd name="connsiteX20" fmla="*/ 381563 w 507030"/>
              <a:gd name="connsiteY20" fmla="*/ 34517 h 507007"/>
              <a:gd name="connsiteX21" fmla="*/ 432813 w 507030"/>
              <a:gd name="connsiteY21" fmla="*/ 74194 h 507007"/>
              <a:gd name="connsiteX22" fmla="*/ 472513 w 507030"/>
              <a:gd name="connsiteY22" fmla="*/ 125445 h 507007"/>
              <a:gd name="connsiteX23" fmla="*/ 497921 w 507030"/>
              <a:gd name="connsiteY23" fmla="*/ 185987 h 507007"/>
              <a:gd name="connsiteX24" fmla="*/ 507030 w 507030"/>
              <a:gd name="connsiteY24" fmla="*/ 253310 h 507007"/>
              <a:gd name="connsiteX25" fmla="*/ 507030 w 507030"/>
              <a:gd name="connsiteY25" fmla="*/ 253310 h 507007"/>
              <a:gd name="connsiteX26" fmla="*/ 382293 w 507030"/>
              <a:gd name="connsiteY26" fmla="*/ 264199 h 507007"/>
              <a:gd name="connsiteX27" fmla="*/ 372066 w 507030"/>
              <a:gd name="connsiteY27" fmla="*/ 214135 h 507007"/>
              <a:gd name="connsiteX28" fmla="*/ 344603 w 507030"/>
              <a:gd name="connsiteY28" fmla="*/ 173203 h 507007"/>
              <a:gd name="connsiteX29" fmla="*/ 303716 w 507030"/>
              <a:gd name="connsiteY29" fmla="*/ 145694 h 507007"/>
              <a:gd name="connsiteX30" fmla="*/ 253698 w 507030"/>
              <a:gd name="connsiteY30" fmla="*/ 135581 h 507007"/>
              <a:gd name="connsiteX31" fmla="*/ 203543 w 507030"/>
              <a:gd name="connsiteY31" fmla="*/ 145694 h 507007"/>
              <a:gd name="connsiteX32" fmla="*/ 162610 w 507030"/>
              <a:gd name="connsiteY32" fmla="*/ 173203 h 507007"/>
              <a:gd name="connsiteX33" fmla="*/ 134987 w 507030"/>
              <a:gd name="connsiteY33" fmla="*/ 214135 h 507007"/>
              <a:gd name="connsiteX34" fmla="*/ 124783 w 507030"/>
              <a:gd name="connsiteY34" fmla="*/ 264199 h 507007"/>
              <a:gd name="connsiteX35" fmla="*/ 134987 w 507030"/>
              <a:gd name="connsiteY35" fmla="*/ 313989 h 507007"/>
              <a:gd name="connsiteX36" fmla="*/ 162610 w 507030"/>
              <a:gd name="connsiteY36" fmla="*/ 354693 h 507007"/>
              <a:gd name="connsiteX37" fmla="*/ 203543 w 507030"/>
              <a:gd name="connsiteY37" fmla="*/ 382407 h 507007"/>
              <a:gd name="connsiteX38" fmla="*/ 253698 w 507030"/>
              <a:gd name="connsiteY38" fmla="*/ 392498 h 507007"/>
              <a:gd name="connsiteX39" fmla="*/ 303716 w 507030"/>
              <a:gd name="connsiteY39" fmla="*/ 382407 h 507007"/>
              <a:gd name="connsiteX40" fmla="*/ 344603 w 507030"/>
              <a:gd name="connsiteY40" fmla="*/ 354693 h 507007"/>
              <a:gd name="connsiteX41" fmla="*/ 372066 w 507030"/>
              <a:gd name="connsiteY41" fmla="*/ 313989 h 507007"/>
              <a:gd name="connsiteX42" fmla="*/ 382293 w 507030"/>
              <a:gd name="connsiteY42" fmla="*/ 264199 h 507007"/>
              <a:gd name="connsiteX43" fmla="*/ 382293 w 507030"/>
              <a:gd name="connsiteY43" fmla="*/ 264199 h 507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07030" h="507007">
                <a:moveTo>
                  <a:pt x="507030" y="253310"/>
                </a:moveTo>
                <a:cubicBezTo>
                  <a:pt x="507030" y="276549"/>
                  <a:pt x="504017" y="298945"/>
                  <a:pt x="497921" y="320541"/>
                </a:cubicBezTo>
                <a:cubicBezTo>
                  <a:pt x="491872" y="342000"/>
                  <a:pt x="483471" y="362204"/>
                  <a:pt x="472513" y="380992"/>
                </a:cubicBezTo>
                <a:cubicBezTo>
                  <a:pt x="461532" y="399803"/>
                  <a:pt x="448337" y="416947"/>
                  <a:pt x="432813" y="432448"/>
                </a:cubicBezTo>
                <a:cubicBezTo>
                  <a:pt x="417290" y="447972"/>
                  <a:pt x="400260" y="461258"/>
                  <a:pt x="381563" y="472216"/>
                </a:cubicBezTo>
                <a:cubicBezTo>
                  <a:pt x="362774" y="483311"/>
                  <a:pt x="342708" y="491849"/>
                  <a:pt x="321020" y="497899"/>
                </a:cubicBezTo>
                <a:cubicBezTo>
                  <a:pt x="299424" y="503971"/>
                  <a:pt x="276892" y="507007"/>
                  <a:pt x="253698" y="507007"/>
                </a:cubicBezTo>
                <a:cubicBezTo>
                  <a:pt x="230504" y="507007"/>
                  <a:pt x="208063" y="503971"/>
                  <a:pt x="186467" y="497899"/>
                </a:cubicBezTo>
                <a:cubicBezTo>
                  <a:pt x="165007" y="491849"/>
                  <a:pt x="144827" y="483311"/>
                  <a:pt x="126016" y="472216"/>
                </a:cubicBezTo>
                <a:cubicBezTo>
                  <a:pt x="107205" y="461258"/>
                  <a:pt x="90060" y="447972"/>
                  <a:pt x="74559" y="432448"/>
                </a:cubicBezTo>
                <a:cubicBezTo>
                  <a:pt x="59036" y="416924"/>
                  <a:pt x="45726" y="399780"/>
                  <a:pt x="34654" y="380992"/>
                </a:cubicBezTo>
                <a:cubicBezTo>
                  <a:pt x="23696" y="362204"/>
                  <a:pt x="15158" y="342023"/>
                  <a:pt x="9109" y="320541"/>
                </a:cubicBezTo>
                <a:cubicBezTo>
                  <a:pt x="3036" y="298945"/>
                  <a:pt x="0" y="276549"/>
                  <a:pt x="0" y="253310"/>
                </a:cubicBezTo>
                <a:cubicBezTo>
                  <a:pt x="0" y="230070"/>
                  <a:pt x="3036" y="207560"/>
                  <a:pt x="9109" y="185987"/>
                </a:cubicBezTo>
                <a:cubicBezTo>
                  <a:pt x="15158" y="164277"/>
                  <a:pt x="23696" y="144096"/>
                  <a:pt x="34654" y="125445"/>
                </a:cubicBezTo>
                <a:cubicBezTo>
                  <a:pt x="45749" y="106771"/>
                  <a:pt x="59058" y="89740"/>
                  <a:pt x="74559" y="74194"/>
                </a:cubicBezTo>
                <a:cubicBezTo>
                  <a:pt x="90083" y="58693"/>
                  <a:pt x="107227" y="45498"/>
                  <a:pt x="126016" y="34517"/>
                </a:cubicBezTo>
                <a:cubicBezTo>
                  <a:pt x="144827" y="23559"/>
                  <a:pt x="164985" y="15021"/>
                  <a:pt x="186467" y="9086"/>
                </a:cubicBezTo>
                <a:cubicBezTo>
                  <a:pt x="208063" y="3036"/>
                  <a:pt x="230458" y="0"/>
                  <a:pt x="253698" y="0"/>
                </a:cubicBezTo>
                <a:cubicBezTo>
                  <a:pt x="276938" y="0"/>
                  <a:pt x="299447" y="3036"/>
                  <a:pt x="321020" y="9086"/>
                </a:cubicBezTo>
                <a:cubicBezTo>
                  <a:pt x="342708" y="15021"/>
                  <a:pt x="362774" y="23559"/>
                  <a:pt x="381563" y="34517"/>
                </a:cubicBezTo>
                <a:cubicBezTo>
                  <a:pt x="400260" y="45498"/>
                  <a:pt x="417267" y="58693"/>
                  <a:pt x="432813" y="74194"/>
                </a:cubicBezTo>
                <a:cubicBezTo>
                  <a:pt x="448337" y="89740"/>
                  <a:pt x="461532" y="106771"/>
                  <a:pt x="472513" y="125445"/>
                </a:cubicBezTo>
                <a:cubicBezTo>
                  <a:pt x="483471" y="144096"/>
                  <a:pt x="491895" y="164277"/>
                  <a:pt x="497921" y="185987"/>
                </a:cubicBezTo>
                <a:cubicBezTo>
                  <a:pt x="504017" y="207583"/>
                  <a:pt x="507030" y="230115"/>
                  <a:pt x="507030" y="253310"/>
                </a:cubicBezTo>
                <a:lnTo>
                  <a:pt x="507030" y="253310"/>
                </a:lnTo>
                <a:close/>
                <a:moveTo>
                  <a:pt x="382293" y="264199"/>
                </a:moveTo>
                <a:cubicBezTo>
                  <a:pt x="382293" y="246484"/>
                  <a:pt x="378937" y="229841"/>
                  <a:pt x="372066" y="214135"/>
                </a:cubicBezTo>
                <a:cubicBezTo>
                  <a:pt x="365331" y="198452"/>
                  <a:pt x="356200" y="184777"/>
                  <a:pt x="344603" y="173203"/>
                </a:cubicBezTo>
                <a:cubicBezTo>
                  <a:pt x="333074" y="161674"/>
                  <a:pt x="319422" y="152497"/>
                  <a:pt x="303716" y="145694"/>
                </a:cubicBezTo>
                <a:cubicBezTo>
                  <a:pt x="288033" y="138960"/>
                  <a:pt x="271367" y="135581"/>
                  <a:pt x="253698" y="135581"/>
                </a:cubicBezTo>
                <a:cubicBezTo>
                  <a:pt x="236028" y="135581"/>
                  <a:pt x="219135" y="138937"/>
                  <a:pt x="203543" y="145694"/>
                </a:cubicBezTo>
                <a:cubicBezTo>
                  <a:pt x="187814" y="152497"/>
                  <a:pt x="174253" y="161674"/>
                  <a:pt x="162610" y="173203"/>
                </a:cubicBezTo>
                <a:cubicBezTo>
                  <a:pt x="150968" y="184777"/>
                  <a:pt x="141722" y="198429"/>
                  <a:pt x="134987" y="214135"/>
                </a:cubicBezTo>
                <a:cubicBezTo>
                  <a:pt x="128139" y="229841"/>
                  <a:pt x="124783" y="246484"/>
                  <a:pt x="124783" y="264199"/>
                </a:cubicBezTo>
                <a:cubicBezTo>
                  <a:pt x="124783" y="281914"/>
                  <a:pt x="128139" y="298442"/>
                  <a:pt x="134987" y="313989"/>
                </a:cubicBezTo>
                <a:cubicBezTo>
                  <a:pt x="141722" y="329490"/>
                  <a:pt x="150968" y="343027"/>
                  <a:pt x="162610" y="354693"/>
                </a:cubicBezTo>
                <a:cubicBezTo>
                  <a:pt x="174253" y="366450"/>
                  <a:pt x="187814" y="375558"/>
                  <a:pt x="203543" y="382407"/>
                </a:cubicBezTo>
                <a:cubicBezTo>
                  <a:pt x="219135" y="389119"/>
                  <a:pt x="235777" y="392498"/>
                  <a:pt x="253698" y="392498"/>
                </a:cubicBezTo>
                <a:cubicBezTo>
                  <a:pt x="271619" y="392498"/>
                  <a:pt x="288055" y="389119"/>
                  <a:pt x="303716" y="382407"/>
                </a:cubicBezTo>
                <a:cubicBezTo>
                  <a:pt x="319422" y="375581"/>
                  <a:pt x="333097" y="366450"/>
                  <a:pt x="344603" y="354693"/>
                </a:cubicBezTo>
                <a:cubicBezTo>
                  <a:pt x="356177" y="343027"/>
                  <a:pt x="365331" y="329467"/>
                  <a:pt x="372066" y="313989"/>
                </a:cubicBezTo>
                <a:cubicBezTo>
                  <a:pt x="378914" y="298465"/>
                  <a:pt x="382293" y="281914"/>
                  <a:pt x="382293" y="264199"/>
                </a:cubicBezTo>
                <a:lnTo>
                  <a:pt x="382293" y="264199"/>
                </a:lnTo>
                <a:close/>
              </a:path>
            </a:pathLst>
          </a:custGeom>
          <a:solidFill>
            <a:srgbClr val="FFFFFF"/>
          </a:solidFill>
          <a:ln w="2280"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9B3F9448-3A5F-93F7-442E-CF60532F3C86}"/>
              </a:ext>
            </a:extLst>
          </p:cNvPr>
          <p:cNvSpPr/>
          <p:nvPr/>
        </p:nvSpPr>
        <p:spPr>
          <a:xfrm>
            <a:off x="2462979" y="911701"/>
            <a:ext cx="516412" cy="137681"/>
          </a:xfrm>
          <a:custGeom>
            <a:avLst/>
            <a:gdLst>
              <a:gd name="connsiteX0" fmla="*/ 0 w 516412"/>
              <a:gd name="connsiteY0" fmla="*/ 0 h 137681"/>
              <a:gd name="connsiteX1" fmla="*/ 516413 w 516412"/>
              <a:gd name="connsiteY1" fmla="*/ 0 h 137681"/>
              <a:gd name="connsiteX2" fmla="*/ 516413 w 516412"/>
              <a:gd name="connsiteY2" fmla="*/ 137681 h 137681"/>
              <a:gd name="connsiteX3" fmla="*/ 0 w 516412"/>
              <a:gd name="connsiteY3" fmla="*/ 137681 h 137681"/>
              <a:gd name="connsiteX4" fmla="*/ 0 w 516412"/>
              <a:gd name="connsiteY4" fmla="*/ 0 h 137681"/>
              <a:gd name="connsiteX5" fmla="*/ 0 w 516412"/>
              <a:gd name="connsiteY5" fmla="*/ 0 h 137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6412" h="137681">
                <a:moveTo>
                  <a:pt x="0" y="0"/>
                </a:moveTo>
                <a:lnTo>
                  <a:pt x="516413" y="0"/>
                </a:lnTo>
                <a:lnTo>
                  <a:pt x="516413" y="137681"/>
                </a:lnTo>
                <a:lnTo>
                  <a:pt x="0" y="137681"/>
                </a:lnTo>
                <a:lnTo>
                  <a:pt x="0" y="0"/>
                </a:lnTo>
                <a:lnTo>
                  <a:pt x="0" y="0"/>
                </a:lnTo>
                <a:close/>
              </a:path>
            </a:pathLst>
          </a:custGeom>
          <a:solidFill>
            <a:srgbClr val="FFFFFF"/>
          </a:solidFill>
          <a:ln w="2280"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1238CED4-0D22-5E3A-ABA9-180950D36BB8}"/>
              </a:ext>
            </a:extLst>
          </p:cNvPr>
          <p:cNvSpPr/>
          <p:nvPr/>
        </p:nvSpPr>
        <p:spPr>
          <a:xfrm>
            <a:off x="5582436" y="1157158"/>
            <a:ext cx="521504" cy="687789"/>
          </a:xfrm>
          <a:custGeom>
            <a:avLst/>
            <a:gdLst>
              <a:gd name="connsiteX0" fmla="*/ 93439 w 521504"/>
              <a:gd name="connsiteY0" fmla="*/ 0 h 687789"/>
              <a:gd name="connsiteX1" fmla="*/ 59424 w 521504"/>
              <a:gd name="connsiteY1" fmla="*/ 0 h 687789"/>
              <a:gd name="connsiteX2" fmla="*/ 59424 w 521504"/>
              <a:gd name="connsiteY2" fmla="*/ 687790 h 687789"/>
              <a:gd name="connsiteX3" fmla="*/ 93439 w 521504"/>
              <a:gd name="connsiteY3" fmla="*/ 687790 h 687789"/>
              <a:gd name="connsiteX4" fmla="*/ 93439 w 521504"/>
              <a:gd name="connsiteY4" fmla="*/ 0 h 687789"/>
              <a:gd name="connsiteX5" fmla="*/ 93439 w 521504"/>
              <a:gd name="connsiteY5" fmla="*/ 0 h 687789"/>
              <a:gd name="connsiteX6" fmla="*/ 36846 w 521504"/>
              <a:gd name="connsiteY6" fmla="*/ 0 h 687789"/>
              <a:gd name="connsiteX7" fmla="*/ 0 w 521504"/>
              <a:gd name="connsiteY7" fmla="*/ 0 h 687789"/>
              <a:gd name="connsiteX8" fmla="*/ 0 w 521504"/>
              <a:gd name="connsiteY8" fmla="*/ 687790 h 687789"/>
              <a:gd name="connsiteX9" fmla="*/ 36846 w 521504"/>
              <a:gd name="connsiteY9" fmla="*/ 687790 h 687789"/>
              <a:gd name="connsiteX10" fmla="*/ 36846 w 521504"/>
              <a:gd name="connsiteY10" fmla="*/ 0 h 687789"/>
              <a:gd name="connsiteX11" fmla="*/ 36846 w 521504"/>
              <a:gd name="connsiteY11" fmla="*/ 0 h 687789"/>
              <a:gd name="connsiteX12" fmla="*/ 146676 w 521504"/>
              <a:gd name="connsiteY12" fmla="*/ 0 h 687789"/>
              <a:gd name="connsiteX13" fmla="*/ 115515 w 521504"/>
              <a:gd name="connsiteY13" fmla="*/ 0 h 687789"/>
              <a:gd name="connsiteX14" fmla="*/ 115515 w 521504"/>
              <a:gd name="connsiteY14" fmla="*/ 687790 h 687789"/>
              <a:gd name="connsiteX15" fmla="*/ 146676 w 521504"/>
              <a:gd name="connsiteY15" fmla="*/ 687790 h 687789"/>
              <a:gd name="connsiteX16" fmla="*/ 146676 w 521504"/>
              <a:gd name="connsiteY16" fmla="*/ 0 h 687789"/>
              <a:gd name="connsiteX17" fmla="*/ 146676 w 521504"/>
              <a:gd name="connsiteY17" fmla="*/ 0 h 687789"/>
              <a:gd name="connsiteX18" fmla="*/ 196968 w 521504"/>
              <a:gd name="connsiteY18" fmla="*/ 0 h 687789"/>
              <a:gd name="connsiteX19" fmla="*/ 168637 w 521504"/>
              <a:gd name="connsiteY19" fmla="*/ 0 h 687789"/>
              <a:gd name="connsiteX20" fmla="*/ 168637 w 521504"/>
              <a:gd name="connsiteY20" fmla="*/ 687790 h 687789"/>
              <a:gd name="connsiteX21" fmla="*/ 196968 w 521504"/>
              <a:gd name="connsiteY21" fmla="*/ 687790 h 687789"/>
              <a:gd name="connsiteX22" fmla="*/ 196968 w 521504"/>
              <a:gd name="connsiteY22" fmla="*/ 0 h 687789"/>
              <a:gd name="connsiteX23" fmla="*/ 196968 w 521504"/>
              <a:gd name="connsiteY23" fmla="*/ 0 h 687789"/>
              <a:gd name="connsiteX24" fmla="*/ 244612 w 521504"/>
              <a:gd name="connsiteY24" fmla="*/ 0 h 687789"/>
              <a:gd name="connsiteX25" fmla="*/ 219135 w 521504"/>
              <a:gd name="connsiteY25" fmla="*/ 0 h 687789"/>
              <a:gd name="connsiteX26" fmla="*/ 219135 w 521504"/>
              <a:gd name="connsiteY26" fmla="*/ 687790 h 687789"/>
              <a:gd name="connsiteX27" fmla="*/ 244612 w 521504"/>
              <a:gd name="connsiteY27" fmla="*/ 687790 h 687789"/>
              <a:gd name="connsiteX28" fmla="*/ 244612 w 521504"/>
              <a:gd name="connsiteY28" fmla="*/ 0 h 687789"/>
              <a:gd name="connsiteX29" fmla="*/ 244612 w 521504"/>
              <a:gd name="connsiteY29" fmla="*/ 0 h 687789"/>
              <a:gd name="connsiteX30" fmla="*/ 289836 w 521504"/>
              <a:gd name="connsiteY30" fmla="*/ 0 h 687789"/>
              <a:gd name="connsiteX31" fmla="*/ 267213 w 521504"/>
              <a:gd name="connsiteY31" fmla="*/ 0 h 687789"/>
              <a:gd name="connsiteX32" fmla="*/ 267213 w 521504"/>
              <a:gd name="connsiteY32" fmla="*/ 687790 h 687789"/>
              <a:gd name="connsiteX33" fmla="*/ 289836 w 521504"/>
              <a:gd name="connsiteY33" fmla="*/ 687790 h 687789"/>
              <a:gd name="connsiteX34" fmla="*/ 289836 w 521504"/>
              <a:gd name="connsiteY34" fmla="*/ 0 h 687789"/>
              <a:gd name="connsiteX35" fmla="*/ 289836 w 521504"/>
              <a:gd name="connsiteY35" fmla="*/ 0 h 687789"/>
              <a:gd name="connsiteX36" fmla="*/ 332891 w 521504"/>
              <a:gd name="connsiteY36" fmla="*/ 0 h 687789"/>
              <a:gd name="connsiteX37" fmla="*/ 313099 w 521504"/>
              <a:gd name="connsiteY37" fmla="*/ 0 h 687789"/>
              <a:gd name="connsiteX38" fmla="*/ 313099 w 521504"/>
              <a:gd name="connsiteY38" fmla="*/ 687790 h 687789"/>
              <a:gd name="connsiteX39" fmla="*/ 332891 w 521504"/>
              <a:gd name="connsiteY39" fmla="*/ 687790 h 687789"/>
              <a:gd name="connsiteX40" fmla="*/ 332891 w 521504"/>
              <a:gd name="connsiteY40" fmla="*/ 0 h 687789"/>
              <a:gd name="connsiteX41" fmla="*/ 332891 w 521504"/>
              <a:gd name="connsiteY41" fmla="*/ 0 h 687789"/>
              <a:gd name="connsiteX42" fmla="*/ 373961 w 521504"/>
              <a:gd name="connsiteY42" fmla="*/ 0 h 687789"/>
              <a:gd name="connsiteX43" fmla="*/ 357045 w 521504"/>
              <a:gd name="connsiteY43" fmla="*/ 0 h 687789"/>
              <a:gd name="connsiteX44" fmla="*/ 357045 w 521504"/>
              <a:gd name="connsiteY44" fmla="*/ 687790 h 687789"/>
              <a:gd name="connsiteX45" fmla="*/ 373961 w 521504"/>
              <a:gd name="connsiteY45" fmla="*/ 687790 h 687789"/>
              <a:gd name="connsiteX46" fmla="*/ 373961 w 521504"/>
              <a:gd name="connsiteY46" fmla="*/ 0 h 687789"/>
              <a:gd name="connsiteX47" fmla="*/ 373961 w 521504"/>
              <a:gd name="connsiteY47" fmla="*/ 0 h 687789"/>
              <a:gd name="connsiteX48" fmla="*/ 413226 w 521504"/>
              <a:gd name="connsiteY48" fmla="*/ 0 h 687789"/>
              <a:gd name="connsiteX49" fmla="*/ 399141 w 521504"/>
              <a:gd name="connsiteY49" fmla="*/ 0 h 687789"/>
              <a:gd name="connsiteX50" fmla="*/ 399141 w 521504"/>
              <a:gd name="connsiteY50" fmla="*/ 687790 h 687789"/>
              <a:gd name="connsiteX51" fmla="*/ 413226 w 521504"/>
              <a:gd name="connsiteY51" fmla="*/ 687790 h 687789"/>
              <a:gd name="connsiteX52" fmla="*/ 413226 w 521504"/>
              <a:gd name="connsiteY52" fmla="*/ 0 h 687789"/>
              <a:gd name="connsiteX53" fmla="*/ 413226 w 521504"/>
              <a:gd name="connsiteY53" fmla="*/ 0 h 687789"/>
              <a:gd name="connsiteX54" fmla="*/ 450803 w 521504"/>
              <a:gd name="connsiteY54" fmla="*/ 0 h 687789"/>
              <a:gd name="connsiteX55" fmla="*/ 439571 w 521504"/>
              <a:gd name="connsiteY55" fmla="*/ 0 h 687789"/>
              <a:gd name="connsiteX56" fmla="*/ 439571 w 521504"/>
              <a:gd name="connsiteY56" fmla="*/ 687790 h 687789"/>
              <a:gd name="connsiteX57" fmla="*/ 450803 w 521504"/>
              <a:gd name="connsiteY57" fmla="*/ 687790 h 687789"/>
              <a:gd name="connsiteX58" fmla="*/ 450803 w 521504"/>
              <a:gd name="connsiteY58" fmla="*/ 0 h 687789"/>
              <a:gd name="connsiteX59" fmla="*/ 450803 w 521504"/>
              <a:gd name="connsiteY59" fmla="*/ 0 h 687789"/>
              <a:gd name="connsiteX60" fmla="*/ 486872 w 521504"/>
              <a:gd name="connsiteY60" fmla="*/ 0 h 687789"/>
              <a:gd name="connsiteX61" fmla="*/ 478494 w 521504"/>
              <a:gd name="connsiteY61" fmla="*/ 0 h 687789"/>
              <a:gd name="connsiteX62" fmla="*/ 478494 w 521504"/>
              <a:gd name="connsiteY62" fmla="*/ 687790 h 687789"/>
              <a:gd name="connsiteX63" fmla="*/ 486872 w 521504"/>
              <a:gd name="connsiteY63" fmla="*/ 687790 h 687789"/>
              <a:gd name="connsiteX64" fmla="*/ 486872 w 521504"/>
              <a:gd name="connsiteY64" fmla="*/ 0 h 687789"/>
              <a:gd name="connsiteX65" fmla="*/ 486872 w 521504"/>
              <a:gd name="connsiteY65" fmla="*/ 0 h 687789"/>
              <a:gd name="connsiteX66" fmla="*/ 521504 w 521504"/>
              <a:gd name="connsiteY66" fmla="*/ 0 h 687789"/>
              <a:gd name="connsiteX67" fmla="*/ 515956 w 521504"/>
              <a:gd name="connsiteY67" fmla="*/ 0 h 687789"/>
              <a:gd name="connsiteX68" fmla="*/ 515956 w 521504"/>
              <a:gd name="connsiteY68" fmla="*/ 687790 h 687789"/>
              <a:gd name="connsiteX69" fmla="*/ 521504 w 521504"/>
              <a:gd name="connsiteY69" fmla="*/ 687790 h 687789"/>
              <a:gd name="connsiteX70" fmla="*/ 521504 w 521504"/>
              <a:gd name="connsiteY70" fmla="*/ 0 h 687789"/>
              <a:gd name="connsiteX71" fmla="*/ 521504 w 521504"/>
              <a:gd name="connsiteY71" fmla="*/ 0 h 687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521504" h="687789">
                <a:moveTo>
                  <a:pt x="93439" y="0"/>
                </a:moveTo>
                <a:lnTo>
                  <a:pt x="59424" y="0"/>
                </a:lnTo>
                <a:lnTo>
                  <a:pt x="59424" y="687790"/>
                </a:lnTo>
                <a:lnTo>
                  <a:pt x="93439" y="687790"/>
                </a:lnTo>
                <a:lnTo>
                  <a:pt x="93439" y="0"/>
                </a:lnTo>
                <a:lnTo>
                  <a:pt x="93439" y="0"/>
                </a:lnTo>
                <a:close/>
                <a:moveTo>
                  <a:pt x="36846" y="0"/>
                </a:moveTo>
                <a:lnTo>
                  <a:pt x="0" y="0"/>
                </a:lnTo>
                <a:lnTo>
                  <a:pt x="0" y="687790"/>
                </a:lnTo>
                <a:lnTo>
                  <a:pt x="36846" y="687790"/>
                </a:lnTo>
                <a:lnTo>
                  <a:pt x="36846" y="0"/>
                </a:lnTo>
                <a:lnTo>
                  <a:pt x="36846" y="0"/>
                </a:lnTo>
                <a:close/>
                <a:moveTo>
                  <a:pt x="146676" y="0"/>
                </a:moveTo>
                <a:lnTo>
                  <a:pt x="115515" y="0"/>
                </a:lnTo>
                <a:lnTo>
                  <a:pt x="115515" y="687790"/>
                </a:lnTo>
                <a:lnTo>
                  <a:pt x="146676" y="687790"/>
                </a:lnTo>
                <a:lnTo>
                  <a:pt x="146676" y="0"/>
                </a:lnTo>
                <a:lnTo>
                  <a:pt x="146676" y="0"/>
                </a:lnTo>
                <a:close/>
                <a:moveTo>
                  <a:pt x="196968" y="0"/>
                </a:moveTo>
                <a:lnTo>
                  <a:pt x="168637" y="0"/>
                </a:lnTo>
                <a:lnTo>
                  <a:pt x="168637" y="687790"/>
                </a:lnTo>
                <a:lnTo>
                  <a:pt x="196968" y="687790"/>
                </a:lnTo>
                <a:lnTo>
                  <a:pt x="196968" y="0"/>
                </a:lnTo>
                <a:lnTo>
                  <a:pt x="196968" y="0"/>
                </a:lnTo>
                <a:close/>
                <a:moveTo>
                  <a:pt x="244612" y="0"/>
                </a:moveTo>
                <a:lnTo>
                  <a:pt x="219135" y="0"/>
                </a:lnTo>
                <a:lnTo>
                  <a:pt x="219135" y="687790"/>
                </a:lnTo>
                <a:lnTo>
                  <a:pt x="244612" y="687790"/>
                </a:lnTo>
                <a:lnTo>
                  <a:pt x="244612" y="0"/>
                </a:lnTo>
                <a:lnTo>
                  <a:pt x="244612" y="0"/>
                </a:lnTo>
                <a:close/>
                <a:moveTo>
                  <a:pt x="289836" y="0"/>
                </a:moveTo>
                <a:lnTo>
                  <a:pt x="267213" y="0"/>
                </a:lnTo>
                <a:lnTo>
                  <a:pt x="267213" y="687790"/>
                </a:lnTo>
                <a:lnTo>
                  <a:pt x="289836" y="687790"/>
                </a:lnTo>
                <a:lnTo>
                  <a:pt x="289836" y="0"/>
                </a:lnTo>
                <a:lnTo>
                  <a:pt x="289836" y="0"/>
                </a:lnTo>
                <a:close/>
                <a:moveTo>
                  <a:pt x="332891" y="0"/>
                </a:moveTo>
                <a:lnTo>
                  <a:pt x="313099" y="0"/>
                </a:lnTo>
                <a:lnTo>
                  <a:pt x="313099" y="687790"/>
                </a:lnTo>
                <a:lnTo>
                  <a:pt x="332891" y="687790"/>
                </a:lnTo>
                <a:lnTo>
                  <a:pt x="332891" y="0"/>
                </a:lnTo>
                <a:lnTo>
                  <a:pt x="332891" y="0"/>
                </a:lnTo>
                <a:close/>
                <a:moveTo>
                  <a:pt x="373961" y="0"/>
                </a:moveTo>
                <a:lnTo>
                  <a:pt x="357045" y="0"/>
                </a:lnTo>
                <a:lnTo>
                  <a:pt x="357045" y="687790"/>
                </a:lnTo>
                <a:lnTo>
                  <a:pt x="373961" y="687790"/>
                </a:lnTo>
                <a:lnTo>
                  <a:pt x="373961" y="0"/>
                </a:lnTo>
                <a:lnTo>
                  <a:pt x="373961" y="0"/>
                </a:lnTo>
                <a:close/>
                <a:moveTo>
                  <a:pt x="413226" y="0"/>
                </a:moveTo>
                <a:lnTo>
                  <a:pt x="399141" y="0"/>
                </a:lnTo>
                <a:lnTo>
                  <a:pt x="399141" y="687790"/>
                </a:lnTo>
                <a:lnTo>
                  <a:pt x="413226" y="687790"/>
                </a:lnTo>
                <a:lnTo>
                  <a:pt x="413226" y="0"/>
                </a:lnTo>
                <a:lnTo>
                  <a:pt x="413226" y="0"/>
                </a:lnTo>
                <a:close/>
                <a:moveTo>
                  <a:pt x="450803" y="0"/>
                </a:moveTo>
                <a:lnTo>
                  <a:pt x="439571" y="0"/>
                </a:lnTo>
                <a:lnTo>
                  <a:pt x="439571" y="687790"/>
                </a:lnTo>
                <a:lnTo>
                  <a:pt x="450803" y="687790"/>
                </a:lnTo>
                <a:lnTo>
                  <a:pt x="450803" y="0"/>
                </a:lnTo>
                <a:lnTo>
                  <a:pt x="450803" y="0"/>
                </a:lnTo>
                <a:close/>
                <a:moveTo>
                  <a:pt x="486872" y="0"/>
                </a:moveTo>
                <a:lnTo>
                  <a:pt x="478494" y="0"/>
                </a:lnTo>
                <a:lnTo>
                  <a:pt x="478494" y="687790"/>
                </a:lnTo>
                <a:lnTo>
                  <a:pt x="486872" y="687790"/>
                </a:lnTo>
                <a:lnTo>
                  <a:pt x="486872" y="0"/>
                </a:lnTo>
                <a:lnTo>
                  <a:pt x="486872" y="0"/>
                </a:lnTo>
                <a:close/>
                <a:moveTo>
                  <a:pt x="521504" y="0"/>
                </a:moveTo>
                <a:lnTo>
                  <a:pt x="515956" y="0"/>
                </a:lnTo>
                <a:lnTo>
                  <a:pt x="515956" y="687790"/>
                </a:lnTo>
                <a:lnTo>
                  <a:pt x="521504" y="687790"/>
                </a:lnTo>
                <a:lnTo>
                  <a:pt x="521504" y="0"/>
                </a:lnTo>
                <a:lnTo>
                  <a:pt x="521504" y="0"/>
                </a:lnTo>
                <a:close/>
              </a:path>
            </a:pathLst>
          </a:custGeom>
          <a:solidFill>
            <a:srgbClr val="07D8ED"/>
          </a:solidFill>
          <a:ln w="2280" cap="flat">
            <a:noFill/>
            <a:prstDash val="solid"/>
            <a:miter/>
          </a:ln>
        </p:spPr>
        <p:txBody>
          <a:bodyPr rtlCol="0" anchor="ctr"/>
          <a:lstStyle/>
          <a:p>
            <a:endParaRPr lang="en-US"/>
          </a:p>
        </p:txBody>
      </p:sp>
      <p:sp>
        <p:nvSpPr>
          <p:cNvPr id="2" name="TextBox 1">
            <a:extLst>
              <a:ext uri="{FF2B5EF4-FFF2-40B4-BE49-F238E27FC236}">
                <a16:creationId xmlns:a16="http://schemas.microsoft.com/office/drawing/2014/main" id="{175876F1-551E-F92A-9292-0BF87680B585}"/>
              </a:ext>
            </a:extLst>
          </p:cNvPr>
          <p:cNvSpPr txBox="1"/>
          <p:nvPr/>
        </p:nvSpPr>
        <p:spPr>
          <a:xfrm>
            <a:off x="373030" y="2221336"/>
            <a:ext cx="5597649" cy="1120492"/>
          </a:xfrm>
          <a:prstGeom prst="rect">
            <a:avLst/>
          </a:prstGeom>
          <a:noFill/>
        </p:spPr>
        <p:txBody>
          <a:bodyPr wrap="none" lIns="91440" tIns="45720" rIns="91440" bIns="45720" rtlCol="0" anchor="t">
            <a:noAutofit/>
          </a:bodyPr>
          <a:lstStyle/>
          <a:p>
            <a:pPr>
              <a:buClr>
                <a:srgbClr val="1573C5"/>
              </a:buClr>
              <a:buSzPct val="110000"/>
            </a:pPr>
            <a:r>
              <a:rPr lang="en-US" sz="3200" dirty="0" err="1">
                <a:solidFill>
                  <a:schemeClr val="bg1"/>
                </a:solidFill>
                <a:latin typeface="Calibri Light"/>
                <a:cs typeface="Arial"/>
              </a:rPr>
              <a:t>Cordence</a:t>
            </a:r>
            <a:r>
              <a:rPr lang="en-US" sz="3200" dirty="0">
                <a:solidFill>
                  <a:schemeClr val="bg1"/>
                </a:solidFill>
                <a:latin typeface="Calibri Light"/>
                <a:cs typeface="Arial"/>
              </a:rPr>
              <a:t> Worldwide </a:t>
            </a:r>
          </a:p>
          <a:p>
            <a:r>
              <a:rPr lang="en-US" sz="3200" dirty="0">
                <a:solidFill>
                  <a:schemeClr val="bg1"/>
                </a:solidFill>
                <a:latin typeface="Calibri Light"/>
                <a:cs typeface="Arial"/>
              </a:rPr>
              <a:t>An Introduction</a:t>
            </a:r>
            <a:endParaRPr lang="en-US" sz="3200" dirty="0">
              <a:solidFill>
                <a:schemeClr val="bg1"/>
              </a:solidFill>
              <a:latin typeface="Calibri Light"/>
              <a:ea typeface="Calibri Light"/>
              <a:cs typeface="Arial"/>
            </a:endParaRPr>
          </a:p>
          <a:p>
            <a:endParaRPr lang="en-US" sz="3200">
              <a:solidFill>
                <a:schemeClr val="bg1"/>
              </a:solidFill>
              <a:latin typeface="Calibri Light"/>
              <a:cs typeface="Arial"/>
            </a:endParaRPr>
          </a:p>
          <a:p>
            <a:r>
              <a:rPr lang="en-US" sz="3200" b="1" dirty="0">
                <a:solidFill>
                  <a:schemeClr val="bg1"/>
                </a:solidFill>
                <a:latin typeface="Calibri Light"/>
                <a:cs typeface="Arial"/>
              </a:rPr>
              <a:t>2024</a:t>
            </a:r>
            <a:endParaRPr lang="en-US" sz="3200" b="1" dirty="0">
              <a:solidFill>
                <a:schemeClr val="bg1"/>
              </a:solidFill>
              <a:latin typeface="Calibri Light"/>
              <a:ea typeface="Calibri Light"/>
              <a:cs typeface="Arial"/>
            </a:endParaRPr>
          </a:p>
        </p:txBody>
      </p:sp>
    </p:spTree>
    <p:extLst>
      <p:ext uri="{BB962C8B-B14F-4D97-AF65-F5344CB8AC3E}">
        <p14:creationId xmlns:p14="http://schemas.microsoft.com/office/powerpoint/2010/main" val="39084498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6"/>
          <p:cNvSpPr/>
          <p:nvPr/>
        </p:nvSpPr>
        <p:spPr>
          <a:xfrm rot="10800000">
            <a:off x="9063787" y="16646"/>
            <a:ext cx="3128213" cy="6866089"/>
          </a:xfrm>
          <a:custGeom>
            <a:avLst/>
            <a:gdLst>
              <a:gd name="connsiteX0" fmla="*/ 0 w 9989531"/>
              <a:gd name="connsiteY0" fmla="*/ 0 h 6860436"/>
              <a:gd name="connsiteX1" fmla="*/ 9989531 w 9989531"/>
              <a:gd name="connsiteY1" fmla="*/ 0 h 6860436"/>
              <a:gd name="connsiteX2" fmla="*/ 9989531 w 9989531"/>
              <a:gd name="connsiteY2" fmla="*/ 6860436 h 6860436"/>
              <a:gd name="connsiteX3" fmla="*/ 0 w 9989531"/>
              <a:gd name="connsiteY3" fmla="*/ 6860436 h 6860436"/>
              <a:gd name="connsiteX4" fmla="*/ 0 w 9989531"/>
              <a:gd name="connsiteY4" fmla="*/ 0 h 6860436"/>
              <a:gd name="connsiteX0" fmla="*/ 0 w 10224663"/>
              <a:gd name="connsiteY0" fmla="*/ 0 h 6860436"/>
              <a:gd name="connsiteX1" fmla="*/ 10224663 w 10224663"/>
              <a:gd name="connsiteY1" fmla="*/ 13063 h 6860436"/>
              <a:gd name="connsiteX2" fmla="*/ 9989531 w 10224663"/>
              <a:gd name="connsiteY2" fmla="*/ 6860436 h 6860436"/>
              <a:gd name="connsiteX3" fmla="*/ 0 w 10224663"/>
              <a:gd name="connsiteY3" fmla="*/ 6860436 h 6860436"/>
              <a:gd name="connsiteX4" fmla="*/ 0 w 10224663"/>
              <a:gd name="connsiteY4" fmla="*/ 0 h 6860436"/>
              <a:gd name="connsiteX0" fmla="*/ 0 w 10224663"/>
              <a:gd name="connsiteY0" fmla="*/ 0 h 6860436"/>
              <a:gd name="connsiteX1" fmla="*/ 10224663 w 10224663"/>
              <a:gd name="connsiteY1" fmla="*/ 13063 h 6860436"/>
              <a:gd name="connsiteX2" fmla="*/ 9075131 w 10224663"/>
              <a:gd name="connsiteY2" fmla="*/ 6860436 h 6860436"/>
              <a:gd name="connsiteX3" fmla="*/ 0 w 10224663"/>
              <a:gd name="connsiteY3" fmla="*/ 6860436 h 6860436"/>
              <a:gd name="connsiteX4" fmla="*/ 0 w 10224663"/>
              <a:gd name="connsiteY4" fmla="*/ 0 h 6860436"/>
              <a:gd name="connsiteX0" fmla="*/ 0 w 10224663"/>
              <a:gd name="connsiteY0" fmla="*/ 0 h 6860436"/>
              <a:gd name="connsiteX1" fmla="*/ 10224663 w 10224663"/>
              <a:gd name="connsiteY1" fmla="*/ 13063 h 6860436"/>
              <a:gd name="connsiteX2" fmla="*/ 6174867 w 10224663"/>
              <a:gd name="connsiteY2" fmla="*/ 6860436 h 6860436"/>
              <a:gd name="connsiteX3" fmla="*/ 0 w 10224663"/>
              <a:gd name="connsiteY3" fmla="*/ 6860436 h 6860436"/>
              <a:gd name="connsiteX4" fmla="*/ 0 w 10224663"/>
              <a:gd name="connsiteY4" fmla="*/ 0 h 6860436"/>
              <a:gd name="connsiteX0" fmla="*/ 0 w 9536466"/>
              <a:gd name="connsiteY0" fmla="*/ 0 h 6860436"/>
              <a:gd name="connsiteX1" fmla="*/ 9536466 w 9536466"/>
              <a:gd name="connsiteY1" fmla="*/ 45147 h 6860436"/>
              <a:gd name="connsiteX2" fmla="*/ 6174867 w 9536466"/>
              <a:gd name="connsiteY2" fmla="*/ 6860436 h 6860436"/>
              <a:gd name="connsiteX3" fmla="*/ 0 w 9536466"/>
              <a:gd name="connsiteY3" fmla="*/ 6860436 h 6860436"/>
              <a:gd name="connsiteX4" fmla="*/ 0 w 9536466"/>
              <a:gd name="connsiteY4" fmla="*/ 0 h 6860436"/>
              <a:gd name="connsiteX0" fmla="*/ 0 w 9536466"/>
              <a:gd name="connsiteY0" fmla="*/ 0 h 6860436"/>
              <a:gd name="connsiteX1" fmla="*/ 9536466 w 9536466"/>
              <a:gd name="connsiteY1" fmla="*/ 45147 h 6860436"/>
              <a:gd name="connsiteX2" fmla="*/ 9508603 w 9536466"/>
              <a:gd name="connsiteY2" fmla="*/ 10160 h 6860436"/>
              <a:gd name="connsiteX3" fmla="*/ 6174867 w 9536466"/>
              <a:gd name="connsiteY3" fmla="*/ 6860436 h 6860436"/>
              <a:gd name="connsiteX4" fmla="*/ 0 w 9536466"/>
              <a:gd name="connsiteY4" fmla="*/ 6860436 h 6860436"/>
              <a:gd name="connsiteX5" fmla="*/ 0 w 9536466"/>
              <a:gd name="connsiteY5" fmla="*/ 0 h 6860436"/>
              <a:gd name="connsiteX0" fmla="*/ 0 w 9536466"/>
              <a:gd name="connsiteY0" fmla="*/ 0 h 6860436"/>
              <a:gd name="connsiteX1" fmla="*/ 9536466 w 9536466"/>
              <a:gd name="connsiteY1" fmla="*/ 45147 h 6860436"/>
              <a:gd name="connsiteX2" fmla="*/ 9352939 w 9536466"/>
              <a:gd name="connsiteY2" fmla="*/ 335280 h 6860436"/>
              <a:gd name="connsiteX3" fmla="*/ 6174867 w 9536466"/>
              <a:gd name="connsiteY3" fmla="*/ 6860436 h 6860436"/>
              <a:gd name="connsiteX4" fmla="*/ 0 w 9536466"/>
              <a:gd name="connsiteY4" fmla="*/ 6860436 h 6860436"/>
              <a:gd name="connsiteX5" fmla="*/ 0 w 9536466"/>
              <a:gd name="connsiteY5" fmla="*/ 0 h 6860436"/>
              <a:gd name="connsiteX0" fmla="*/ 0 w 9536466"/>
              <a:gd name="connsiteY0" fmla="*/ 5653 h 6866089"/>
              <a:gd name="connsiteX1" fmla="*/ 9536466 w 9536466"/>
              <a:gd name="connsiteY1" fmla="*/ 0 h 6866089"/>
              <a:gd name="connsiteX2" fmla="*/ 9352939 w 9536466"/>
              <a:gd name="connsiteY2" fmla="*/ 340933 h 6866089"/>
              <a:gd name="connsiteX3" fmla="*/ 6174867 w 9536466"/>
              <a:gd name="connsiteY3" fmla="*/ 6866089 h 6866089"/>
              <a:gd name="connsiteX4" fmla="*/ 0 w 9536466"/>
              <a:gd name="connsiteY4" fmla="*/ 6866089 h 6866089"/>
              <a:gd name="connsiteX5" fmla="*/ 0 w 9536466"/>
              <a:gd name="connsiteY5" fmla="*/ 5653 h 6866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36466" h="6866089">
                <a:moveTo>
                  <a:pt x="0" y="5653"/>
                </a:moveTo>
                <a:lnTo>
                  <a:pt x="9536466" y="0"/>
                </a:lnTo>
                <a:cubicBezTo>
                  <a:pt x="9527178" y="25591"/>
                  <a:pt x="9362227" y="315342"/>
                  <a:pt x="9352939" y="340933"/>
                </a:cubicBezTo>
                <a:lnTo>
                  <a:pt x="6174867" y="6866089"/>
                </a:lnTo>
                <a:lnTo>
                  <a:pt x="0" y="6866089"/>
                </a:lnTo>
                <a:lnTo>
                  <a:pt x="0" y="5653"/>
                </a:lnTo>
                <a:close/>
              </a:path>
            </a:pathLst>
          </a:custGeom>
          <a:solidFill>
            <a:srgbClr val="135AAB">
              <a:alpha val="70000"/>
            </a:srgbClr>
          </a:solidFill>
          <a:ln>
            <a:noFill/>
          </a:ln>
          <a:effectLst/>
        </p:spPr>
        <p:style>
          <a:lnRef idx="2">
            <a:schemeClr val="accent6"/>
          </a:lnRef>
          <a:fillRef idx="1">
            <a:schemeClr val="lt1"/>
          </a:fillRef>
          <a:effectRef idx="0">
            <a:schemeClr val="accent6"/>
          </a:effectRef>
          <a:fontRef idx="minor">
            <a:schemeClr val="dk1"/>
          </a:fontRef>
        </p:style>
        <p:txBody>
          <a:bodyPr rot="0" spcFirstLastPara="1" vertOverflow="overflow" horzOverflow="overflow" vert="horz" wrap="square" lIns="60959" tIns="60959" rIns="60959" bIns="60959" numCol="1" spcCol="38100" rtlCol="0" anchor="ctr">
            <a:noAutofit/>
          </a:bodyPr>
          <a:lstStyle/>
          <a:p>
            <a:pPr defTabSz="609579" latinLnBrk="1" hangingPunct="0"/>
            <a:endParaRPr lang="en-US" sz="2400">
              <a:solidFill>
                <a:srgbClr val="000000"/>
              </a:solidFill>
              <a:ea typeface="Calibri"/>
              <a:cs typeface="Calibri"/>
              <a:sym typeface="Calibri"/>
            </a:endParaRPr>
          </a:p>
        </p:txBody>
      </p:sp>
      <p:sp>
        <p:nvSpPr>
          <p:cNvPr id="3" name="Title 2"/>
          <p:cNvSpPr>
            <a:spLocks noGrp="1"/>
          </p:cNvSpPr>
          <p:nvPr>
            <p:ph type="title"/>
          </p:nvPr>
        </p:nvSpPr>
        <p:spPr/>
        <p:txBody>
          <a:bodyPr/>
          <a:lstStyle/>
          <a:p>
            <a:r>
              <a:rPr lang="en-US" sz="2550"/>
              <a:t>Cordence Worldwide Global Presence</a:t>
            </a:r>
          </a:p>
        </p:txBody>
      </p:sp>
      <p:sp>
        <p:nvSpPr>
          <p:cNvPr id="9" name="Rectangle 32"/>
          <p:cNvSpPr>
            <a:spLocks noChangeArrowheads="1"/>
          </p:cNvSpPr>
          <p:nvPr>
            <p:custDataLst>
              <p:tags r:id="rId1"/>
            </p:custDataLst>
          </p:nvPr>
        </p:nvSpPr>
        <p:spPr bwMode="auto">
          <a:xfrm>
            <a:off x="850785" y="814697"/>
            <a:ext cx="4294955" cy="5355312"/>
          </a:xfrm>
          <a:prstGeom prst="rect">
            <a:avLst/>
          </a:prstGeom>
          <a:noFill/>
          <a:ln w="9525">
            <a:noFill/>
            <a:miter lim="800000"/>
            <a:headEnd/>
            <a:tailEnd/>
          </a:ln>
          <a:effectLst/>
        </p:spPr>
        <p:txBody>
          <a:bodyPr wrap="square" lIns="0" tIns="0" rIns="0" bIns="0" anchor="t">
            <a:spAutoFit/>
          </a:bodyPr>
          <a:lstStyle/>
          <a:p>
            <a:pPr defTabSz="857250">
              <a:spcBef>
                <a:spcPts val="1200"/>
              </a:spcBef>
            </a:pPr>
            <a:r>
              <a:rPr lang="en-US" b="1" dirty="0">
                <a:solidFill>
                  <a:schemeClr val="bg2"/>
                </a:solidFill>
                <a:latin typeface="Arial"/>
                <a:cs typeface="Calibri Light"/>
              </a:rPr>
              <a:t>Americas: </a:t>
            </a:r>
            <a:endParaRPr lang="en-US" b="1" dirty="0">
              <a:solidFill>
                <a:schemeClr val="bg2"/>
              </a:solidFill>
              <a:latin typeface="Arial"/>
              <a:cs typeface="Calibri Light" panose="020F0302020204030204" pitchFamily="34" charset="0"/>
            </a:endParaRPr>
          </a:p>
          <a:p>
            <a:pPr defTabSz="857250">
              <a:spcBef>
                <a:spcPts val="1200"/>
              </a:spcBef>
              <a:spcAft>
                <a:spcPts val="1200"/>
              </a:spcAft>
            </a:pPr>
            <a:r>
              <a:rPr lang="en-US" sz="1400" b="1" dirty="0">
                <a:solidFill>
                  <a:schemeClr val="tx2"/>
                </a:solidFill>
                <a:latin typeface="Arial"/>
                <a:cs typeface="Calibri Light"/>
              </a:rPr>
              <a:t>USA: </a:t>
            </a:r>
            <a:r>
              <a:rPr lang="en-US" sz="1400" dirty="0">
                <a:solidFill>
                  <a:schemeClr val="tx1">
                    <a:lumMod val="65000"/>
                    <a:lumOff val="35000"/>
                  </a:schemeClr>
                </a:solidFill>
                <a:latin typeface="Arial"/>
                <a:cs typeface="Calibri Light"/>
              </a:rPr>
              <a:t>Atlanta, Austin, Basking Ridge, Bellevue, Charlotte, Chicago, Denver, Houston, Los Angeles, Nashville, New York, Orlando, Philadelphia, Portland, Seattle, St. Louis, Tallahassee, Washington DC</a:t>
            </a:r>
          </a:p>
          <a:p>
            <a:pPr defTabSz="857250">
              <a:spcBef>
                <a:spcPts val="1200"/>
              </a:spcBef>
              <a:spcAft>
                <a:spcPts val="1200"/>
              </a:spcAft>
            </a:pPr>
            <a:r>
              <a:rPr lang="en-US" sz="1400" b="1" dirty="0">
                <a:solidFill>
                  <a:schemeClr val="tx2"/>
                </a:solidFill>
                <a:latin typeface="Arial"/>
                <a:cs typeface="Calibri Light"/>
              </a:rPr>
              <a:t>Canada: </a:t>
            </a:r>
            <a:r>
              <a:rPr lang="en-US" sz="1400" dirty="0">
                <a:solidFill>
                  <a:schemeClr val="tx1">
                    <a:lumMod val="65000"/>
                    <a:lumOff val="35000"/>
                  </a:schemeClr>
                </a:solidFill>
                <a:latin typeface="Arial"/>
                <a:cs typeface="Calibri Light"/>
              </a:rPr>
              <a:t>Vancouver</a:t>
            </a:r>
            <a:endParaRPr lang="en-US" sz="1400" b="1" dirty="0">
              <a:solidFill>
                <a:schemeClr val="tx1">
                  <a:lumMod val="65000"/>
                  <a:lumOff val="35000"/>
                </a:schemeClr>
              </a:solidFill>
              <a:latin typeface="Arial"/>
              <a:cs typeface="Calibri Light"/>
            </a:endParaRPr>
          </a:p>
          <a:p>
            <a:pPr defTabSz="857250">
              <a:spcBef>
                <a:spcPts val="1200"/>
              </a:spcBef>
              <a:spcAft>
                <a:spcPts val="1200"/>
              </a:spcAft>
            </a:pPr>
            <a:r>
              <a:rPr lang="en-US" sz="1400" b="1" dirty="0">
                <a:solidFill>
                  <a:schemeClr val="tx2"/>
                </a:solidFill>
                <a:latin typeface="Arial"/>
                <a:cs typeface="Calibri Light"/>
              </a:rPr>
              <a:t>Brazil: </a:t>
            </a:r>
            <a:r>
              <a:rPr lang="en-US" sz="1400" dirty="0">
                <a:solidFill>
                  <a:schemeClr val="tx1">
                    <a:lumMod val="65000"/>
                    <a:lumOff val="35000"/>
                  </a:schemeClr>
                </a:solidFill>
                <a:latin typeface="Arial"/>
                <a:cs typeface="Calibri Light"/>
              </a:rPr>
              <a:t>Rio de Janeiro, São Paulo, Brasília, Belo Horizonte</a:t>
            </a:r>
            <a:endParaRPr lang="en-US" b="1" dirty="0">
              <a:solidFill>
                <a:schemeClr val="tx1">
                  <a:lumMod val="65000"/>
                  <a:lumOff val="35000"/>
                </a:schemeClr>
              </a:solidFill>
              <a:latin typeface="Arial"/>
              <a:cs typeface="Calibri Light"/>
            </a:endParaRPr>
          </a:p>
          <a:p>
            <a:pPr defTabSz="857250">
              <a:spcBef>
                <a:spcPts val="1200"/>
              </a:spcBef>
            </a:pPr>
            <a:r>
              <a:rPr lang="en-US" b="1" dirty="0">
                <a:solidFill>
                  <a:schemeClr val="bg2"/>
                </a:solidFill>
                <a:latin typeface="Arial"/>
                <a:cs typeface="Calibri Light"/>
              </a:rPr>
              <a:t>Asia Pacific:</a:t>
            </a:r>
          </a:p>
          <a:p>
            <a:pPr defTabSz="857250">
              <a:spcBef>
                <a:spcPts val="1200"/>
              </a:spcBef>
            </a:pPr>
            <a:r>
              <a:rPr lang="en-US" sz="1400" b="1" dirty="0">
                <a:solidFill>
                  <a:schemeClr val="tx2"/>
                </a:solidFill>
                <a:latin typeface="Arial"/>
                <a:cs typeface="Calibri Light"/>
              </a:rPr>
              <a:t>Australia:</a:t>
            </a:r>
            <a:r>
              <a:rPr lang="en-US" sz="1400" b="1" dirty="0">
                <a:solidFill>
                  <a:schemeClr val="bg2"/>
                </a:solidFill>
                <a:latin typeface="Arial"/>
                <a:cs typeface="Calibri Light"/>
              </a:rPr>
              <a:t> </a:t>
            </a:r>
            <a:r>
              <a:rPr lang="en-US" sz="1400" dirty="0">
                <a:solidFill>
                  <a:schemeClr val="tx1">
                    <a:lumMod val="65000"/>
                    <a:lumOff val="35000"/>
                  </a:schemeClr>
                </a:solidFill>
                <a:latin typeface="Arial"/>
                <a:cs typeface="Calibri Light"/>
              </a:rPr>
              <a:t>Melbourne, Sydney</a:t>
            </a:r>
            <a:endParaRPr lang="en-US" sz="1400" b="1" dirty="0">
              <a:solidFill>
                <a:schemeClr val="tx1">
                  <a:lumMod val="65000"/>
                  <a:lumOff val="35000"/>
                </a:schemeClr>
              </a:solidFill>
              <a:latin typeface="Arial"/>
              <a:cs typeface="Calibri Light" panose="020F0302020204030204" pitchFamily="34" charset="0"/>
            </a:endParaRPr>
          </a:p>
          <a:p>
            <a:pPr defTabSz="857250">
              <a:spcBef>
                <a:spcPts val="1200"/>
              </a:spcBef>
            </a:pPr>
            <a:r>
              <a:rPr lang="en-US" sz="1400" b="1" dirty="0">
                <a:solidFill>
                  <a:schemeClr val="tx2"/>
                </a:solidFill>
                <a:latin typeface="Arial"/>
                <a:cs typeface="Calibri Light"/>
              </a:rPr>
              <a:t>India: </a:t>
            </a:r>
            <a:r>
              <a:rPr lang="en-US" sz="1400" dirty="0">
                <a:solidFill>
                  <a:schemeClr val="tx1">
                    <a:lumMod val="65000"/>
                    <a:lumOff val="35000"/>
                  </a:schemeClr>
                </a:solidFill>
                <a:latin typeface="Arial"/>
                <a:cs typeface="Calibri Light"/>
              </a:rPr>
              <a:t>Delhi, Chennai, Mumbai, Bangalore</a:t>
            </a:r>
            <a:endParaRPr lang="en-US" sz="1400" b="1">
              <a:solidFill>
                <a:schemeClr val="tx1">
                  <a:lumMod val="65000"/>
                  <a:lumOff val="35000"/>
                </a:schemeClr>
              </a:solidFill>
              <a:latin typeface="Arial"/>
              <a:cs typeface="Calibri Light" panose="020F0302020204030204" pitchFamily="34" charset="0"/>
            </a:endParaRPr>
          </a:p>
          <a:p>
            <a:pPr defTabSz="857250">
              <a:spcBef>
                <a:spcPts val="1200"/>
              </a:spcBef>
            </a:pPr>
            <a:r>
              <a:rPr lang="en-US" sz="1400" b="1" dirty="0">
                <a:solidFill>
                  <a:schemeClr val="tx2"/>
                </a:solidFill>
                <a:latin typeface="Arial"/>
                <a:cs typeface="Calibri Light"/>
              </a:rPr>
              <a:t>Japan:</a:t>
            </a:r>
            <a:r>
              <a:rPr lang="en-US" sz="1400" b="1" dirty="0">
                <a:solidFill>
                  <a:schemeClr val="bg2"/>
                </a:solidFill>
                <a:latin typeface="Arial"/>
                <a:cs typeface="Calibri Light"/>
              </a:rPr>
              <a:t> </a:t>
            </a:r>
            <a:r>
              <a:rPr lang="en-US" sz="1400" dirty="0">
                <a:solidFill>
                  <a:schemeClr val="tx1">
                    <a:lumMod val="65000"/>
                    <a:lumOff val="35000"/>
                  </a:schemeClr>
                </a:solidFill>
                <a:latin typeface="Arial"/>
                <a:cs typeface="Calibri Light"/>
              </a:rPr>
              <a:t>Tokyo</a:t>
            </a:r>
          </a:p>
          <a:p>
            <a:pPr defTabSz="857250">
              <a:spcBef>
                <a:spcPts val="1200"/>
              </a:spcBef>
            </a:pPr>
            <a:r>
              <a:rPr lang="en-US" sz="1400" b="1">
                <a:solidFill>
                  <a:schemeClr val="tx2"/>
                </a:solidFill>
                <a:latin typeface="Arial"/>
                <a:cs typeface="Calibri Light"/>
              </a:rPr>
              <a:t>Malaysia: </a:t>
            </a:r>
            <a:r>
              <a:rPr lang="en-US" sz="1400">
                <a:solidFill>
                  <a:schemeClr val="tx1">
                    <a:lumMod val="65000"/>
                    <a:lumOff val="35000"/>
                  </a:schemeClr>
                </a:solidFill>
                <a:latin typeface="Arial"/>
                <a:cs typeface="Calibri Light"/>
              </a:rPr>
              <a:t>Kuala Lumpur</a:t>
            </a:r>
            <a:endParaRPr lang="en-US" sz="1400" dirty="0">
              <a:solidFill>
                <a:schemeClr val="tx1">
                  <a:lumMod val="65000"/>
                  <a:lumOff val="35000"/>
                </a:schemeClr>
              </a:solidFill>
              <a:latin typeface="Arial"/>
              <a:cs typeface="Calibri Light"/>
            </a:endParaRPr>
          </a:p>
          <a:p>
            <a:pPr defTabSz="857250">
              <a:spcBef>
                <a:spcPts val="1200"/>
              </a:spcBef>
            </a:pPr>
            <a:r>
              <a:rPr lang="en-US" sz="1400" b="1" dirty="0">
                <a:solidFill>
                  <a:schemeClr val="tx2"/>
                </a:solidFill>
                <a:latin typeface="Arial"/>
                <a:cs typeface="Calibri Light"/>
              </a:rPr>
              <a:t>Singapore: </a:t>
            </a:r>
            <a:r>
              <a:rPr lang="en-US" sz="1400" dirty="0">
                <a:solidFill>
                  <a:schemeClr val="tx1">
                    <a:lumMod val="65000"/>
                    <a:lumOff val="35000"/>
                  </a:schemeClr>
                </a:solidFill>
                <a:latin typeface="Arial"/>
                <a:cs typeface="Calibri Light"/>
              </a:rPr>
              <a:t>Singapore</a:t>
            </a:r>
          </a:p>
          <a:p>
            <a:pPr defTabSz="857250">
              <a:spcBef>
                <a:spcPts val="1200"/>
              </a:spcBef>
            </a:pPr>
            <a:r>
              <a:rPr lang="en-US" sz="1400" b="1" dirty="0">
                <a:solidFill>
                  <a:schemeClr val="tx2"/>
                </a:solidFill>
                <a:latin typeface="Arial"/>
                <a:cs typeface="Calibri Light"/>
              </a:rPr>
              <a:t>South Korea: </a:t>
            </a:r>
            <a:r>
              <a:rPr lang="en-US" sz="1400" dirty="0">
                <a:solidFill>
                  <a:schemeClr val="tx1">
                    <a:lumMod val="65000"/>
                    <a:lumOff val="35000"/>
                  </a:schemeClr>
                </a:solidFill>
                <a:latin typeface="Arial"/>
                <a:cs typeface="Calibri Light"/>
              </a:rPr>
              <a:t>Seoul</a:t>
            </a:r>
          </a:p>
        </p:txBody>
      </p:sp>
      <p:sp>
        <p:nvSpPr>
          <p:cNvPr id="15" name="Rectangle 32"/>
          <p:cNvSpPr>
            <a:spLocks noChangeArrowheads="1"/>
          </p:cNvSpPr>
          <p:nvPr>
            <p:custDataLst>
              <p:tags r:id="rId2"/>
            </p:custDataLst>
          </p:nvPr>
        </p:nvSpPr>
        <p:spPr bwMode="auto">
          <a:xfrm>
            <a:off x="5384331" y="814697"/>
            <a:ext cx="4294955" cy="5663089"/>
          </a:xfrm>
          <a:prstGeom prst="rect">
            <a:avLst/>
          </a:prstGeom>
          <a:noFill/>
          <a:ln w="9525">
            <a:noFill/>
            <a:miter lim="800000"/>
            <a:headEnd/>
            <a:tailEnd/>
          </a:ln>
          <a:effectLst/>
        </p:spPr>
        <p:txBody>
          <a:bodyPr wrap="square" lIns="0" tIns="0" rIns="0" bIns="0" anchor="t">
            <a:spAutoFit/>
          </a:bodyPr>
          <a:lstStyle/>
          <a:p>
            <a:pPr defTabSz="857250">
              <a:spcBef>
                <a:spcPts val="1200"/>
              </a:spcBef>
            </a:pPr>
            <a:r>
              <a:rPr lang="en-US" b="1">
                <a:solidFill>
                  <a:schemeClr val="bg2"/>
                </a:solidFill>
                <a:latin typeface="Arial"/>
                <a:cs typeface="Calibri Light"/>
              </a:rPr>
              <a:t>EMEA: </a:t>
            </a:r>
            <a:endParaRPr lang="en-US" b="1">
              <a:solidFill>
                <a:schemeClr val="bg2"/>
              </a:solidFill>
              <a:latin typeface="Arial"/>
              <a:cs typeface="Calibri Light" panose="020F0302020204030204" pitchFamily="34" charset="0"/>
            </a:endParaRPr>
          </a:p>
          <a:p>
            <a:pPr defTabSz="857250">
              <a:spcBef>
                <a:spcPts val="1200"/>
              </a:spcBef>
            </a:pPr>
            <a:r>
              <a:rPr lang="en-US" sz="1400" b="1">
                <a:solidFill>
                  <a:schemeClr val="tx2"/>
                </a:solidFill>
                <a:latin typeface="Arial"/>
                <a:cs typeface="Calibri Light"/>
              </a:rPr>
              <a:t>Austria: </a:t>
            </a:r>
            <a:r>
              <a:rPr lang="en-US" sz="1400">
                <a:solidFill>
                  <a:schemeClr val="tx1">
                    <a:lumMod val="65000"/>
                    <a:lumOff val="35000"/>
                  </a:schemeClr>
                </a:solidFill>
                <a:latin typeface="Arial"/>
                <a:cs typeface="Calibri Light"/>
              </a:rPr>
              <a:t>Vienna</a:t>
            </a:r>
            <a:endParaRPr lang="en-US" sz="1400" b="1">
              <a:solidFill>
                <a:schemeClr val="tx1">
                  <a:lumMod val="65000"/>
                  <a:lumOff val="35000"/>
                </a:schemeClr>
              </a:solidFill>
              <a:latin typeface="Arial"/>
              <a:cs typeface="Calibri Light"/>
            </a:endParaRPr>
          </a:p>
          <a:p>
            <a:pPr defTabSz="857250">
              <a:spcBef>
                <a:spcPts val="1200"/>
              </a:spcBef>
            </a:pPr>
            <a:r>
              <a:rPr lang="en-US" sz="1400" b="1">
                <a:solidFill>
                  <a:schemeClr val="tx2"/>
                </a:solidFill>
                <a:latin typeface="Arial"/>
                <a:cs typeface="Calibri Light"/>
              </a:rPr>
              <a:t>Denmark:</a:t>
            </a:r>
            <a:r>
              <a:rPr lang="en-US" sz="1400" dirty="0">
                <a:latin typeface="Arial"/>
                <a:cs typeface="Calibri Light"/>
              </a:rPr>
              <a:t> </a:t>
            </a:r>
            <a:r>
              <a:rPr lang="en-US" sz="1400">
                <a:solidFill>
                  <a:schemeClr val="bg2"/>
                </a:solidFill>
                <a:latin typeface="Arial"/>
                <a:cs typeface="Calibri Light"/>
              </a:rPr>
              <a:t>Copenhagen</a:t>
            </a:r>
          </a:p>
          <a:p>
            <a:pPr defTabSz="857250">
              <a:spcBef>
                <a:spcPts val="1200"/>
              </a:spcBef>
            </a:pPr>
            <a:r>
              <a:rPr lang="en-US" sz="1400" b="1">
                <a:solidFill>
                  <a:schemeClr val="tx2"/>
                </a:solidFill>
                <a:latin typeface="Arial"/>
                <a:cs typeface="Calibri Light"/>
              </a:rPr>
              <a:t>France: </a:t>
            </a:r>
            <a:r>
              <a:rPr lang="en-US" sz="1400">
                <a:solidFill>
                  <a:schemeClr val="bg2"/>
                </a:solidFill>
                <a:latin typeface="Arial"/>
                <a:cs typeface="Calibri Light"/>
              </a:rPr>
              <a:t>Lille, Lyon, </a:t>
            </a:r>
            <a:r>
              <a:rPr lang="en-US" sz="1400">
                <a:solidFill>
                  <a:schemeClr val="tx1">
                    <a:lumMod val="65000"/>
                    <a:lumOff val="35000"/>
                  </a:schemeClr>
                </a:solidFill>
                <a:latin typeface="Arial"/>
                <a:cs typeface="Calibri Light"/>
              </a:rPr>
              <a:t>Marseille</a:t>
            </a:r>
            <a:r>
              <a:rPr lang="en-US" sz="1400">
                <a:solidFill>
                  <a:schemeClr val="bg2"/>
                </a:solidFill>
                <a:latin typeface="Arial"/>
                <a:cs typeface="Calibri Light"/>
              </a:rPr>
              <a:t>, Nantes, Paris, Toulouse</a:t>
            </a:r>
            <a:endParaRPr lang="en-US">
              <a:solidFill>
                <a:schemeClr val="bg2"/>
              </a:solidFill>
            </a:endParaRPr>
          </a:p>
          <a:p>
            <a:pPr defTabSz="857250">
              <a:spcBef>
                <a:spcPts val="1200"/>
              </a:spcBef>
            </a:pPr>
            <a:r>
              <a:rPr lang="en-US" sz="1400" b="1">
                <a:solidFill>
                  <a:schemeClr val="tx2"/>
                </a:solidFill>
                <a:latin typeface="Arial"/>
                <a:cs typeface="Calibri Light"/>
              </a:rPr>
              <a:t>Germany: </a:t>
            </a:r>
            <a:r>
              <a:rPr lang="en-US" sz="1400">
                <a:solidFill>
                  <a:schemeClr val="bg2"/>
                </a:solidFill>
                <a:latin typeface="Arial"/>
                <a:cs typeface="Calibri Light"/>
              </a:rPr>
              <a:t>Berlin, Düsseldorf, Frankfurt, Hamburg, Munich, Stuttgart</a:t>
            </a:r>
          </a:p>
          <a:p>
            <a:pPr defTabSz="857250">
              <a:spcBef>
                <a:spcPts val="1200"/>
              </a:spcBef>
            </a:pPr>
            <a:r>
              <a:rPr lang="en-US" sz="1400" b="1">
                <a:solidFill>
                  <a:schemeClr val="tx2"/>
                </a:solidFill>
                <a:latin typeface="Arial"/>
                <a:cs typeface="Calibri Light"/>
              </a:rPr>
              <a:t>Hungary: </a:t>
            </a:r>
            <a:r>
              <a:rPr lang="en-US" sz="1400">
                <a:solidFill>
                  <a:schemeClr val="bg2"/>
                </a:solidFill>
                <a:latin typeface="Arial"/>
                <a:cs typeface="Calibri Light"/>
              </a:rPr>
              <a:t>Budapest</a:t>
            </a:r>
          </a:p>
          <a:p>
            <a:pPr defTabSz="857250">
              <a:spcBef>
                <a:spcPts val="1200"/>
              </a:spcBef>
            </a:pPr>
            <a:r>
              <a:rPr lang="en-US" sz="1400" b="1">
                <a:solidFill>
                  <a:schemeClr val="tx2"/>
                </a:solidFill>
                <a:latin typeface="Arial"/>
                <a:cs typeface="Calibri Light"/>
              </a:rPr>
              <a:t>Italy: </a:t>
            </a:r>
            <a:r>
              <a:rPr lang="en-US" sz="1400">
                <a:solidFill>
                  <a:schemeClr val="bg2"/>
                </a:solidFill>
                <a:latin typeface="Arial"/>
                <a:cs typeface="Calibri Light"/>
              </a:rPr>
              <a:t>Milan, Rome</a:t>
            </a:r>
          </a:p>
          <a:p>
            <a:pPr defTabSz="857250">
              <a:spcBef>
                <a:spcPts val="1200"/>
              </a:spcBef>
            </a:pPr>
            <a:r>
              <a:rPr lang="en-US" sz="1400" b="1">
                <a:solidFill>
                  <a:schemeClr val="tx2"/>
                </a:solidFill>
                <a:latin typeface="Arial"/>
                <a:cs typeface="Calibri Light"/>
              </a:rPr>
              <a:t>Netherlands: </a:t>
            </a:r>
            <a:r>
              <a:rPr lang="en-US" sz="1400">
                <a:solidFill>
                  <a:schemeClr val="bg2"/>
                </a:solidFill>
                <a:latin typeface="Arial"/>
                <a:cs typeface="Calibri Light"/>
              </a:rPr>
              <a:t>Amersfoort, The Hague</a:t>
            </a:r>
            <a:endParaRPr lang="en-US">
              <a:solidFill>
                <a:schemeClr val="bg2"/>
              </a:solidFill>
            </a:endParaRPr>
          </a:p>
          <a:p>
            <a:pPr defTabSz="857250">
              <a:spcBef>
                <a:spcPts val="1200"/>
              </a:spcBef>
            </a:pPr>
            <a:r>
              <a:rPr lang="en-US" sz="1400" b="1">
                <a:solidFill>
                  <a:schemeClr val="tx2"/>
                </a:solidFill>
                <a:latin typeface="Arial"/>
                <a:cs typeface="Calibri Light"/>
              </a:rPr>
              <a:t>Romania</a:t>
            </a:r>
            <a:r>
              <a:rPr lang="en-US" sz="1400" b="1">
                <a:solidFill>
                  <a:schemeClr val="bg2"/>
                </a:solidFill>
                <a:latin typeface="Arial"/>
                <a:cs typeface="Calibri Light"/>
              </a:rPr>
              <a:t>: </a:t>
            </a:r>
            <a:r>
              <a:rPr lang="en-US" sz="1400">
                <a:solidFill>
                  <a:schemeClr val="bg2"/>
                </a:solidFill>
                <a:latin typeface="Arial"/>
                <a:cs typeface="Calibri Light"/>
              </a:rPr>
              <a:t>Bucharest, Cluj</a:t>
            </a:r>
          </a:p>
          <a:p>
            <a:pPr defTabSz="857250">
              <a:spcBef>
                <a:spcPts val="1200"/>
              </a:spcBef>
            </a:pPr>
            <a:r>
              <a:rPr lang="en-US" sz="1400" b="1">
                <a:solidFill>
                  <a:schemeClr val="tx2"/>
                </a:solidFill>
                <a:latin typeface="Arial"/>
                <a:cs typeface="Calibri Light"/>
              </a:rPr>
              <a:t>Switzerland: </a:t>
            </a:r>
            <a:r>
              <a:rPr lang="en-US" sz="1400">
                <a:solidFill>
                  <a:schemeClr val="bg2"/>
                </a:solidFill>
                <a:latin typeface="Arial"/>
                <a:cs typeface="Calibri Light"/>
              </a:rPr>
              <a:t>Lausanne, Zurich</a:t>
            </a:r>
          </a:p>
          <a:p>
            <a:pPr defTabSz="857250">
              <a:spcBef>
                <a:spcPts val="1200"/>
              </a:spcBef>
            </a:pPr>
            <a:r>
              <a:rPr lang="en-US" sz="1400" b="1">
                <a:solidFill>
                  <a:schemeClr val="tx2"/>
                </a:solidFill>
                <a:latin typeface="Arial"/>
                <a:cs typeface="Calibri Light"/>
              </a:rPr>
              <a:t>Tanzania:</a:t>
            </a:r>
            <a:r>
              <a:rPr lang="en-US" sz="1400">
                <a:solidFill>
                  <a:schemeClr val="bg2"/>
                </a:solidFill>
                <a:latin typeface="Arial"/>
                <a:cs typeface="Calibri Light"/>
              </a:rPr>
              <a:t> Dar es Salaam</a:t>
            </a:r>
            <a:endParaRPr lang="en-US" sz="1400" dirty="0">
              <a:solidFill>
                <a:schemeClr val="bg2"/>
              </a:solidFill>
              <a:latin typeface="Arial"/>
              <a:cs typeface="Calibri Light"/>
            </a:endParaRPr>
          </a:p>
          <a:p>
            <a:pPr defTabSz="857250">
              <a:spcBef>
                <a:spcPts val="1200"/>
              </a:spcBef>
            </a:pPr>
            <a:r>
              <a:rPr lang="en-US" sz="1400" b="1">
                <a:solidFill>
                  <a:schemeClr val="tx2"/>
                </a:solidFill>
                <a:latin typeface="Arial"/>
                <a:cs typeface="Calibri Light"/>
              </a:rPr>
              <a:t>UK: </a:t>
            </a:r>
            <a:r>
              <a:rPr lang="en-US" sz="1400">
                <a:solidFill>
                  <a:schemeClr val="bg2"/>
                </a:solidFill>
                <a:latin typeface="Arial"/>
                <a:cs typeface="Calibri Light"/>
              </a:rPr>
              <a:t>London, Manchester</a:t>
            </a:r>
            <a:endParaRPr lang="en-US">
              <a:solidFill>
                <a:schemeClr val="bg2"/>
              </a:solidFill>
            </a:endParaRPr>
          </a:p>
          <a:p>
            <a:pPr defTabSz="857250">
              <a:spcBef>
                <a:spcPts val="1200"/>
              </a:spcBef>
            </a:pPr>
            <a:r>
              <a:rPr lang="en-US" sz="1400" b="1">
                <a:solidFill>
                  <a:schemeClr val="tx2"/>
                </a:solidFill>
                <a:latin typeface="Arial"/>
                <a:cs typeface="Calibri Light"/>
              </a:rPr>
              <a:t>South Africa: </a:t>
            </a:r>
            <a:r>
              <a:rPr lang="en-US" sz="1400">
                <a:solidFill>
                  <a:schemeClr val="bg2"/>
                </a:solidFill>
                <a:latin typeface="Arial"/>
                <a:cs typeface="Calibri Light"/>
              </a:rPr>
              <a:t>Johannesburg</a:t>
            </a:r>
          </a:p>
          <a:p>
            <a:pPr defTabSz="857250">
              <a:spcBef>
                <a:spcPts val="1200"/>
              </a:spcBef>
            </a:pPr>
            <a:r>
              <a:rPr lang="en-US" sz="1400" b="1">
                <a:solidFill>
                  <a:schemeClr val="tx2"/>
                </a:solidFill>
                <a:latin typeface="Arial"/>
                <a:cs typeface="Calibri Light"/>
              </a:rPr>
              <a:t>Saudi Arabia: </a:t>
            </a:r>
            <a:r>
              <a:rPr lang="en-US" sz="1400">
                <a:solidFill>
                  <a:schemeClr val="tx1">
                    <a:lumMod val="65000"/>
                    <a:lumOff val="35000"/>
                  </a:schemeClr>
                </a:solidFill>
                <a:latin typeface="Arial"/>
                <a:cs typeface="Calibri Light"/>
              </a:rPr>
              <a:t>Riyadh</a:t>
            </a:r>
          </a:p>
          <a:p>
            <a:pPr defTabSz="857250">
              <a:spcBef>
                <a:spcPts val="1200"/>
              </a:spcBef>
              <a:spcAft>
                <a:spcPts val="1200"/>
              </a:spcAft>
            </a:pPr>
            <a:r>
              <a:rPr lang="en-US" sz="1400" b="1">
                <a:solidFill>
                  <a:schemeClr val="tx2"/>
                </a:solidFill>
                <a:latin typeface="Arial"/>
                <a:cs typeface="Calibri Light"/>
              </a:rPr>
              <a:t>United Arab Emirates: </a:t>
            </a:r>
            <a:r>
              <a:rPr lang="en-US" sz="1400">
                <a:solidFill>
                  <a:schemeClr val="tx1">
                    <a:lumMod val="65000"/>
                    <a:lumOff val="35000"/>
                  </a:schemeClr>
                </a:solidFill>
                <a:latin typeface="Arial"/>
                <a:cs typeface="Calibri Light"/>
              </a:rPr>
              <a:t>Abu Dhabi, Dubai</a:t>
            </a:r>
          </a:p>
        </p:txBody>
      </p:sp>
      <p:sp>
        <p:nvSpPr>
          <p:cNvPr id="16" name="Content Placeholder 2"/>
          <p:cNvSpPr txBox="1">
            <a:spLocks/>
          </p:cNvSpPr>
          <p:nvPr/>
        </p:nvSpPr>
        <p:spPr>
          <a:xfrm>
            <a:off x="9857630" y="1431683"/>
            <a:ext cx="2031768" cy="4528318"/>
          </a:xfrm>
          <a:prstGeom prst="rect">
            <a:avLst/>
          </a:prstGeom>
        </p:spPr>
        <p:txBody>
          <a:bodyPr vert="horz" lIns="0" tIns="45720" rIns="0" bIns="45720" rtlCol="0" anchor="t">
            <a:noAutofit/>
          </a:bodyPr>
          <a:lstStyle>
            <a:lvl1pPr marL="180975" indent="-180975" algn="l" defTabSz="914400" rtl="0" eaLnBrk="1" fontAlgn="ctr" latinLnBrk="0" hangingPunct="1">
              <a:lnSpc>
                <a:spcPct val="100000"/>
              </a:lnSpc>
              <a:spcBef>
                <a:spcPts val="600"/>
              </a:spcBef>
              <a:buClr>
                <a:srgbClr val="005AAA"/>
              </a:buClr>
              <a:buFont typeface="Arial" charset="0"/>
              <a:buChar char="•"/>
              <a:tabLst/>
              <a:defRPr sz="1600" b="0" kern="1200">
                <a:solidFill>
                  <a:schemeClr val="tx1">
                    <a:lumMod val="65000"/>
                    <a:lumOff val="35000"/>
                  </a:schemeClr>
                </a:solidFill>
                <a:latin typeface="+mn-lt"/>
                <a:ea typeface="28 Days Later" charset="0"/>
                <a:cs typeface="28 Days Later" charset="0"/>
              </a:defRPr>
            </a:lvl1pPr>
            <a:lvl2pPr marL="401638" indent="-182563" algn="l" defTabSz="914400" rtl="0" eaLnBrk="1" fontAlgn="ctr" latinLnBrk="0" hangingPunct="1">
              <a:lnSpc>
                <a:spcPct val="100000"/>
              </a:lnSpc>
              <a:spcBef>
                <a:spcPts val="600"/>
              </a:spcBef>
              <a:buClr>
                <a:srgbClr val="005AAA"/>
              </a:buClr>
              <a:buSzPct val="60000"/>
              <a:buFont typeface="Courier New" charset="0"/>
              <a:buChar char="o"/>
              <a:tabLst/>
              <a:defRPr sz="1600" b="0" kern="1200">
                <a:solidFill>
                  <a:schemeClr val="tx1">
                    <a:lumMod val="65000"/>
                    <a:lumOff val="35000"/>
                  </a:schemeClr>
                </a:solidFill>
                <a:latin typeface="+mn-lt"/>
                <a:ea typeface="28 Days Later" charset="0"/>
                <a:cs typeface="28 Days Later" charset="0"/>
              </a:defRPr>
            </a:lvl2pPr>
            <a:lvl3pPr marL="631825" indent="-177800" algn="l" defTabSz="914400" rtl="0" eaLnBrk="1" fontAlgn="ctr" latinLnBrk="0" hangingPunct="1">
              <a:lnSpc>
                <a:spcPct val="100000"/>
              </a:lnSpc>
              <a:spcBef>
                <a:spcPts val="600"/>
              </a:spcBef>
              <a:buClr>
                <a:srgbClr val="005AAA"/>
              </a:buClr>
              <a:buFont typeface="Arial" charset="0"/>
              <a:buChar char="•"/>
              <a:tabLst/>
              <a:defRPr sz="1600" b="0" kern="1200">
                <a:solidFill>
                  <a:schemeClr val="tx1">
                    <a:lumMod val="65000"/>
                    <a:lumOff val="35000"/>
                  </a:schemeClr>
                </a:solidFill>
                <a:latin typeface="+mn-lt"/>
                <a:ea typeface="28 Days Later" charset="0"/>
                <a:cs typeface="28 Days Later" charset="0"/>
              </a:defRPr>
            </a:lvl3pPr>
            <a:lvl4pPr marL="857250" indent="-196850" algn="l" defTabSz="914400" rtl="0" eaLnBrk="1" fontAlgn="ctr" latinLnBrk="0" hangingPunct="1">
              <a:lnSpc>
                <a:spcPct val="100000"/>
              </a:lnSpc>
              <a:spcBef>
                <a:spcPts val="600"/>
              </a:spcBef>
              <a:buClr>
                <a:srgbClr val="005AAA"/>
              </a:buClr>
              <a:buSzPct val="60000"/>
              <a:buFont typeface="Courier New" charset="0"/>
              <a:buChar char="o"/>
              <a:tabLst/>
              <a:defRPr sz="1600" b="0" kern="1200">
                <a:solidFill>
                  <a:schemeClr val="tx1">
                    <a:lumMod val="65000"/>
                    <a:lumOff val="35000"/>
                  </a:schemeClr>
                </a:solidFill>
                <a:latin typeface="+mn-lt"/>
                <a:ea typeface="28 Days Later" charset="0"/>
                <a:cs typeface="28 Days Later" charset="0"/>
              </a:defRPr>
            </a:lvl4pPr>
            <a:lvl5pPr marL="1087438" indent="-168275" algn="l" defTabSz="914400" rtl="0" eaLnBrk="1" fontAlgn="ctr" latinLnBrk="0" hangingPunct="1">
              <a:lnSpc>
                <a:spcPct val="100000"/>
              </a:lnSpc>
              <a:spcBef>
                <a:spcPts val="600"/>
              </a:spcBef>
              <a:buClr>
                <a:srgbClr val="005AAA"/>
              </a:buClr>
              <a:buFont typeface="Arial" charset="0"/>
              <a:buChar char="•"/>
              <a:tabLst/>
              <a:defRPr sz="1600" b="0" kern="1200">
                <a:solidFill>
                  <a:schemeClr val="tx1">
                    <a:lumMod val="65000"/>
                    <a:lumOff val="35000"/>
                  </a:schemeClr>
                </a:solidFill>
                <a:latin typeface="+mn-lt"/>
                <a:ea typeface="28 Days Later" charset="0"/>
                <a:cs typeface="28 Days Later" charset="0"/>
              </a:defRPr>
            </a:lvl5pPr>
            <a:lvl6pPr marL="1550988" indent="-168275" algn="l" defTabSz="914400" rtl="0" eaLnBrk="1" latinLnBrk="0" hangingPunct="1">
              <a:lnSpc>
                <a:spcPct val="90000"/>
              </a:lnSpc>
              <a:spcBef>
                <a:spcPts val="500"/>
              </a:spcBef>
              <a:buClr>
                <a:srgbClr val="0059AB"/>
              </a:buClr>
              <a:buFont typeface="Arial"/>
              <a:buChar char="•"/>
              <a:tabLst/>
              <a:defRPr sz="1400" b="0" kern="1200" baseline="0">
                <a:solidFill>
                  <a:schemeClr val="tx1"/>
                </a:solidFill>
                <a:latin typeface="+mn-lt"/>
                <a:ea typeface="+mn-ea"/>
                <a:cs typeface="+mn-cs"/>
              </a:defRPr>
            </a:lvl6pPr>
            <a:lvl7pPr marL="12700" indent="0" algn="l" defTabSz="914400" rtl="0" eaLnBrk="1" latinLnBrk="0" hangingPunct="1">
              <a:lnSpc>
                <a:spcPct val="90000"/>
              </a:lnSpc>
              <a:spcBef>
                <a:spcPts val="500"/>
              </a:spcBef>
              <a:buFont typeface="Arial"/>
              <a:buNone/>
              <a:tabLst/>
              <a:defRPr sz="1400" b="1" kern="1200">
                <a:solidFill>
                  <a:schemeClr val="tx1">
                    <a:lumMod val="65000"/>
                    <a:lumOff val="35000"/>
                  </a:schemeClr>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None/>
            </a:pPr>
            <a:r>
              <a:rPr lang="en-US" sz="4800" b="1">
                <a:solidFill>
                  <a:schemeClr val="bg1"/>
                </a:solidFill>
              </a:rPr>
              <a:t>10 </a:t>
            </a:r>
            <a:r>
              <a:rPr lang="en-US" sz="1800" b="1">
                <a:solidFill>
                  <a:schemeClr val="bg1"/>
                </a:solidFill>
              </a:rPr>
              <a:t>Partner Firms</a:t>
            </a:r>
            <a:endParaRPr lang="en-US">
              <a:solidFill>
                <a:schemeClr val="bg1"/>
              </a:solidFill>
            </a:endParaRPr>
          </a:p>
          <a:p>
            <a:pPr marL="0" lvl="0" indent="0" algn="ctr">
              <a:buNone/>
            </a:pPr>
            <a:endParaRPr lang="en-US" sz="1800" b="1">
              <a:solidFill>
                <a:schemeClr val="bg1"/>
              </a:solidFill>
            </a:endParaRPr>
          </a:p>
          <a:p>
            <a:pPr marL="0" lvl="0" indent="0" algn="ctr">
              <a:buNone/>
            </a:pPr>
            <a:r>
              <a:rPr lang="en-US" sz="4800" b="1" dirty="0">
                <a:solidFill>
                  <a:schemeClr val="bg1"/>
                </a:solidFill>
              </a:rPr>
              <a:t>60+</a:t>
            </a:r>
          </a:p>
          <a:p>
            <a:pPr marL="0" indent="0" algn="ctr">
              <a:buNone/>
            </a:pPr>
            <a:r>
              <a:rPr lang="en-US" sz="1800" b="1">
                <a:solidFill>
                  <a:schemeClr val="bg1"/>
                </a:solidFill>
              </a:rPr>
              <a:t>Offices in 23 Countries</a:t>
            </a:r>
          </a:p>
          <a:p>
            <a:pPr marL="0" indent="0" algn="ctr">
              <a:buNone/>
            </a:pPr>
            <a:endParaRPr lang="en-US" sz="1800" b="1">
              <a:solidFill>
                <a:schemeClr val="bg1"/>
              </a:solidFill>
            </a:endParaRPr>
          </a:p>
          <a:p>
            <a:pPr marL="0" indent="0" algn="ctr">
              <a:buNone/>
            </a:pPr>
            <a:r>
              <a:rPr lang="en-US" sz="4800" b="1" dirty="0">
                <a:solidFill>
                  <a:schemeClr val="bg1"/>
                </a:solidFill>
              </a:rPr>
              <a:t>5,500+</a:t>
            </a:r>
          </a:p>
          <a:p>
            <a:pPr marL="0" indent="0" algn="ctr">
              <a:buNone/>
            </a:pPr>
            <a:r>
              <a:rPr lang="en-US" sz="1800" b="1">
                <a:solidFill>
                  <a:schemeClr val="bg1"/>
                </a:solidFill>
              </a:rPr>
              <a:t>Consultants</a:t>
            </a:r>
            <a:endParaRPr lang="en-US" sz="4800" b="1">
              <a:solidFill>
                <a:schemeClr val="bg1"/>
              </a:solidFill>
            </a:endParaRPr>
          </a:p>
          <a:p>
            <a:pPr marL="0" lvl="0" indent="0" algn="ctr">
              <a:buNone/>
            </a:pPr>
            <a:endParaRPr lang="en-US" sz="4800" b="1">
              <a:solidFill>
                <a:schemeClr val="bg1"/>
              </a:solidFill>
            </a:endParaRPr>
          </a:p>
        </p:txBody>
      </p:sp>
    </p:spTree>
    <p:extLst>
      <p:ext uri="{BB962C8B-B14F-4D97-AF65-F5344CB8AC3E}">
        <p14:creationId xmlns:p14="http://schemas.microsoft.com/office/powerpoint/2010/main" val="5047369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ordence Worldwide Contact Information</a:t>
            </a:r>
            <a:br>
              <a:rPr lang="en-US"/>
            </a:br>
            <a:endParaRPr lang="en-US"/>
          </a:p>
        </p:txBody>
      </p:sp>
      <p:sp>
        <p:nvSpPr>
          <p:cNvPr id="7" name="TextBox 13"/>
          <p:cNvSpPr txBox="1">
            <a:spLocks noChangeArrowheads="1"/>
          </p:cNvSpPr>
          <p:nvPr/>
        </p:nvSpPr>
        <p:spPr bwMode="auto">
          <a:xfrm>
            <a:off x="2279576" y="1893069"/>
            <a:ext cx="4248472" cy="1323439"/>
          </a:xfrm>
          <a:prstGeom prst="rect">
            <a:avLst/>
          </a:prstGeom>
          <a:noFill/>
          <a:ln w="9525">
            <a:noFill/>
            <a:miter lim="800000"/>
            <a:headEnd/>
            <a:tailEnd/>
          </a:ln>
        </p:spPr>
        <p:txBody>
          <a:bodyPr wrap="square" lIns="91440" tIns="45720" rIns="91440" bIns="45720" anchor="t">
            <a:spAutoFit/>
          </a:bodyPr>
          <a:lstStyle/>
          <a:p>
            <a:pPr eaLnBrk="0" hangingPunct="0">
              <a:spcAft>
                <a:spcPts val="300"/>
              </a:spcAft>
              <a:defRPr/>
            </a:pPr>
            <a:r>
              <a:rPr lang="en-US" sz="1400" b="1" err="1">
                <a:solidFill>
                  <a:schemeClr val="accent4">
                    <a:lumMod val="90000"/>
                    <a:lumOff val="10000"/>
                  </a:schemeClr>
                </a:solidFill>
                <a:latin typeface="Arial"/>
                <a:ea typeface="ＭＳ Ｐゴシック"/>
                <a:cs typeface="Arial"/>
              </a:rPr>
              <a:t>Cordence</a:t>
            </a:r>
            <a:r>
              <a:rPr lang="en-US" sz="1400" b="1">
                <a:solidFill>
                  <a:schemeClr val="accent4">
                    <a:lumMod val="90000"/>
                    <a:lumOff val="10000"/>
                  </a:schemeClr>
                </a:solidFill>
                <a:latin typeface="Arial"/>
                <a:ea typeface="ＭＳ Ｐゴシック"/>
                <a:cs typeface="Arial"/>
              </a:rPr>
              <a:t> Worldwide – Managing Director</a:t>
            </a:r>
          </a:p>
          <a:p>
            <a:pPr eaLnBrk="0" hangingPunct="0">
              <a:spcAft>
                <a:spcPts val="300"/>
              </a:spcAft>
              <a:defRPr/>
            </a:pPr>
            <a:r>
              <a:rPr lang="en-US" sz="1400" b="1">
                <a:solidFill>
                  <a:schemeClr val="accent4">
                    <a:lumMod val="90000"/>
                    <a:lumOff val="10000"/>
                  </a:schemeClr>
                </a:solidFill>
                <a:latin typeface="Arial"/>
                <a:ea typeface="ＭＳ Ｐゴシック"/>
                <a:cs typeface="Arial"/>
              </a:rPr>
              <a:t>Phone:  </a:t>
            </a:r>
            <a:r>
              <a:rPr lang="en-US" sz="1400">
                <a:solidFill>
                  <a:schemeClr val="accent4">
                    <a:lumMod val="90000"/>
                    <a:lumOff val="10000"/>
                  </a:schemeClr>
                </a:solidFill>
                <a:latin typeface="Arial"/>
                <a:ea typeface="ＭＳ Ｐゴシック"/>
                <a:cs typeface="Arial"/>
              </a:rPr>
              <a:t>+1.678.427.4188 </a:t>
            </a:r>
            <a:endParaRPr lang="en-US" sz="1400">
              <a:solidFill>
                <a:schemeClr val="accent4">
                  <a:lumMod val="90000"/>
                  <a:lumOff val="10000"/>
                </a:schemeClr>
              </a:solidFill>
              <a:latin typeface="Arial" charset="0"/>
              <a:ea typeface="ＭＳ Ｐゴシック" pitchFamily="48" charset="-128"/>
              <a:cs typeface="Arial"/>
            </a:endParaRPr>
          </a:p>
          <a:p>
            <a:pPr eaLnBrk="0" hangingPunct="0">
              <a:spcAft>
                <a:spcPts val="300"/>
              </a:spcAft>
              <a:defRPr/>
            </a:pPr>
            <a:r>
              <a:rPr lang="fr-FR" sz="1400" b="1">
                <a:solidFill>
                  <a:schemeClr val="accent4">
                    <a:lumMod val="90000"/>
                    <a:lumOff val="10000"/>
                  </a:schemeClr>
                </a:solidFill>
                <a:latin typeface="Arial"/>
                <a:ea typeface="ＭＳ Ｐゴシック"/>
                <a:cs typeface="Arial"/>
              </a:rPr>
              <a:t>Email:</a:t>
            </a:r>
            <a:r>
              <a:rPr lang="fr-FR" sz="1400">
                <a:solidFill>
                  <a:schemeClr val="accent4">
                    <a:lumMod val="90000"/>
                    <a:lumOff val="10000"/>
                  </a:schemeClr>
                </a:solidFill>
                <a:latin typeface="Arial"/>
                <a:ea typeface="ＭＳ Ｐゴシック"/>
                <a:cs typeface="Arial"/>
              </a:rPr>
              <a:t> Jill Jacques</a:t>
            </a:r>
            <a:endParaRPr lang="fr-FR" sz="1400">
              <a:solidFill>
                <a:schemeClr val="accent4">
                  <a:lumMod val="90000"/>
                  <a:lumOff val="10000"/>
                </a:schemeClr>
              </a:solidFill>
              <a:latin typeface="Arial" charset="0"/>
              <a:ea typeface="ＭＳ Ｐゴシック" pitchFamily="48" charset="-128"/>
              <a:cs typeface="Arial"/>
            </a:endParaRPr>
          </a:p>
          <a:p>
            <a:pPr eaLnBrk="0" hangingPunct="0">
              <a:spcAft>
                <a:spcPts val="300"/>
              </a:spcAft>
              <a:defRPr/>
            </a:pPr>
            <a:r>
              <a:rPr lang="en-US" sz="1400">
                <a:solidFill>
                  <a:schemeClr val="accent4">
                    <a:lumMod val="90000"/>
                    <a:lumOff val="10000"/>
                  </a:schemeClr>
                </a:solidFill>
                <a:latin typeface="Arial"/>
                <a:ea typeface="ＭＳ Ｐゴシック"/>
                <a:cs typeface="Arial"/>
                <a:hlinkClick r:id="rId2">
                  <a:extLst>
                    <a:ext uri="{A12FA001-AC4F-418D-AE19-62706E023703}">
                      <ahyp:hlinkClr xmlns:ahyp="http://schemas.microsoft.com/office/drawing/2018/hyperlinkcolor" val="tx"/>
                    </a:ext>
                  </a:extLst>
                </a:hlinkClick>
              </a:rPr>
              <a:t>Jill.Jacques@cordence.com</a:t>
            </a:r>
          </a:p>
          <a:p>
            <a:pPr eaLnBrk="0" hangingPunct="0">
              <a:spcAft>
                <a:spcPts val="300"/>
              </a:spcAft>
              <a:defRPr/>
            </a:pPr>
            <a:endParaRPr lang="fr-FR" sz="1400">
              <a:solidFill>
                <a:schemeClr val="accent4">
                  <a:lumMod val="90000"/>
                  <a:lumOff val="10000"/>
                </a:schemeClr>
              </a:solidFill>
              <a:latin typeface="Arial" charset="0"/>
              <a:ea typeface="ＭＳ Ｐゴシック" pitchFamily="48" charset="-128"/>
            </a:endParaRPr>
          </a:p>
        </p:txBody>
      </p:sp>
      <p:sp>
        <p:nvSpPr>
          <p:cNvPr id="8" name="TextBox 48"/>
          <p:cNvSpPr txBox="1">
            <a:spLocks noChangeArrowheads="1"/>
          </p:cNvSpPr>
          <p:nvPr/>
        </p:nvSpPr>
        <p:spPr bwMode="auto">
          <a:xfrm>
            <a:off x="2279576" y="3010775"/>
            <a:ext cx="2873978" cy="307777"/>
          </a:xfrm>
          <a:prstGeom prst="rect">
            <a:avLst/>
          </a:prstGeom>
          <a:noFill/>
          <a:ln w="9525">
            <a:noFill/>
            <a:miter lim="800000"/>
            <a:headEnd/>
            <a:tailEnd/>
          </a:ln>
        </p:spPr>
        <p:txBody>
          <a:bodyPr wrap="square" lIns="91440" tIns="45720" rIns="91440" bIns="45720" anchor="t">
            <a:spAutoFit/>
          </a:bodyPr>
          <a:lstStyle/>
          <a:p>
            <a:pPr eaLnBrk="0" hangingPunct="0"/>
            <a:r>
              <a:rPr lang="en-US" sz="1400" b="1">
                <a:solidFill>
                  <a:srgbClr val="06357A"/>
                </a:solidFill>
                <a:hlinkClick r:id="rId3">
                  <a:extLst>
                    <a:ext uri="{A12FA001-AC4F-418D-AE19-62706E023703}">
                      <ahyp:hlinkClr xmlns:ahyp="http://schemas.microsoft.com/office/drawing/2018/hyperlinkcolor" val="tx"/>
                    </a:ext>
                  </a:extLst>
                </a:hlinkClick>
              </a:rPr>
              <a:t>www.</a:t>
            </a:r>
            <a:r>
              <a:rPr lang="en-US" sz="1400" b="1">
                <a:solidFill>
                  <a:srgbClr val="06357A"/>
                </a:solidFill>
                <a:hlinkClick r:id="rId3"/>
              </a:rPr>
              <a:t>cordence</a:t>
            </a:r>
            <a:r>
              <a:rPr lang="en-US" sz="1400" b="1">
                <a:solidFill>
                  <a:srgbClr val="06357A"/>
                </a:solidFill>
                <a:hlinkClick r:id="rId3">
                  <a:extLst>
                    <a:ext uri="{A12FA001-AC4F-418D-AE19-62706E023703}">
                      <ahyp:hlinkClr xmlns:ahyp="http://schemas.microsoft.com/office/drawing/2018/hyperlinkcolor" val="tx"/>
                    </a:ext>
                  </a:extLst>
                </a:hlinkClick>
              </a:rPr>
              <a:t>.com</a:t>
            </a:r>
            <a:endParaRPr lang="en-US" sz="1400" b="1">
              <a:solidFill>
                <a:srgbClr val="06357A"/>
              </a:solidFill>
            </a:endParaRPr>
          </a:p>
        </p:txBody>
      </p:sp>
      <p:pic>
        <p:nvPicPr>
          <p:cNvPr id="9" name="Picture 2" descr="Cordence_logo"/>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248128" y="1893069"/>
            <a:ext cx="2615480" cy="893127"/>
          </a:xfrm>
          <a:prstGeom prst="rect">
            <a:avLst/>
          </a:prstGeom>
          <a:noFill/>
          <a:ln>
            <a:noFill/>
          </a:ln>
        </p:spPr>
      </p:pic>
    </p:spTree>
    <p:extLst>
      <p:ext uri="{BB962C8B-B14F-4D97-AF65-F5344CB8AC3E}">
        <p14:creationId xmlns:p14="http://schemas.microsoft.com/office/powerpoint/2010/main" val="2886023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CB81631-D68E-420E-94CA-F61FBBD7ABB5}"/>
              </a:ext>
            </a:extLst>
          </p:cNvPr>
          <p:cNvSpPr>
            <a:spLocks noGrp="1"/>
          </p:cNvSpPr>
          <p:nvPr>
            <p:ph type="title"/>
          </p:nvPr>
        </p:nvSpPr>
        <p:spPr/>
        <p:txBody>
          <a:bodyPr/>
          <a:lstStyle/>
          <a:p>
            <a:r>
              <a:rPr lang="en-US"/>
              <a:t>The Power of Cordence Worldwide</a:t>
            </a:r>
          </a:p>
        </p:txBody>
      </p:sp>
      <p:sp>
        <p:nvSpPr>
          <p:cNvPr id="7" name="Content Placeholder 6">
            <a:extLst>
              <a:ext uri="{FF2B5EF4-FFF2-40B4-BE49-F238E27FC236}">
                <a16:creationId xmlns:a16="http://schemas.microsoft.com/office/drawing/2014/main" id="{491A1531-6374-4D82-BD22-48413CC8FB41}"/>
              </a:ext>
            </a:extLst>
          </p:cNvPr>
          <p:cNvSpPr>
            <a:spLocks noGrp="1"/>
          </p:cNvSpPr>
          <p:nvPr>
            <p:ph idx="13"/>
          </p:nvPr>
        </p:nvSpPr>
        <p:spPr>
          <a:xfrm>
            <a:off x="513793" y="1053428"/>
            <a:ext cx="10726635" cy="4422085"/>
          </a:xfrm>
        </p:spPr>
        <p:txBody>
          <a:bodyPr vert="horz" lIns="91440" tIns="45720" rIns="91440" bIns="45720" rtlCol="0" anchor="t">
            <a:noAutofit/>
          </a:bodyPr>
          <a:lstStyle/>
          <a:p>
            <a:pPr marL="0" indent="0">
              <a:buNone/>
            </a:pPr>
            <a:r>
              <a:rPr lang="en-US" sz="2000"/>
              <a:t>A constantly changing world means our clients need to be ready to rise to new challenges to stay one step ahead. They require entrepreneurial, connected thinking and agility to help take them further. </a:t>
            </a:r>
          </a:p>
          <a:p>
            <a:pPr marL="0" indent="0">
              <a:buNone/>
            </a:pPr>
            <a:endParaRPr lang="en-US" sz="2000"/>
          </a:p>
          <a:p>
            <a:r>
              <a:rPr lang="en-US" sz="2000"/>
              <a:t>Cordence Worldwide is a global network of truly connected consultancy firms with the ability to think and deliver together.  We unify independent firms with shared values and diverse specialized experience from across the globe.  We combine expert perspectives to create solutions and synergies which lead to real competitive advantage for our clients.</a:t>
            </a:r>
          </a:p>
          <a:p>
            <a:pPr marL="0" indent="0">
              <a:buNone/>
            </a:pPr>
            <a:endParaRPr lang="en-US" sz="2000"/>
          </a:p>
          <a:p>
            <a:pPr marL="0" indent="0">
              <a:buNone/>
            </a:pPr>
            <a:r>
              <a:rPr lang="en-US" sz="2000"/>
              <a:t>The Power of Cordence… It’s </a:t>
            </a:r>
            <a:r>
              <a:rPr lang="en-US" sz="2000" b="1">
                <a:solidFill>
                  <a:schemeClr val="tx2">
                    <a:lumMod val="75000"/>
                  </a:schemeClr>
                </a:solidFill>
              </a:rPr>
              <a:t>Connected Thinking </a:t>
            </a:r>
            <a:r>
              <a:rPr lang="en-US" sz="2000"/>
              <a:t>to help you </a:t>
            </a:r>
            <a:r>
              <a:rPr lang="en-US" sz="2000" b="1">
                <a:solidFill>
                  <a:schemeClr val="tx2">
                    <a:lumMod val="75000"/>
                  </a:schemeClr>
                </a:solidFill>
              </a:rPr>
              <a:t>Get Ahead of What’s Next</a:t>
            </a:r>
            <a:r>
              <a:rPr lang="en-US" sz="2000"/>
              <a:t>.</a:t>
            </a:r>
          </a:p>
        </p:txBody>
      </p:sp>
      <p:pic>
        <p:nvPicPr>
          <p:cNvPr id="8" name="Picture 7">
            <a:extLst>
              <a:ext uri="{FF2B5EF4-FFF2-40B4-BE49-F238E27FC236}">
                <a16:creationId xmlns:a16="http://schemas.microsoft.com/office/drawing/2014/main" id="{EADB6DEB-E15D-45D9-9887-B7ECA35295EF}"/>
              </a:ext>
            </a:extLst>
          </p:cNvPr>
          <p:cNvPicPr>
            <a:picLocks noChangeAspect="1"/>
          </p:cNvPicPr>
          <p:nvPr/>
        </p:nvPicPr>
        <p:blipFill>
          <a:blip r:embed="rId2"/>
          <a:stretch>
            <a:fillRect/>
          </a:stretch>
        </p:blipFill>
        <p:spPr>
          <a:xfrm>
            <a:off x="9908406" y="6146007"/>
            <a:ext cx="2283594" cy="594360"/>
          </a:xfrm>
          <a:prstGeom prst="rect">
            <a:avLst/>
          </a:prstGeom>
        </p:spPr>
      </p:pic>
    </p:spTree>
    <p:extLst>
      <p:ext uri="{BB962C8B-B14F-4D97-AF65-F5344CB8AC3E}">
        <p14:creationId xmlns:p14="http://schemas.microsoft.com/office/powerpoint/2010/main" val="42783774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4">
            <a:extLst>
              <a:ext uri="{FF2B5EF4-FFF2-40B4-BE49-F238E27FC236}">
                <a16:creationId xmlns:a16="http://schemas.microsoft.com/office/drawing/2014/main" id="{5F255613-AAE8-4321-9EBA-89253DD4504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974DBA0-B645-A24B-3084-7EEC87609EFE}"/>
              </a:ext>
            </a:extLst>
          </p:cNvPr>
          <p:cNvSpPr>
            <a:spLocks noGrp="1"/>
          </p:cNvSpPr>
          <p:nvPr>
            <p:ph type="title"/>
          </p:nvPr>
        </p:nvSpPr>
        <p:spPr>
          <a:xfrm>
            <a:off x="230982" y="16510"/>
            <a:ext cx="6236675" cy="1325563"/>
          </a:xfrm>
        </p:spPr>
        <p:txBody>
          <a:bodyPr vert="horz" lIns="91440" tIns="45720" rIns="91440" bIns="45720" rtlCol="0" anchor="ctr">
            <a:normAutofit/>
          </a:bodyPr>
          <a:lstStyle/>
          <a:p>
            <a:pPr defTabSz="914400">
              <a:lnSpc>
                <a:spcPct val="90000"/>
              </a:lnSpc>
            </a:pPr>
            <a:r>
              <a:rPr lang="en-US" sz="2550"/>
              <a:t>The Power of Cordence Worldwide – 	What our Consultants say</a:t>
            </a:r>
          </a:p>
        </p:txBody>
      </p:sp>
      <p:sp>
        <p:nvSpPr>
          <p:cNvPr id="17" name="Freeform: Shape 16">
            <a:extLst>
              <a:ext uri="{FF2B5EF4-FFF2-40B4-BE49-F238E27FC236}">
                <a16:creationId xmlns:a16="http://schemas.microsoft.com/office/drawing/2014/main" id="{5A3987B4-5CBA-4CB7-862B-56A9917A2D3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706774" y="0"/>
            <a:ext cx="1290924" cy="700685"/>
          </a:xfrm>
          <a:custGeom>
            <a:avLst/>
            <a:gdLst>
              <a:gd name="connsiteX0" fmla="*/ 0 w 1290924"/>
              <a:gd name="connsiteY0" fmla="*/ 0 h 700685"/>
              <a:gd name="connsiteX1" fmla="*/ 125445 w 1290924"/>
              <a:gd name="connsiteY1" fmla="*/ 0 h 700685"/>
              <a:gd name="connsiteX2" fmla="*/ 125445 w 1290924"/>
              <a:gd name="connsiteY2" fmla="*/ 529211 h 700685"/>
              <a:gd name="connsiteX3" fmla="*/ 1040371 w 1290924"/>
              <a:gd name="connsiteY3" fmla="*/ 0 h 700685"/>
              <a:gd name="connsiteX4" fmla="*/ 1290924 w 1290924"/>
              <a:gd name="connsiteY4" fmla="*/ 0 h 700685"/>
              <a:gd name="connsiteX5" fmla="*/ 94085 w 1290924"/>
              <a:gd name="connsiteY5" fmla="*/ 692290 h 700685"/>
              <a:gd name="connsiteX6" fmla="*/ 62724 w 1290924"/>
              <a:gd name="connsiteY6" fmla="*/ 700685 h 700685"/>
              <a:gd name="connsiteX7" fmla="*/ 0 w 1290924"/>
              <a:gd name="connsiteY7" fmla="*/ 637963 h 700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0924" h="700685">
                <a:moveTo>
                  <a:pt x="0" y="0"/>
                </a:moveTo>
                <a:lnTo>
                  <a:pt x="125445" y="0"/>
                </a:lnTo>
                <a:lnTo>
                  <a:pt x="125445" y="529211"/>
                </a:lnTo>
                <a:lnTo>
                  <a:pt x="1040371" y="0"/>
                </a:lnTo>
                <a:lnTo>
                  <a:pt x="1290924" y="0"/>
                </a:lnTo>
                <a:lnTo>
                  <a:pt x="94085" y="692290"/>
                </a:lnTo>
                <a:cubicBezTo>
                  <a:pt x="84551" y="697800"/>
                  <a:pt x="73733" y="700695"/>
                  <a:pt x="62724" y="700685"/>
                </a:cubicBezTo>
                <a:cubicBezTo>
                  <a:pt x="28082" y="700685"/>
                  <a:pt x="0" y="672604"/>
                  <a:pt x="0" y="637963"/>
                </a:cubicBezTo>
                <a:close/>
              </a:path>
            </a:pathLst>
          </a:custGeom>
          <a:solidFill>
            <a:schemeClr val="accent6"/>
          </a:solidFill>
          <a:ln w="9525" cap="flat">
            <a:noFill/>
            <a:prstDash val="solid"/>
            <a:miter/>
          </a:ln>
        </p:spPr>
        <p:txBody>
          <a:bodyPr wrap="square" rtlCol="0" anchor="ctr">
            <a:noAutofit/>
          </a:bodyPr>
          <a:lstStyle/>
          <a:p>
            <a:endParaRPr lang="en-US"/>
          </a:p>
        </p:txBody>
      </p:sp>
      <p:sp>
        <p:nvSpPr>
          <p:cNvPr id="14" name="Freeform: Shape 18">
            <a:extLst>
              <a:ext uri="{FF2B5EF4-FFF2-40B4-BE49-F238E27FC236}">
                <a16:creationId xmlns:a16="http://schemas.microsoft.com/office/drawing/2014/main" id="{CB147A70-DC29-4DDF-A34C-2B82C6E229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800770" y="-702"/>
            <a:ext cx="842502" cy="354793"/>
          </a:xfrm>
          <a:custGeom>
            <a:avLst/>
            <a:gdLst>
              <a:gd name="connsiteX0" fmla="*/ 0 w 1135066"/>
              <a:gd name="connsiteY0" fmla="*/ 0 h 477997"/>
              <a:gd name="connsiteX1" fmla="*/ 1135066 w 1135066"/>
              <a:gd name="connsiteY1" fmla="*/ 0 h 477997"/>
              <a:gd name="connsiteX2" fmla="*/ 1133370 w 1135066"/>
              <a:gd name="connsiteY2" fmla="*/ 16827 h 477997"/>
              <a:gd name="connsiteX3" fmla="*/ 567533 w 1135066"/>
              <a:gd name="connsiteY3" fmla="*/ 477997 h 477997"/>
              <a:gd name="connsiteX4" fmla="*/ 1696 w 1135066"/>
              <a:gd name="connsiteY4" fmla="*/ 16827 h 477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5066" h="477997">
                <a:moveTo>
                  <a:pt x="0" y="0"/>
                </a:moveTo>
                <a:lnTo>
                  <a:pt x="1135066" y="0"/>
                </a:lnTo>
                <a:lnTo>
                  <a:pt x="1133370" y="16827"/>
                </a:lnTo>
                <a:cubicBezTo>
                  <a:pt x="1079514" y="280016"/>
                  <a:pt x="846644" y="477997"/>
                  <a:pt x="567533" y="477997"/>
                </a:cubicBezTo>
                <a:cubicBezTo>
                  <a:pt x="288422" y="477997"/>
                  <a:pt x="55552" y="280016"/>
                  <a:pt x="1696" y="16827"/>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Content Placeholder 3">
            <a:extLst>
              <a:ext uri="{FF2B5EF4-FFF2-40B4-BE49-F238E27FC236}">
                <a16:creationId xmlns:a16="http://schemas.microsoft.com/office/drawing/2014/main" id="{DAF0F07D-2B39-D983-F847-ECD2B1A0788C}"/>
              </a:ext>
            </a:extLst>
          </p:cNvPr>
          <p:cNvSpPr>
            <a:spLocks noGrp="1"/>
          </p:cNvSpPr>
          <p:nvPr>
            <p:ph idx="13"/>
          </p:nvPr>
        </p:nvSpPr>
        <p:spPr>
          <a:xfrm>
            <a:off x="163959" y="1237824"/>
            <a:ext cx="6524453" cy="5414435"/>
          </a:xfrm>
        </p:spPr>
        <p:txBody>
          <a:bodyPr vert="horz" lIns="91440" tIns="45720" rIns="91440" bIns="45720" rtlCol="0" anchor="t">
            <a:noAutofit/>
          </a:bodyPr>
          <a:lstStyle/>
          <a:p>
            <a:pPr marL="0" lvl="1" indent="0" defTabSz="914400">
              <a:lnSpc>
                <a:spcPct val="90000"/>
              </a:lnSpc>
              <a:buNone/>
            </a:pPr>
            <a:endParaRPr lang="en-US" sz="1050">
              <a:latin typeface="+mn-lt"/>
            </a:endParaRPr>
          </a:p>
          <a:p>
            <a:pPr marL="0" lvl="1" indent="0" defTabSz="914400">
              <a:lnSpc>
                <a:spcPct val="90000"/>
              </a:lnSpc>
              <a:buNone/>
            </a:pPr>
            <a:r>
              <a:rPr lang="en-US" sz="1400">
                <a:latin typeface="+mn-lt"/>
                <a:cs typeface="+mn-cs"/>
              </a:rPr>
              <a:t>“To have at your fingertips a large community around the world of enthusiastic partners who are always willing to step up and offer their support and learnings. Ultimately, it makes us better as consultants when we offer solutions to our clients.” – </a:t>
            </a:r>
            <a:r>
              <a:rPr lang="en-US" sz="1400" b="1" err="1">
                <a:latin typeface="+mn-lt"/>
                <a:cs typeface="+mn-cs"/>
              </a:rPr>
              <a:t>Shabal</a:t>
            </a:r>
            <a:r>
              <a:rPr lang="en-US" sz="1400" b="1">
                <a:latin typeface="+mn-lt"/>
                <a:cs typeface="+mn-cs"/>
              </a:rPr>
              <a:t> Goel – Avalon Consulting, India</a:t>
            </a:r>
            <a:endParaRPr lang="en-US" sz="1400" b="1">
              <a:latin typeface="+mn-lt"/>
            </a:endParaRPr>
          </a:p>
          <a:p>
            <a:pPr marL="0" lvl="1" indent="0" defTabSz="914400">
              <a:lnSpc>
                <a:spcPct val="90000"/>
              </a:lnSpc>
              <a:buNone/>
            </a:pPr>
            <a:endParaRPr lang="en-US" sz="1000">
              <a:latin typeface="+mn-lt"/>
            </a:endParaRPr>
          </a:p>
          <a:p>
            <a:pPr marL="0" lvl="1" indent="0" defTabSz="914400">
              <a:lnSpc>
                <a:spcPct val="90000"/>
              </a:lnSpc>
              <a:buNone/>
            </a:pPr>
            <a:r>
              <a:rPr lang="en-US" sz="1400">
                <a:latin typeface="+mn-lt"/>
                <a:cs typeface="+mn-cs"/>
              </a:rPr>
              <a:t>“</a:t>
            </a:r>
            <a:r>
              <a:rPr lang="en-US" sz="1400" err="1">
                <a:latin typeface="+mn-lt"/>
                <a:cs typeface="+mn-cs"/>
              </a:rPr>
              <a:t>Cordence</a:t>
            </a:r>
            <a:r>
              <a:rPr lang="en-US" sz="1400">
                <a:latin typeface="+mn-lt"/>
                <a:cs typeface="+mn-cs"/>
              </a:rPr>
              <a:t> was a strong asset to provide a common answer for a large international RFP.” – </a:t>
            </a:r>
            <a:r>
              <a:rPr lang="en-US" sz="1400" b="1">
                <a:latin typeface="+mn-lt"/>
                <a:cs typeface="+mn-cs"/>
              </a:rPr>
              <a:t>Benoit </a:t>
            </a:r>
            <a:r>
              <a:rPr lang="en-US" sz="1400" b="1" err="1">
                <a:latin typeface="+mn-lt"/>
                <a:cs typeface="+mn-cs"/>
              </a:rPr>
              <a:t>Klopocki</a:t>
            </a:r>
            <a:r>
              <a:rPr lang="en-US" sz="1400" b="1">
                <a:latin typeface="+mn-lt"/>
                <a:cs typeface="+mn-cs"/>
              </a:rPr>
              <a:t> – </a:t>
            </a:r>
            <a:r>
              <a:rPr lang="en-US" sz="1400" b="1" err="1">
                <a:latin typeface="+mn-lt"/>
                <a:cs typeface="+mn-cs"/>
              </a:rPr>
              <a:t>Oresys</a:t>
            </a:r>
            <a:r>
              <a:rPr lang="en-US" sz="1400" b="1">
                <a:latin typeface="+mn-lt"/>
                <a:cs typeface="+mn-cs"/>
              </a:rPr>
              <a:t>, France</a:t>
            </a:r>
          </a:p>
          <a:p>
            <a:pPr marL="0" lvl="1" indent="0" defTabSz="914400">
              <a:lnSpc>
                <a:spcPct val="90000"/>
              </a:lnSpc>
              <a:buNone/>
            </a:pPr>
            <a:endParaRPr lang="en-US" sz="1100">
              <a:latin typeface="+mn-lt"/>
            </a:endParaRPr>
          </a:p>
          <a:p>
            <a:pPr marL="0" lvl="1" indent="0" defTabSz="914400">
              <a:lnSpc>
                <a:spcPct val="90000"/>
              </a:lnSpc>
              <a:buNone/>
            </a:pPr>
            <a:r>
              <a:rPr lang="en-US" sz="1400">
                <a:latin typeface="+mn-lt"/>
                <a:cs typeface="+mn-cs"/>
              </a:rPr>
              <a:t>“Possibility and opportunity to work internationally with other member firms in other countries. This gives a lot of energy and that brings new insights to our clients in the Netherlands.” – </a:t>
            </a:r>
            <a:r>
              <a:rPr lang="en-US" sz="1400" b="1">
                <a:latin typeface="+mn-lt"/>
                <a:cs typeface="+mn-cs"/>
              </a:rPr>
              <a:t>Jan Willem de </a:t>
            </a:r>
            <a:r>
              <a:rPr lang="en-US" sz="1400" b="1" err="1">
                <a:latin typeface="+mn-lt"/>
                <a:cs typeface="+mn-cs"/>
              </a:rPr>
              <a:t>Kleuver</a:t>
            </a:r>
            <a:r>
              <a:rPr lang="en-US" sz="1400" b="1">
                <a:latin typeface="+mn-lt"/>
                <a:cs typeface="+mn-cs"/>
              </a:rPr>
              <a:t> – </a:t>
            </a:r>
            <a:r>
              <a:rPr lang="en-US" sz="1400" b="1" err="1">
                <a:latin typeface="+mn-lt"/>
                <a:cs typeface="+mn-cs"/>
              </a:rPr>
              <a:t>Twynstra</a:t>
            </a:r>
            <a:r>
              <a:rPr lang="en-US" sz="1400" b="1">
                <a:latin typeface="+mn-lt"/>
                <a:cs typeface="+mn-cs"/>
              </a:rPr>
              <a:t> </a:t>
            </a:r>
            <a:r>
              <a:rPr lang="en-US" sz="1400" b="1" err="1">
                <a:latin typeface="+mn-lt"/>
                <a:cs typeface="+mn-cs"/>
              </a:rPr>
              <a:t>Gudde</a:t>
            </a:r>
            <a:r>
              <a:rPr lang="en-US" sz="1400" b="1">
                <a:latin typeface="+mn-lt"/>
                <a:cs typeface="+mn-cs"/>
              </a:rPr>
              <a:t>, Netherlands</a:t>
            </a:r>
          </a:p>
          <a:p>
            <a:pPr marL="0" lvl="1" indent="0" defTabSz="914400">
              <a:lnSpc>
                <a:spcPct val="90000"/>
              </a:lnSpc>
              <a:buNone/>
            </a:pPr>
            <a:endParaRPr lang="en-US" sz="1400" b="1">
              <a:latin typeface="+mn-lt"/>
              <a:cs typeface="+mn-cs"/>
            </a:endParaRPr>
          </a:p>
          <a:p>
            <a:pPr marL="0" lvl="1" indent="0" defTabSz="914400">
              <a:lnSpc>
                <a:spcPct val="90000"/>
              </a:lnSpc>
              <a:buNone/>
            </a:pPr>
            <a:r>
              <a:rPr lang="en-US" sz="1400"/>
              <a:t>“Expand services beyond the Americas. Allows us to showcase the fact that we have sister companies around the world, build awareness and break through the perception of certain clients of us being a North American company only. A lot of our clients have global interests and the fact that we have </a:t>
            </a:r>
            <a:r>
              <a:rPr lang="en-US" sz="1400" err="1"/>
              <a:t>Cordence</a:t>
            </a:r>
            <a:r>
              <a:rPr lang="en-US" sz="1400"/>
              <a:t> as an asset is extremely helpful. The fact that we can help them to get to other countries with some of those initiative and import those initiatives from other countries by leveraging our partners that are in the countries is extremely powerful.” – </a:t>
            </a:r>
            <a:r>
              <a:rPr lang="en-US" sz="1400" b="1"/>
              <a:t>Todd Nisbet – North Highland, USA</a:t>
            </a:r>
          </a:p>
          <a:p>
            <a:pPr marL="0" lvl="1" indent="0" defTabSz="914400">
              <a:lnSpc>
                <a:spcPct val="90000"/>
              </a:lnSpc>
              <a:buNone/>
            </a:pPr>
            <a:endParaRPr lang="en-US" sz="1400" b="1">
              <a:latin typeface="+mn-lt"/>
            </a:endParaRPr>
          </a:p>
          <a:p>
            <a:pPr indent="-228600" defTabSz="914400">
              <a:lnSpc>
                <a:spcPct val="90000"/>
              </a:lnSpc>
              <a:buFont typeface="Arial" panose="020B0604020202020204" pitchFamily="34" charset="0"/>
              <a:buChar char="•"/>
            </a:pPr>
            <a:endParaRPr lang="en-US" sz="900">
              <a:latin typeface="+mn-lt"/>
              <a:cs typeface="+mn-cs"/>
            </a:endParaRPr>
          </a:p>
          <a:p>
            <a:pPr indent="-228600" defTabSz="914400">
              <a:lnSpc>
                <a:spcPct val="90000"/>
              </a:lnSpc>
              <a:buFont typeface="Arial" panose="020B0604020202020204" pitchFamily="34" charset="0"/>
              <a:buChar char="•"/>
            </a:pPr>
            <a:endParaRPr lang="en-US" sz="900">
              <a:latin typeface="+mn-lt"/>
              <a:cs typeface="+mn-cs"/>
            </a:endParaRPr>
          </a:p>
          <a:p>
            <a:pPr indent="-228600" defTabSz="914400">
              <a:lnSpc>
                <a:spcPct val="90000"/>
              </a:lnSpc>
              <a:buFont typeface="Arial" panose="020B0604020202020204" pitchFamily="34" charset="0"/>
              <a:buChar char="•"/>
            </a:pPr>
            <a:endParaRPr lang="en-US" sz="900">
              <a:latin typeface="+mn-lt"/>
              <a:cs typeface="+mn-cs"/>
            </a:endParaRPr>
          </a:p>
        </p:txBody>
      </p:sp>
      <p:pic>
        <p:nvPicPr>
          <p:cNvPr id="6" name="Picture 6">
            <a:extLst>
              <a:ext uri="{FF2B5EF4-FFF2-40B4-BE49-F238E27FC236}">
                <a16:creationId xmlns:a16="http://schemas.microsoft.com/office/drawing/2014/main" id="{3EE749F1-C3CD-ABB8-D4EC-27ADB4979881}"/>
              </a:ext>
            </a:extLst>
          </p:cNvPr>
          <p:cNvPicPr>
            <a:picLocks noChangeAspect="1"/>
          </p:cNvPicPr>
          <p:nvPr/>
        </p:nvPicPr>
        <p:blipFill>
          <a:blip r:embed="rId2"/>
          <a:stretch>
            <a:fillRect/>
          </a:stretch>
        </p:blipFill>
        <p:spPr>
          <a:xfrm>
            <a:off x="7278397" y="992442"/>
            <a:ext cx="1774889" cy="1774889"/>
          </a:xfrm>
          <a:custGeom>
            <a:avLst/>
            <a:gdLst/>
            <a:ahLst/>
            <a:cxnLst/>
            <a:rect l="l" t="t" r="r" b="b"/>
            <a:pathLst>
              <a:path w="3064284" h="3064284">
                <a:moveTo>
                  <a:pt x="166483" y="0"/>
                </a:moveTo>
                <a:lnTo>
                  <a:pt x="2897801" y="0"/>
                </a:lnTo>
                <a:cubicBezTo>
                  <a:pt x="2989747" y="0"/>
                  <a:pt x="3064284" y="74537"/>
                  <a:pt x="3064284" y="166483"/>
                </a:cubicBezTo>
                <a:lnTo>
                  <a:pt x="3064284" y="2897801"/>
                </a:lnTo>
                <a:cubicBezTo>
                  <a:pt x="3064284" y="2989747"/>
                  <a:pt x="2989747" y="3064284"/>
                  <a:pt x="2897801" y="3064284"/>
                </a:cubicBezTo>
                <a:lnTo>
                  <a:pt x="166483" y="3064284"/>
                </a:lnTo>
                <a:cubicBezTo>
                  <a:pt x="74537" y="3064284"/>
                  <a:pt x="0" y="2989747"/>
                  <a:pt x="0" y="2897801"/>
                </a:cubicBezTo>
                <a:lnTo>
                  <a:pt x="0" y="166483"/>
                </a:lnTo>
                <a:cubicBezTo>
                  <a:pt x="0" y="74537"/>
                  <a:pt x="74537" y="0"/>
                  <a:pt x="166483" y="0"/>
                </a:cubicBezTo>
                <a:close/>
              </a:path>
            </a:pathLst>
          </a:custGeom>
        </p:spPr>
      </p:pic>
      <p:pic>
        <p:nvPicPr>
          <p:cNvPr id="10" name="Picture 10">
            <a:extLst>
              <a:ext uri="{FF2B5EF4-FFF2-40B4-BE49-F238E27FC236}">
                <a16:creationId xmlns:a16="http://schemas.microsoft.com/office/drawing/2014/main" id="{03D2562B-EFAD-C8D8-B64B-E58BAAC26F86}"/>
              </a:ext>
            </a:extLst>
          </p:cNvPr>
          <p:cNvPicPr>
            <a:picLocks noChangeAspect="1"/>
          </p:cNvPicPr>
          <p:nvPr/>
        </p:nvPicPr>
        <p:blipFill>
          <a:blip r:embed="rId3"/>
          <a:stretch>
            <a:fillRect/>
          </a:stretch>
        </p:blipFill>
        <p:spPr>
          <a:xfrm>
            <a:off x="7857660" y="3655126"/>
            <a:ext cx="1785612" cy="1778637"/>
          </a:xfrm>
          <a:custGeom>
            <a:avLst/>
            <a:gdLst/>
            <a:ahLst/>
            <a:cxnLst/>
            <a:rect l="l" t="t" r="r" b="b"/>
            <a:pathLst>
              <a:path w="2548728" h="2548728">
                <a:moveTo>
                  <a:pt x="107301" y="0"/>
                </a:moveTo>
                <a:lnTo>
                  <a:pt x="2441427" y="0"/>
                </a:lnTo>
                <a:cubicBezTo>
                  <a:pt x="2500688" y="0"/>
                  <a:pt x="2548728" y="48040"/>
                  <a:pt x="2548728" y="107301"/>
                </a:cubicBezTo>
                <a:lnTo>
                  <a:pt x="2548728" y="2441427"/>
                </a:lnTo>
                <a:cubicBezTo>
                  <a:pt x="2548728" y="2500688"/>
                  <a:pt x="2500688" y="2548728"/>
                  <a:pt x="2441427" y="2548728"/>
                </a:cubicBezTo>
                <a:lnTo>
                  <a:pt x="107301" y="2548728"/>
                </a:lnTo>
                <a:cubicBezTo>
                  <a:pt x="48040" y="2548728"/>
                  <a:pt x="0" y="2500688"/>
                  <a:pt x="0" y="2441427"/>
                </a:cubicBezTo>
                <a:lnTo>
                  <a:pt x="0" y="107301"/>
                </a:lnTo>
                <a:cubicBezTo>
                  <a:pt x="0" y="48040"/>
                  <a:pt x="48040" y="0"/>
                  <a:pt x="107301" y="0"/>
                </a:cubicBezTo>
                <a:close/>
              </a:path>
            </a:pathLst>
          </a:custGeom>
        </p:spPr>
      </p:pic>
      <p:pic>
        <p:nvPicPr>
          <p:cNvPr id="7" name="Picture 7">
            <a:extLst>
              <a:ext uri="{FF2B5EF4-FFF2-40B4-BE49-F238E27FC236}">
                <a16:creationId xmlns:a16="http://schemas.microsoft.com/office/drawing/2014/main" id="{30CF6646-48CB-5F10-553B-82E4974CB8A1}"/>
              </a:ext>
            </a:extLst>
          </p:cNvPr>
          <p:cNvPicPr>
            <a:picLocks noChangeAspect="1"/>
          </p:cNvPicPr>
          <p:nvPr/>
        </p:nvPicPr>
        <p:blipFill rotWithShape="1">
          <a:blip r:embed="rId4"/>
          <a:srcRect l="10928" r="8904"/>
          <a:stretch/>
        </p:blipFill>
        <p:spPr>
          <a:xfrm>
            <a:off x="9643271" y="1670616"/>
            <a:ext cx="1788396" cy="1784648"/>
          </a:xfrm>
          <a:custGeom>
            <a:avLst/>
            <a:gdLst/>
            <a:ahLst/>
            <a:cxnLst/>
            <a:rect l="l" t="t" r="r" b="b"/>
            <a:pathLst>
              <a:path w="1999274" h="2247255">
                <a:moveTo>
                  <a:pt x="108501" y="0"/>
                </a:moveTo>
                <a:lnTo>
                  <a:pt x="1890773" y="0"/>
                </a:lnTo>
                <a:cubicBezTo>
                  <a:pt x="1950696" y="0"/>
                  <a:pt x="1999274" y="48578"/>
                  <a:pt x="1999274" y="108501"/>
                </a:cubicBezTo>
                <a:lnTo>
                  <a:pt x="1999274" y="2138754"/>
                </a:lnTo>
                <a:cubicBezTo>
                  <a:pt x="1999274" y="2198677"/>
                  <a:pt x="1950696" y="2247255"/>
                  <a:pt x="1890773" y="2247255"/>
                </a:cubicBezTo>
                <a:lnTo>
                  <a:pt x="108501" y="2247255"/>
                </a:lnTo>
                <a:cubicBezTo>
                  <a:pt x="48578" y="2247255"/>
                  <a:pt x="0" y="2198677"/>
                  <a:pt x="0" y="2138754"/>
                </a:cubicBezTo>
                <a:lnTo>
                  <a:pt x="0" y="108501"/>
                </a:lnTo>
                <a:cubicBezTo>
                  <a:pt x="0" y="48578"/>
                  <a:pt x="48578" y="0"/>
                  <a:pt x="108501" y="0"/>
                </a:cubicBezTo>
                <a:close/>
              </a:path>
            </a:pathLst>
          </a:custGeom>
        </p:spPr>
      </p:pic>
      <p:sp>
        <p:nvSpPr>
          <p:cNvPr id="16" name="Freeform: Shape 20">
            <a:extLst>
              <a:ext uri="{FF2B5EF4-FFF2-40B4-BE49-F238E27FC236}">
                <a16:creationId xmlns:a16="http://schemas.microsoft.com/office/drawing/2014/main" id="{D1B80E9C-CF8A-440B-B8F5-54BF121BF45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264232" y="6356350"/>
            <a:ext cx="1211855" cy="501650"/>
          </a:xfrm>
          <a:custGeom>
            <a:avLst/>
            <a:gdLst>
              <a:gd name="connsiteX0" fmla="*/ 995532 w 1991064"/>
              <a:gd name="connsiteY0" fmla="*/ 0 h 824205"/>
              <a:gd name="connsiteX1" fmla="*/ 1984823 w 1991064"/>
              <a:gd name="connsiteY1" fmla="*/ 784423 h 824205"/>
              <a:gd name="connsiteX2" fmla="*/ 1991064 w 1991064"/>
              <a:gd name="connsiteY2" fmla="*/ 824205 h 824205"/>
              <a:gd name="connsiteX3" fmla="*/ 0 w 1991064"/>
              <a:gd name="connsiteY3" fmla="*/ 824205 h 824205"/>
              <a:gd name="connsiteX4" fmla="*/ 6241 w 1991064"/>
              <a:gd name="connsiteY4" fmla="*/ 784423 h 824205"/>
              <a:gd name="connsiteX5" fmla="*/ 995532 w 1991064"/>
              <a:gd name="connsiteY5" fmla="*/ 0 h 824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1064" h="824205">
                <a:moveTo>
                  <a:pt x="995532" y="0"/>
                </a:moveTo>
                <a:cubicBezTo>
                  <a:pt x="1483521" y="0"/>
                  <a:pt x="1890663" y="336754"/>
                  <a:pt x="1984823" y="784423"/>
                </a:cubicBezTo>
                <a:lnTo>
                  <a:pt x="1991064" y="824205"/>
                </a:lnTo>
                <a:lnTo>
                  <a:pt x="0" y="824205"/>
                </a:lnTo>
                <a:lnTo>
                  <a:pt x="6241" y="784423"/>
                </a:lnTo>
                <a:cubicBezTo>
                  <a:pt x="100402" y="336754"/>
                  <a:pt x="507544" y="0"/>
                  <a:pt x="995532"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22">
            <a:extLst>
              <a:ext uri="{FF2B5EF4-FFF2-40B4-BE49-F238E27FC236}">
                <a16:creationId xmlns:a16="http://schemas.microsoft.com/office/drawing/2014/main" id="{F1FF25AD-D64E-45A0-B2D0-F4A6AB09261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1195502">
            <a:off x="10118500" y="6009536"/>
            <a:ext cx="1702506" cy="951685"/>
          </a:xfrm>
          <a:custGeom>
            <a:avLst/>
            <a:gdLst>
              <a:gd name="connsiteX0" fmla="*/ 1585229 w 1702506"/>
              <a:gd name="connsiteY0" fmla="*/ 764759 h 951685"/>
              <a:gd name="connsiteX1" fmla="*/ 1623024 w 1702506"/>
              <a:gd name="connsiteY1" fmla="*/ 792810 h 951685"/>
              <a:gd name="connsiteX2" fmla="*/ 1702506 w 1702506"/>
              <a:gd name="connsiteY2" fmla="*/ 951685 h 951685"/>
              <a:gd name="connsiteX3" fmla="*/ 1551862 w 1702506"/>
              <a:gd name="connsiteY3" fmla="*/ 933877 h 951685"/>
              <a:gd name="connsiteX4" fmla="*/ 1513200 w 1702506"/>
              <a:gd name="connsiteY4" fmla="*/ 856627 h 951685"/>
              <a:gd name="connsiteX5" fmla="*/ 1538499 w 1702506"/>
              <a:gd name="connsiteY5" fmla="*/ 770415 h 951685"/>
              <a:gd name="connsiteX6" fmla="*/ 1585229 w 1702506"/>
              <a:gd name="connsiteY6" fmla="*/ 764759 h 951685"/>
              <a:gd name="connsiteX7" fmla="*/ 933455 w 1702506"/>
              <a:gd name="connsiteY7" fmla="*/ 161308 h 951685"/>
              <a:gd name="connsiteX8" fmla="*/ 957797 w 1702506"/>
              <a:gd name="connsiteY8" fmla="*/ 167970 h 951685"/>
              <a:gd name="connsiteX9" fmla="*/ 1286982 w 1702506"/>
              <a:gd name="connsiteY9" fmla="*/ 387616 h 951685"/>
              <a:gd name="connsiteX10" fmla="*/ 1293725 w 1702506"/>
              <a:gd name="connsiteY10" fmla="*/ 477075 h 951685"/>
              <a:gd name="connsiteX11" fmla="*/ 1245453 w 1702506"/>
              <a:gd name="connsiteY11" fmla="*/ 499154 h 951685"/>
              <a:gd name="connsiteX12" fmla="*/ 1245167 w 1702506"/>
              <a:gd name="connsiteY12" fmla="*/ 499154 h 951685"/>
              <a:gd name="connsiteX13" fmla="*/ 1203638 w 1702506"/>
              <a:gd name="connsiteY13" fmla="*/ 484104 h 951685"/>
              <a:gd name="connsiteX14" fmla="*/ 900647 w 1702506"/>
              <a:gd name="connsiteY14" fmla="*/ 281508 h 951685"/>
              <a:gd name="connsiteX15" fmla="*/ 872454 w 1702506"/>
              <a:gd name="connsiteY15" fmla="*/ 196164 h 951685"/>
              <a:gd name="connsiteX16" fmla="*/ 933455 w 1702506"/>
              <a:gd name="connsiteY16" fmla="*/ 161308 h 951685"/>
              <a:gd name="connsiteX17" fmla="*/ 454020 w 1702506"/>
              <a:gd name="connsiteY17" fmla="*/ 13474 h 951685"/>
              <a:gd name="connsiteX18" fmla="*/ 477919 w 1702506"/>
              <a:gd name="connsiteY18" fmla="*/ 21437 h 951685"/>
              <a:gd name="connsiteX19" fmla="*/ 509236 w 1702506"/>
              <a:gd name="connsiteY19" fmla="*/ 84182 h 951685"/>
              <a:gd name="connsiteX20" fmla="*/ 445829 w 1702506"/>
              <a:gd name="connsiteY20" fmla="*/ 139871 h 951685"/>
              <a:gd name="connsiteX21" fmla="*/ 437447 w 1702506"/>
              <a:gd name="connsiteY21" fmla="*/ 139395 h 951685"/>
              <a:gd name="connsiteX22" fmla="*/ 73211 w 1702506"/>
              <a:gd name="connsiteY22" fmla="*/ 137204 h 951685"/>
              <a:gd name="connsiteX23" fmla="*/ 749 w 1702506"/>
              <a:gd name="connsiteY23" fmla="*/ 84082 h 951685"/>
              <a:gd name="connsiteX24" fmla="*/ 53871 w 1702506"/>
              <a:gd name="connsiteY24" fmla="*/ 11621 h 951685"/>
              <a:gd name="connsiteX25" fmla="*/ 58352 w 1702506"/>
              <a:gd name="connsiteY25" fmla="*/ 11093 h 951685"/>
              <a:gd name="connsiteX26" fmla="*/ 454020 w 1702506"/>
              <a:gd name="connsiteY26" fmla="*/ 13474 h 951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02506" h="951685">
                <a:moveTo>
                  <a:pt x="1585229" y="764759"/>
                </a:moveTo>
                <a:cubicBezTo>
                  <a:pt x="1600438" y="768789"/>
                  <a:pt x="1614156" y="778436"/>
                  <a:pt x="1623024" y="792810"/>
                </a:cubicBezTo>
                <a:lnTo>
                  <a:pt x="1702506" y="951685"/>
                </a:lnTo>
                <a:lnTo>
                  <a:pt x="1551862" y="933877"/>
                </a:lnTo>
                <a:lnTo>
                  <a:pt x="1513200" y="856627"/>
                </a:lnTo>
                <a:cubicBezTo>
                  <a:pt x="1496379" y="825834"/>
                  <a:pt x="1507704" y="787236"/>
                  <a:pt x="1538499" y="770415"/>
                </a:cubicBezTo>
                <a:cubicBezTo>
                  <a:pt x="1553325" y="762319"/>
                  <a:pt x="1570022" y="760730"/>
                  <a:pt x="1585229" y="764759"/>
                </a:cubicBezTo>
                <a:close/>
                <a:moveTo>
                  <a:pt x="933455" y="161308"/>
                </a:moveTo>
                <a:cubicBezTo>
                  <a:pt x="941692" y="161855"/>
                  <a:pt x="949960" y="164024"/>
                  <a:pt x="957797" y="167970"/>
                </a:cubicBezTo>
                <a:cubicBezTo>
                  <a:pt x="1076184" y="227289"/>
                  <a:pt x="1186759" y="301068"/>
                  <a:pt x="1286982" y="387616"/>
                </a:cubicBezTo>
                <a:cubicBezTo>
                  <a:pt x="1313547" y="410457"/>
                  <a:pt x="1316565" y="450510"/>
                  <a:pt x="1293725" y="477075"/>
                </a:cubicBezTo>
                <a:cubicBezTo>
                  <a:pt x="1281638" y="491137"/>
                  <a:pt x="1263998" y="499204"/>
                  <a:pt x="1245453" y="499154"/>
                </a:cubicBezTo>
                <a:lnTo>
                  <a:pt x="1245167" y="499154"/>
                </a:lnTo>
                <a:cubicBezTo>
                  <a:pt x="1229965" y="499301"/>
                  <a:pt x="1215220" y="493956"/>
                  <a:pt x="1203638" y="484104"/>
                </a:cubicBezTo>
                <a:cubicBezTo>
                  <a:pt x="1111407" y="404300"/>
                  <a:pt x="1009633" y="336248"/>
                  <a:pt x="900647" y="281508"/>
                </a:cubicBezTo>
                <a:cubicBezTo>
                  <a:pt x="869295" y="265726"/>
                  <a:pt x="856672" y="227516"/>
                  <a:pt x="872454" y="196164"/>
                </a:cubicBezTo>
                <a:cubicBezTo>
                  <a:pt x="884289" y="172649"/>
                  <a:pt x="908742" y="159670"/>
                  <a:pt x="933455" y="161308"/>
                </a:cubicBezTo>
                <a:close/>
                <a:moveTo>
                  <a:pt x="454020" y="13474"/>
                </a:moveTo>
                <a:cubicBezTo>
                  <a:pt x="462713" y="14543"/>
                  <a:pt x="470778" y="17324"/>
                  <a:pt x="477919" y="21437"/>
                </a:cubicBezTo>
                <a:cubicBezTo>
                  <a:pt x="499341" y="33775"/>
                  <a:pt x="512445" y="58102"/>
                  <a:pt x="509236" y="84182"/>
                </a:cubicBezTo>
                <a:cubicBezTo>
                  <a:pt x="505303" y="116151"/>
                  <a:pt x="478038" y="140098"/>
                  <a:pt x="445829" y="139871"/>
                </a:cubicBezTo>
                <a:cubicBezTo>
                  <a:pt x="443027" y="139899"/>
                  <a:pt x="440227" y="139740"/>
                  <a:pt x="437447" y="139395"/>
                </a:cubicBezTo>
                <a:cubicBezTo>
                  <a:pt x="316592" y="123615"/>
                  <a:pt x="194247" y="122878"/>
                  <a:pt x="73211" y="137204"/>
                </a:cubicBezTo>
                <a:cubicBezTo>
                  <a:pt x="38532" y="142545"/>
                  <a:pt x="6090" y="118762"/>
                  <a:pt x="749" y="84082"/>
                </a:cubicBezTo>
                <a:cubicBezTo>
                  <a:pt x="-4591" y="49403"/>
                  <a:pt x="19192" y="16961"/>
                  <a:pt x="53871" y="11621"/>
                </a:cubicBezTo>
                <a:cubicBezTo>
                  <a:pt x="55358" y="11392"/>
                  <a:pt x="56852" y="11216"/>
                  <a:pt x="58352" y="11093"/>
                </a:cubicBezTo>
                <a:cubicBezTo>
                  <a:pt x="189834" y="-4456"/>
                  <a:pt x="322735" y="-3656"/>
                  <a:pt x="454020" y="13474"/>
                </a:cubicBezTo>
                <a:close/>
              </a:path>
            </a:pathLst>
          </a:custGeom>
          <a:solidFill>
            <a:schemeClr val="accent4"/>
          </a:solidFill>
          <a:ln w="9525" cap="flat">
            <a:noFill/>
            <a:prstDash val="solid"/>
            <a:miter/>
          </a:ln>
        </p:spPr>
        <p:txBody>
          <a:bodyPr wrap="square" rtlCol="0" anchor="ctr">
            <a:noAutofit/>
          </a:bodyPr>
          <a:lstStyle/>
          <a:p>
            <a:endParaRPr lang="en-US"/>
          </a:p>
        </p:txBody>
      </p:sp>
      <p:pic>
        <p:nvPicPr>
          <p:cNvPr id="13" name="Picture 12" descr="Logo&#10;&#10;Description automatically generated">
            <a:extLst>
              <a:ext uri="{FF2B5EF4-FFF2-40B4-BE49-F238E27FC236}">
                <a16:creationId xmlns:a16="http://schemas.microsoft.com/office/drawing/2014/main" id="{B84CE80E-FA80-60F5-32CE-7CBE7492E498}"/>
              </a:ext>
            </a:extLst>
          </p:cNvPr>
          <p:cNvPicPr>
            <a:picLocks noChangeAspect="1"/>
          </p:cNvPicPr>
          <p:nvPr/>
        </p:nvPicPr>
        <p:blipFill>
          <a:blip r:embed="rId5"/>
          <a:stretch>
            <a:fillRect/>
          </a:stretch>
        </p:blipFill>
        <p:spPr>
          <a:xfrm>
            <a:off x="9911346" y="6223687"/>
            <a:ext cx="2280654" cy="594307"/>
          </a:xfrm>
          <a:prstGeom prst="rect">
            <a:avLst/>
          </a:prstGeom>
        </p:spPr>
      </p:pic>
      <p:pic>
        <p:nvPicPr>
          <p:cNvPr id="3" name="Picture 6" descr="Todd M Nisbet">
            <a:extLst>
              <a:ext uri="{FF2B5EF4-FFF2-40B4-BE49-F238E27FC236}">
                <a16:creationId xmlns:a16="http://schemas.microsoft.com/office/drawing/2014/main" id="{E662B26E-F77D-F5C2-3445-C39E6559007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159349" y="4127896"/>
            <a:ext cx="1784648" cy="1784648"/>
          </a:xfrm>
          <a:custGeom>
            <a:avLst/>
            <a:gdLst/>
            <a:ahLst/>
            <a:cxnLst/>
            <a:rect l="l" t="t" r="r" b="b"/>
            <a:pathLst>
              <a:path w="2548728" h="2548728">
                <a:moveTo>
                  <a:pt x="107301" y="0"/>
                </a:moveTo>
                <a:lnTo>
                  <a:pt x="2441427" y="0"/>
                </a:lnTo>
                <a:cubicBezTo>
                  <a:pt x="2500688" y="0"/>
                  <a:pt x="2548728" y="48040"/>
                  <a:pt x="2548728" y="107301"/>
                </a:cubicBezTo>
                <a:lnTo>
                  <a:pt x="2548728" y="2441427"/>
                </a:lnTo>
                <a:cubicBezTo>
                  <a:pt x="2548728" y="2500688"/>
                  <a:pt x="2500688" y="2548728"/>
                  <a:pt x="2441427" y="2548728"/>
                </a:cubicBezTo>
                <a:lnTo>
                  <a:pt x="107301" y="2548728"/>
                </a:lnTo>
                <a:cubicBezTo>
                  <a:pt x="48040" y="2548728"/>
                  <a:pt x="0" y="2500688"/>
                  <a:pt x="0" y="2441427"/>
                </a:cubicBezTo>
                <a:lnTo>
                  <a:pt x="0" y="107301"/>
                </a:lnTo>
                <a:cubicBezTo>
                  <a:pt x="0" y="48040"/>
                  <a:pt x="48040" y="0"/>
                  <a:pt x="107301" y="0"/>
                </a:cubicBezTo>
                <a:close/>
              </a:path>
            </a:pathLst>
          </a:custGeom>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27578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875AA78-0817-4EBA-847D-3A905874C7AF}"/>
              </a:ext>
            </a:extLst>
          </p:cNvPr>
          <p:cNvSpPr>
            <a:spLocks noGrp="1"/>
          </p:cNvSpPr>
          <p:nvPr>
            <p:ph idx="13"/>
          </p:nvPr>
        </p:nvSpPr>
        <p:spPr>
          <a:xfrm>
            <a:off x="352788" y="788790"/>
            <a:ext cx="11528917" cy="5227769"/>
          </a:xfrm>
        </p:spPr>
        <p:txBody>
          <a:bodyPr vert="horz" lIns="91440" tIns="45720" rIns="91440" bIns="45720" rtlCol="0" anchor="t">
            <a:noAutofit/>
          </a:bodyPr>
          <a:lstStyle/>
          <a:p>
            <a:r>
              <a:rPr lang="en-US" sz="2000" b="1" dirty="0">
                <a:solidFill>
                  <a:srgbClr val="14141F"/>
                </a:solidFill>
                <a:latin typeface="+mj-lt"/>
                <a:cs typeface="+mn-cs"/>
              </a:rPr>
              <a:t>We deliver </a:t>
            </a:r>
          </a:p>
          <a:p>
            <a:r>
              <a:rPr lang="en-US" sz="2000" dirty="0">
                <a:solidFill>
                  <a:srgbClr val="14141F"/>
                </a:solidFill>
                <a:latin typeface="+mj-lt"/>
                <a:cs typeface="+mn-cs"/>
              </a:rPr>
              <a:t>Connected thinking from our 10 consultancy firms across the Americas, Asia Pacific and Europe, providing an international perspective, exceptional thinking and an open, responsive way of working.  We have worked together for more than </a:t>
            </a:r>
            <a:r>
              <a:rPr lang="en-US" sz="2000" b="1" dirty="0">
                <a:solidFill>
                  <a:srgbClr val="14141F"/>
                </a:solidFill>
                <a:latin typeface="+mj-lt"/>
                <a:cs typeface="+mn-cs"/>
              </a:rPr>
              <a:t>18 years</a:t>
            </a:r>
            <a:r>
              <a:rPr lang="en-US" sz="2000" dirty="0">
                <a:solidFill>
                  <a:srgbClr val="14141F"/>
                </a:solidFill>
                <a:latin typeface="+mj-lt"/>
                <a:cs typeface="+mn-cs"/>
              </a:rPr>
              <a:t>.</a:t>
            </a:r>
            <a:endParaRPr lang="en-US" sz="2000" dirty="0">
              <a:solidFill>
                <a:srgbClr val="14141F"/>
              </a:solidFill>
              <a:latin typeface="+mj-lt"/>
            </a:endParaRPr>
          </a:p>
          <a:p>
            <a:endParaRPr lang="en-US"/>
          </a:p>
        </p:txBody>
      </p:sp>
      <p:sp>
        <p:nvSpPr>
          <p:cNvPr id="3" name="Title 2">
            <a:extLst>
              <a:ext uri="{FF2B5EF4-FFF2-40B4-BE49-F238E27FC236}">
                <a16:creationId xmlns:a16="http://schemas.microsoft.com/office/drawing/2014/main" id="{711CFBB1-497F-4281-9577-4CDFD6A8B1EA}"/>
              </a:ext>
            </a:extLst>
          </p:cNvPr>
          <p:cNvSpPr>
            <a:spLocks noGrp="1"/>
          </p:cNvSpPr>
          <p:nvPr>
            <p:ph type="title"/>
          </p:nvPr>
        </p:nvSpPr>
        <p:spPr/>
        <p:txBody>
          <a:bodyPr/>
          <a:lstStyle/>
          <a:p>
            <a:r>
              <a:rPr lang="en-US"/>
              <a:t>For Clients that need Expertise and Global Reach</a:t>
            </a:r>
          </a:p>
        </p:txBody>
      </p:sp>
      <p:pic>
        <p:nvPicPr>
          <p:cNvPr id="8" name="Picture 7" descr="C:\Users\stlee\Documents\Snehas Documents\Members\Logos\keytowaylogo_high def.png">
            <a:extLst>
              <a:ext uri="{FF2B5EF4-FFF2-40B4-BE49-F238E27FC236}">
                <a16:creationId xmlns:a16="http://schemas.microsoft.com/office/drawing/2014/main" id="{6D598EA5-B601-48DA-8091-2C6E4481DC4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31979" y="3449566"/>
            <a:ext cx="2250474" cy="88623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49EAED5C-1C8F-4208-A2C4-404BA6C2FF3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81825" y="2619087"/>
            <a:ext cx="1683237" cy="531964"/>
          </a:xfrm>
          <a:prstGeom prst="rect">
            <a:avLst/>
          </a:prstGeom>
        </p:spPr>
      </p:pic>
      <p:pic>
        <p:nvPicPr>
          <p:cNvPr id="11" name="Picture 10">
            <a:extLst>
              <a:ext uri="{FF2B5EF4-FFF2-40B4-BE49-F238E27FC236}">
                <a16:creationId xmlns:a16="http://schemas.microsoft.com/office/drawing/2014/main" id="{F5E7C3A5-6728-4360-9859-BCEFE8A554D6}"/>
              </a:ext>
            </a:extLst>
          </p:cNvPr>
          <p:cNvPicPr>
            <a:picLocks noChangeAspect="1"/>
          </p:cNvPicPr>
          <p:nvPr/>
        </p:nvPicPr>
        <p:blipFill>
          <a:blip r:embed="rId4"/>
          <a:srcRect/>
          <a:stretch/>
        </p:blipFill>
        <p:spPr>
          <a:xfrm>
            <a:off x="5774794" y="4206207"/>
            <a:ext cx="2175539" cy="886234"/>
          </a:xfrm>
          <a:prstGeom prst="rect">
            <a:avLst/>
          </a:prstGeom>
        </p:spPr>
      </p:pic>
      <p:pic>
        <p:nvPicPr>
          <p:cNvPr id="14" name="Picture 13">
            <a:extLst>
              <a:ext uri="{FF2B5EF4-FFF2-40B4-BE49-F238E27FC236}">
                <a16:creationId xmlns:a16="http://schemas.microsoft.com/office/drawing/2014/main" id="{99A99BF8-B8EB-409A-8F27-A98F043E1025}"/>
              </a:ext>
            </a:extLst>
          </p:cNvPr>
          <p:cNvPicPr>
            <a:picLocks noChangeAspect="1"/>
          </p:cNvPicPr>
          <p:nvPr/>
        </p:nvPicPr>
        <p:blipFill>
          <a:blip r:embed="rId5"/>
          <a:stretch>
            <a:fillRect/>
          </a:stretch>
        </p:blipFill>
        <p:spPr>
          <a:xfrm>
            <a:off x="8233432" y="5616753"/>
            <a:ext cx="2520852" cy="425804"/>
          </a:xfrm>
          <a:prstGeom prst="rect">
            <a:avLst/>
          </a:prstGeom>
        </p:spPr>
      </p:pic>
      <p:pic>
        <p:nvPicPr>
          <p:cNvPr id="17" name="Picture 16">
            <a:extLst>
              <a:ext uri="{FF2B5EF4-FFF2-40B4-BE49-F238E27FC236}">
                <a16:creationId xmlns:a16="http://schemas.microsoft.com/office/drawing/2014/main" id="{2A8A1290-6BCC-470D-80AD-40DD02A77BDA}"/>
              </a:ext>
            </a:extLst>
          </p:cNvPr>
          <p:cNvPicPr>
            <a:picLocks noChangeAspect="1"/>
          </p:cNvPicPr>
          <p:nvPr/>
        </p:nvPicPr>
        <p:blipFill>
          <a:blip r:embed="rId6"/>
          <a:stretch>
            <a:fillRect/>
          </a:stretch>
        </p:blipFill>
        <p:spPr>
          <a:xfrm>
            <a:off x="9908406" y="6146007"/>
            <a:ext cx="2283594" cy="594360"/>
          </a:xfrm>
          <a:prstGeom prst="rect">
            <a:avLst/>
          </a:prstGeom>
        </p:spPr>
      </p:pic>
      <p:pic>
        <p:nvPicPr>
          <p:cNvPr id="4" name="Picture 4" descr="Logo&#10;&#10;Description automatically generated">
            <a:extLst>
              <a:ext uri="{FF2B5EF4-FFF2-40B4-BE49-F238E27FC236}">
                <a16:creationId xmlns:a16="http://schemas.microsoft.com/office/drawing/2014/main" id="{19304D27-39AB-0A33-1498-001500D32CAD}"/>
              </a:ext>
            </a:extLst>
          </p:cNvPr>
          <p:cNvPicPr>
            <a:picLocks noChangeAspect="1"/>
          </p:cNvPicPr>
          <p:nvPr/>
        </p:nvPicPr>
        <p:blipFill>
          <a:blip r:embed="rId7"/>
          <a:stretch>
            <a:fillRect/>
          </a:stretch>
        </p:blipFill>
        <p:spPr>
          <a:xfrm>
            <a:off x="8302212" y="3476855"/>
            <a:ext cx="1429904" cy="707080"/>
          </a:xfrm>
          <a:prstGeom prst="rect">
            <a:avLst/>
          </a:prstGeom>
        </p:spPr>
      </p:pic>
      <p:pic>
        <p:nvPicPr>
          <p:cNvPr id="10" name="Picture 9" descr="A blue text on a black background&#10;&#10;Description automatically generated with medium confidence">
            <a:extLst>
              <a:ext uri="{FF2B5EF4-FFF2-40B4-BE49-F238E27FC236}">
                <a16:creationId xmlns:a16="http://schemas.microsoft.com/office/drawing/2014/main" id="{3A9892D1-B4C9-C25B-E4FE-0CC32A29AB3A}"/>
              </a:ext>
            </a:extLst>
          </p:cNvPr>
          <p:cNvPicPr>
            <a:picLocks noChangeAspect="1"/>
          </p:cNvPicPr>
          <p:nvPr/>
        </p:nvPicPr>
        <p:blipFill>
          <a:blip r:embed="rId8"/>
          <a:stretch>
            <a:fillRect/>
          </a:stretch>
        </p:blipFill>
        <p:spPr>
          <a:xfrm>
            <a:off x="6277589" y="2614885"/>
            <a:ext cx="1169948" cy="531964"/>
          </a:xfrm>
          <a:prstGeom prst="rect">
            <a:avLst/>
          </a:prstGeom>
        </p:spPr>
      </p:pic>
      <p:pic>
        <p:nvPicPr>
          <p:cNvPr id="15" name="Picture 14" descr="A blue text on a black background&#10;&#10;Description automatically generated with medium confidence">
            <a:extLst>
              <a:ext uri="{FF2B5EF4-FFF2-40B4-BE49-F238E27FC236}">
                <a16:creationId xmlns:a16="http://schemas.microsoft.com/office/drawing/2014/main" id="{260F8C89-7AF2-EE84-433B-0A2183A565B9}"/>
              </a:ext>
            </a:extLst>
          </p:cNvPr>
          <p:cNvPicPr>
            <a:picLocks noChangeAspect="1"/>
          </p:cNvPicPr>
          <p:nvPr/>
        </p:nvPicPr>
        <p:blipFill>
          <a:blip r:embed="rId9"/>
          <a:stretch>
            <a:fillRect/>
          </a:stretch>
        </p:blipFill>
        <p:spPr>
          <a:xfrm>
            <a:off x="9736633" y="2730388"/>
            <a:ext cx="1486459" cy="584786"/>
          </a:xfrm>
          <a:prstGeom prst="rect">
            <a:avLst/>
          </a:prstGeom>
        </p:spPr>
      </p:pic>
      <p:pic>
        <p:nvPicPr>
          <p:cNvPr id="12" name="Picture 11" descr="A black background with white text&#10;&#10;Description automatically generated">
            <a:extLst>
              <a:ext uri="{FF2B5EF4-FFF2-40B4-BE49-F238E27FC236}">
                <a16:creationId xmlns:a16="http://schemas.microsoft.com/office/drawing/2014/main" id="{596DE07C-8860-3D85-3633-F87AB5312541}"/>
              </a:ext>
            </a:extLst>
          </p:cNvPr>
          <p:cNvPicPr>
            <a:picLocks noChangeAspect="1"/>
          </p:cNvPicPr>
          <p:nvPr/>
        </p:nvPicPr>
        <p:blipFill>
          <a:blip r:embed="rId10"/>
          <a:stretch>
            <a:fillRect/>
          </a:stretch>
        </p:blipFill>
        <p:spPr>
          <a:xfrm>
            <a:off x="3890698" y="5778654"/>
            <a:ext cx="2543805" cy="360242"/>
          </a:xfrm>
          <a:prstGeom prst="rect">
            <a:avLst/>
          </a:prstGeom>
        </p:spPr>
      </p:pic>
      <p:pic>
        <p:nvPicPr>
          <p:cNvPr id="5" name="Picture 4" descr="A blue text on a white background&#10;&#10;Description automatically generated">
            <a:extLst>
              <a:ext uri="{FF2B5EF4-FFF2-40B4-BE49-F238E27FC236}">
                <a16:creationId xmlns:a16="http://schemas.microsoft.com/office/drawing/2014/main" id="{CF14C81F-F9F9-BF52-2C34-F8D6744A27F0}"/>
              </a:ext>
            </a:extLst>
          </p:cNvPr>
          <p:cNvPicPr>
            <a:picLocks noChangeAspect="1"/>
          </p:cNvPicPr>
          <p:nvPr/>
        </p:nvPicPr>
        <p:blipFill>
          <a:blip r:embed="rId11"/>
          <a:stretch>
            <a:fillRect/>
          </a:stretch>
        </p:blipFill>
        <p:spPr>
          <a:xfrm>
            <a:off x="2467707" y="4839432"/>
            <a:ext cx="1781908" cy="461596"/>
          </a:xfrm>
          <a:prstGeom prst="rect">
            <a:avLst/>
          </a:prstGeom>
        </p:spPr>
      </p:pic>
      <p:pic>
        <p:nvPicPr>
          <p:cNvPr id="6" name="Picture 5" descr="A red sign with white text&#10;&#10;Description automatically generated">
            <a:extLst>
              <a:ext uri="{FF2B5EF4-FFF2-40B4-BE49-F238E27FC236}">
                <a16:creationId xmlns:a16="http://schemas.microsoft.com/office/drawing/2014/main" id="{B428D8C0-3405-4A36-20D0-31EDBB060C07}"/>
              </a:ext>
            </a:extLst>
          </p:cNvPr>
          <p:cNvPicPr>
            <a:picLocks noChangeAspect="1"/>
          </p:cNvPicPr>
          <p:nvPr/>
        </p:nvPicPr>
        <p:blipFill>
          <a:blip r:embed="rId12"/>
          <a:stretch>
            <a:fillRect/>
          </a:stretch>
        </p:blipFill>
        <p:spPr>
          <a:xfrm>
            <a:off x="575529" y="3614005"/>
            <a:ext cx="1943833" cy="556114"/>
          </a:xfrm>
          <a:prstGeom prst="rect">
            <a:avLst/>
          </a:prstGeom>
        </p:spPr>
      </p:pic>
    </p:spTree>
    <p:extLst>
      <p:ext uri="{BB962C8B-B14F-4D97-AF65-F5344CB8AC3E}">
        <p14:creationId xmlns:p14="http://schemas.microsoft.com/office/powerpoint/2010/main" val="38952013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875AA78-0817-4EBA-847D-3A905874C7AF}"/>
              </a:ext>
            </a:extLst>
          </p:cNvPr>
          <p:cNvSpPr>
            <a:spLocks noGrp="1"/>
          </p:cNvSpPr>
          <p:nvPr>
            <p:ph idx="13"/>
          </p:nvPr>
        </p:nvSpPr>
        <p:spPr/>
        <p:txBody>
          <a:bodyPr vert="horz" lIns="91440" tIns="45720" rIns="91440" bIns="45720" rtlCol="0" anchor="t">
            <a:noAutofit/>
          </a:bodyPr>
          <a:lstStyle/>
          <a:p>
            <a:r>
              <a:rPr lang="en-US" sz="2000">
                <a:solidFill>
                  <a:srgbClr val="14141F"/>
                </a:solidFill>
                <a:latin typeface="+mj-lt"/>
              </a:rPr>
              <a:t>Through our global partnership, Cordence has the global reach and expertise with the ability to think and deliver together. Across the globe, we bring a shared set of values combined with expert perspectives to create solutions and synergies which lead to real value and drive real sustainable change for our clients. </a:t>
            </a:r>
          </a:p>
          <a:p>
            <a:endParaRPr lang="en-US" sz="2000" b="1">
              <a:solidFill>
                <a:srgbClr val="14141F"/>
              </a:solidFill>
              <a:latin typeface="+mj-lt"/>
              <a:cs typeface="+mn-cs"/>
            </a:endParaRPr>
          </a:p>
          <a:p>
            <a:r>
              <a:rPr lang="en-US" sz="2000" b="1">
                <a:solidFill>
                  <a:srgbClr val="14141F"/>
                </a:solidFill>
                <a:latin typeface="+mj-lt"/>
                <a:cs typeface="+mn-cs"/>
              </a:rPr>
              <a:t>Our Beliefs </a:t>
            </a:r>
            <a:endParaRPr lang="en-US" sz="2000" b="1">
              <a:solidFill>
                <a:srgbClr val="14141F"/>
              </a:solidFill>
              <a:latin typeface="+mj-lt"/>
            </a:endParaRPr>
          </a:p>
          <a:p>
            <a:r>
              <a:rPr lang="en-US" sz="2000">
                <a:solidFill>
                  <a:srgbClr val="14141F"/>
                </a:solidFill>
                <a:latin typeface="+mj-lt"/>
                <a:cs typeface="+mn-cs"/>
              </a:rPr>
              <a:t>Vision, authenticity, bravery, collaboration, inclusivity and entrepreneurship.</a:t>
            </a:r>
          </a:p>
          <a:p>
            <a:endParaRPr lang="en-US" sz="2000">
              <a:solidFill>
                <a:srgbClr val="14141F"/>
              </a:solidFill>
              <a:latin typeface="+mj-lt"/>
            </a:endParaRPr>
          </a:p>
          <a:p>
            <a:r>
              <a:rPr lang="en-US" sz="2000" b="1">
                <a:solidFill>
                  <a:srgbClr val="14141F"/>
                </a:solidFill>
                <a:latin typeface="+mj-lt"/>
                <a:cs typeface="+mn-cs"/>
              </a:rPr>
              <a:t>Our Behaviors </a:t>
            </a:r>
            <a:endParaRPr lang="en-US" sz="2000" b="1">
              <a:solidFill>
                <a:srgbClr val="14141F"/>
              </a:solidFill>
              <a:latin typeface="+mj-lt"/>
            </a:endParaRPr>
          </a:p>
          <a:p>
            <a:r>
              <a:rPr lang="en-US" sz="2000">
                <a:solidFill>
                  <a:srgbClr val="14141F"/>
                </a:solidFill>
                <a:latin typeface="+mj-lt"/>
                <a:cs typeface="+mn-cs"/>
              </a:rPr>
              <a:t>We are responsive, agile, hard-working, honest – and challenging where we need to be.</a:t>
            </a:r>
            <a:endParaRPr lang="en-US" sz="2000">
              <a:solidFill>
                <a:srgbClr val="14141F"/>
              </a:solidFill>
              <a:latin typeface="+mj-lt"/>
            </a:endParaRPr>
          </a:p>
          <a:p>
            <a:endParaRPr lang="en-US"/>
          </a:p>
        </p:txBody>
      </p:sp>
      <p:sp>
        <p:nvSpPr>
          <p:cNvPr id="3" name="Title 2">
            <a:extLst>
              <a:ext uri="{FF2B5EF4-FFF2-40B4-BE49-F238E27FC236}">
                <a16:creationId xmlns:a16="http://schemas.microsoft.com/office/drawing/2014/main" id="{711CFBB1-497F-4281-9577-4CDFD6A8B1EA}"/>
              </a:ext>
            </a:extLst>
          </p:cNvPr>
          <p:cNvSpPr>
            <a:spLocks noGrp="1"/>
          </p:cNvSpPr>
          <p:nvPr>
            <p:ph type="title"/>
          </p:nvPr>
        </p:nvSpPr>
        <p:spPr/>
        <p:txBody>
          <a:bodyPr/>
          <a:lstStyle/>
          <a:p>
            <a:r>
              <a:rPr lang="en-US"/>
              <a:t>Who We are – Our Promise</a:t>
            </a:r>
          </a:p>
        </p:txBody>
      </p:sp>
      <p:sp>
        <p:nvSpPr>
          <p:cNvPr id="4" name="Slide Number Placeholder 3">
            <a:extLst>
              <a:ext uri="{FF2B5EF4-FFF2-40B4-BE49-F238E27FC236}">
                <a16:creationId xmlns:a16="http://schemas.microsoft.com/office/drawing/2014/main" id="{D0C5A652-C652-4F6F-9A61-F41273690F24}"/>
              </a:ext>
            </a:extLst>
          </p:cNvPr>
          <p:cNvSpPr>
            <a:spLocks noGrp="1"/>
          </p:cNvSpPr>
          <p:nvPr>
            <p:ph type="sldNum" sz="quarter" idx="4294967295"/>
          </p:nvPr>
        </p:nvSpPr>
        <p:spPr>
          <a:xfrm>
            <a:off x="342240" y="6347480"/>
            <a:ext cx="2844800" cy="365125"/>
          </a:xfrm>
        </p:spPr>
        <p:txBody>
          <a:bodyPr/>
          <a:lstStyle/>
          <a:p>
            <a:fld id="{4F1FA912-FC24-3D46-8310-EAE10B51E2A1}" type="slidenum">
              <a:rPr lang="en-US" smtClean="0"/>
              <a:pPr/>
              <a:t>5</a:t>
            </a:fld>
            <a:endParaRPr lang="en-US"/>
          </a:p>
        </p:txBody>
      </p:sp>
      <p:pic>
        <p:nvPicPr>
          <p:cNvPr id="12" name="Picture 11" descr="A black and white logo&#10;&#10;Description automatically generated">
            <a:extLst>
              <a:ext uri="{FF2B5EF4-FFF2-40B4-BE49-F238E27FC236}">
                <a16:creationId xmlns:a16="http://schemas.microsoft.com/office/drawing/2014/main" id="{963D83DB-360A-F2E6-D767-6B49E1690270}"/>
              </a:ext>
            </a:extLst>
          </p:cNvPr>
          <p:cNvPicPr>
            <a:picLocks noChangeAspect="1"/>
          </p:cNvPicPr>
          <p:nvPr/>
        </p:nvPicPr>
        <p:blipFill>
          <a:blip r:embed="rId2"/>
          <a:stretch>
            <a:fillRect/>
          </a:stretch>
        </p:blipFill>
        <p:spPr>
          <a:xfrm>
            <a:off x="4109466" y="5209262"/>
            <a:ext cx="3630168" cy="847344"/>
          </a:xfrm>
          <a:prstGeom prst="rect">
            <a:avLst/>
          </a:prstGeom>
        </p:spPr>
      </p:pic>
    </p:spTree>
    <p:extLst>
      <p:ext uri="{BB962C8B-B14F-4D97-AF65-F5344CB8AC3E}">
        <p14:creationId xmlns:p14="http://schemas.microsoft.com/office/powerpoint/2010/main" val="22591381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875AA78-0817-4EBA-847D-3A905874C7AF}"/>
              </a:ext>
            </a:extLst>
          </p:cNvPr>
          <p:cNvSpPr>
            <a:spLocks noGrp="1"/>
          </p:cNvSpPr>
          <p:nvPr>
            <p:ph idx="13"/>
          </p:nvPr>
        </p:nvSpPr>
        <p:spPr/>
        <p:txBody>
          <a:bodyPr vert="horz" lIns="91440" tIns="45720" rIns="91440" bIns="45720" rtlCol="0" anchor="t">
            <a:noAutofit/>
          </a:bodyPr>
          <a:lstStyle/>
          <a:p>
            <a:r>
              <a:rPr lang="en-US" sz="1600" dirty="0" err="1">
                <a:solidFill>
                  <a:srgbClr val="14141F"/>
                </a:solidFill>
                <a:latin typeface="+mj-lt"/>
              </a:rPr>
              <a:t>Cordence</a:t>
            </a:r>
            <a:r>
              <a:rPr lang="en-US" sz="1600" dirty="0">
                <a:solidFill>
                  <a:srgbClr val="14141F"/>
                </a:solidFill>
                <a:latin typeface="+mj-lt"/>
              </a:rPr>
              <a:t> Worldwide members:</a:t>
            </a:r>
            <a:endParaRPr lang="en-US" sz="1600" dirty="0"/>
          </a:p>
          <a:p>
            <a:pPr marL="285750" indent="-285750">
              <a:buFont typeface="Arial"/>
              <a:buChar char="•"/>
            </a:pPr>
            <a:r>
              <a:rPr lang="en-US" sz="1600" dirty="0">
                <a:solidFill>
                  <a:srgbClr val="14141F"/>
                </a:solidFill>
                <a:latin typeface="+mj-lt"/>
              </a:rPr>
              <a:t>Deliver on the promise of global coverage</a:t>
            </a:r>
            <a:endParaRPr lang="en-US" sz="1600"/>
          </a:p>
          <a:p>
            <a:pPr marL="285750" indent="-285750">
              <a:buFont typeface="Arial"/>
              <a:buChar char="•"/>
            </a:pPr>
            <a:r>
              <a:rPr lang="en-US" sz="1600" dirty="0">
                <a:solidFill>
                  <a:srgbClr val="14141F"/>
                </a:solidFill>
                <a:latin typeface="+mj-lt"/>
              </a:rPr>
              <a:t>Bring a common set of capabilities and world-class expertise in consulting (whatever kind they are looking for)</a:t>
            </a:r>
            <a:endParaRPr lang="en-US" sz="1600"/>
          </a:p>
          <a:p>
            <a:pPr marL="285750" indent="-285750">
              <a:buFont typeface="Arial"/>
              <a:buChar char="•"/>
            </a:pPr>
            <a:r>
              <a:rPr lang="en-US" sz="1600" dirty="0">
                <a:solidFill>
                  <a:srgbClr val="14141F"/>
                </a:solidFill>
                <a:latin typeface="+mj-lt"/>
              </a:rPr>
              <a:t>Have expertise in specific industry sectors or functions (again, whatever the client is looking for)</a:t>
            </a:r>
            <a:endParaRPr lang="en-US" sz="1600"/>
          </a:p>
          <a:p>
            <a:pPr marL="285750" indent="-285750">
              <a:buFont typeface="Arial"/>
              <a:buChar char="•"/>
            </a:pPr>
            <a:r>
              <a:rPr lang="en-US" sz="1600" dirty="0">
                <a:solidFill>
                  <a:srgbClr val="14141F"/>
                </a:solidFill>
                <a:latin typeface="+mj-lt"/>
              </a:rPr>
              <a:t>Bring local understanding of culture and language</a:t>
            </a:r>
            <a:endParaRPr lang="en-US" sz="1600"/>
          </a:p>
          <a:p>
            <a:pPr marL="285750" indent="-285750">
              <a:buFont typeface="Arial"/>
              <a:buChar char="•"/>
            </a:pPr>
            <a:r>
              <a:rPr lang="en-US" sz="1600" dirty="0">
                <a:solidFill>
                  <a:srgbClr val="14141F"/>
                </a:solidFill>
                <a:latin typeface="+mj-lt"/>
              </a:rPr>
              <a:t>Have a shared set of values (honesty, transparency, etc.)</a:t>
            </a:r>
            <a:endParaRPr lang="en-US" sz="1600"/>
          </a:p>
          <a:p>
            <a:pPr marL="285750" indent="-285750">
              <a:buFont typeface="Arial"/>
              <a:buChar char="•"/>
            </a:pPr>
            <a:r>
              <a:rPr lang="en-US" sz="1600" dirty="0">
                <a:solidFill>
                  <a:srgbClr val="14141F"/>
                </a:solidFill>
                <a:latin typeface="+mj-lt"/>
              </a:rPr>
              <a:t>Have the resources (number and skills) to be able to provide support.</a:t>
            </a:r>
            <a:endParaRPr lang="en-US" sz="1600"/>
          </a:p>
          <a:p>
            <a:pPr marL="285750" indent="-285750">
              <a:buFont typeface="Arial"/>
              <a:buChar char="•"/>
            </a:pPr>
            <a:endParaRPr lang="en-US" sz="1600" dirty="0">
              <a:solidFill>
                <a:srgbClr val="14141F"/>
              </a:solidFill>
              <a:latin typeface="+mj-lt"/>
            </a:endParaRPr>
          </a:p>
          <a:p>
            <a:r>
              <a:rPr lang="en-US" sz="1600" dirty="0">
                <a:solidFill>
                  <a:srgbClr val="14141F"/>
                </a:solidFill>
                <a:latin typeface="+mj-lt"/>
              </a:rPr>
              <a:t>The </a:t>
            </a:r>
            <a:r>
              <a:rPr lang="en-US" sz="1600" dirty="0" err="1">
                <a:solidFill>
                  <a:srgbClr val="14141F"/>
                </a:solidFill>
                <a:latin typeface="+mj-lt"/>
              </a:rPr>
              <a:t>Cordence</a:t>
            </a:r>
            <a:r>
              <a:rPr lang="en-US" sz="1600" dirty="0">
                <a:solidFill>
                  <a:srgbClr val="14141F"/>
                </a:solidFill>
                <a:latin typeface="+mj-lt"/>
              </a:rPr>
              <a:t> Worldwide partnership has an intake process for potential member companies, evaluating them on their potential to achieve remarkable results, combining global delivery, focused accountability, and an uncommon dedication to clients.  Potential candidates for </a:t>
            </a:r>
            <a:r>
              <a:rPr lang="en-US" sz="1600" dirty="0" err="1">
                <a:solidFill>
                  <a:srgbClr val="14141F"/>
                </a:solidFill>
                <a:latin typeface="+mj-lt"/>
              </a:rPr>
              <a:t>Cordence</a:t>
            </a:r>
            <a:r>
              <a:rPr lang="en-US" sz="1600" dirty="0">
                <a:solidFill>
                  <a:srgbClr val="14141F"/>
                </a:solidFill>
                <a:latin typeface="+mj-lt"/>
              </a:rPr>
              <a:t> Worldwide membership must be evaluated on pre-established criteria, which includes: ability to deliver on the promise of global coverage, bringing a common set of capabilities and world-class expertise in consulting, have expertise in specific industry sectors or functions, a local understanding of culture and language, and have the skilled resources to be able to provide support.</a:t>
            </a:r>
            <a:endParaRPr lang="en-US" sz="1600"/>
          </a:p>
          <a:p>
            <a:endParaRPr lang="en-US" sz="1600" dirty="0">
              <a:solidFill>
                <a:srgbClr val="14141F"/>
              </a:solidFill>
            </a:endParaRPr>
          </a:p>
        </p:txBody>
      </p:sp>
      <p:sp>
        <p:nvSpPr>
          <p:cNvPr id="3" name="Title 2">
            <a:extLst>
              <a:ext uri="{FF2B5EF4-FFF2-40B4-BE49-F238E27FC236}">
                <a16:creationId xmlns:a16="http://schemas.microsoft.com/office/drawing/2014/main" id="{711CFBB1-497F-4281-9577-4CDFD6A8B1EA}"/>
              </a:ext>
            </a:extLst>
          </p:cNvPr>
          <p:cNvSpPr>
            <a:spLocks noGrp="1"/>
          </p:cNvSpPr>
          <p:nvPr>
            <p:ph type="title"/>
          </p:nvPr>
        </p:nvSpPr>
        <p:spPr/>
        <p:txBody>
          <a:bodyPr/>
          <a:lstStyle/>
          <a:p>
            <a:r>
              <a:rPr lang="en-US" sz="2600" dirty="0"/>
              <a:t>Who We are – </a:t>
            </a:r>
            <a:r>
              <a:rPr lang="en-US" sz="2550" dirty="0"/>
              <a:t>How we select our partners</a:t>
            </a:r>
          </a:p>
        </p:txBody>
      </p:sp>
      <p:sp>
        <p:nvSpPr>
          <p:cNvPr id="4" name="Slide Number Placeholder 3">
            <a:extLst>
              <a:ext uri="{FF2B5EF4-FFF2-40B4-BE49-F238E27FC236}">
                <a16:creationId xmlns:a16="http://schemas.microsoft.com/office/drawing/2014/main" id="{D0C5A652-C652-4F6F-9A61-F41273690F24}"/>
              </a:ext>
            </a:extLst>
          </p:cNvPr>
          <p:cNvSpPr>
            <a:spLocks noGrp="1"/>
          </p:cNvSpPr>
          <p:nvPr>
            <p:ph type="sldNum" sz="quarter" idx="4294967295"/>
          </p:nvPr>
        </p:nvSpPr>
        <p:spPr>
          <a:xfrm>
            <a:off x="342240" y="6347480"/>
            <a:ext cx="2844800" cy="365125"/>
          </a:xfrm>
        </p:spPr>
        <p:txBody>
          <a:bodyPr/>
          <a:lstStyle/>
          <a:p>
            <a:fld id="{4F1FA912-FC24-3D46-8310-EAE10B51E2A1}" type="slidenum">
              <a:rPr lang="en-US" smtClean="0"/>
              <a:pPr/>
              <a:t>6</a:t>
            </a:fld>
            <a:endParaRPr lang="en-US"/>
          </a:p>
        </p:txBody>
      </p:sp>
    </p:spTree>
    <p:extLst>
      <p:ext uri="{BB962C8B-B14F-4D97-AF65-F5344CB8AC3E}">
        <p14:creationId xmlns:p14="http://schemas.microsoft.com/office/powerpoint/2010/main" val="37225928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8" name="Group 67">
            <a:extLst>
              <a:ext uri="{FF2B5EF4-FFF2-40B4-BE49-F238E27FC236}">
                <a16:creationId xmlns:a16="http://schemas.microsoft.com/office/drawing/2014/main" id="{21CD11E0-028C-4A33-88A0-9B68165B7039}"/>
              </a:ext>
            </a:extLst>
          </p:cNvPr>
          <p:cNvGrpSpPr/>
          <p:nvPr/>
        </p:nvGrpSpPr>
        <p:grpSpPr>
          <a:xfrm>
            <a:off x="6255693" y="4401037"/>
            <a:ext cx="5424669" cy="1847169"/>
            <a:chOff x="4976790" y="4063503"/>
            <a:chExt cx="3559569" cy="1999948"/>
          </a:xfrm>
        </p:grpSpPr>
        <p:pic>
          <p:nvPicPr>
            <p:cNvPr id="69" name="Picture 68">
              <a:extLst>
                <a:ext uri="{FF2B5EF4-FFF2-40B4-BE49-F238E27FC236}">
                  <a16:creationId xmlns:a16="http://schemas.microsoft.com/office/drawing/2014/main" id="{A7D02D9F-DAB5-48AA-94B7-C4832E88CD98}"/>
                </a:ext>
              </a:extLst>
            </p:cNvPr>
            <p:cNvPicPr>
              <a:picLocks noChangeAspect="1"/>
            </p:cNvPicPr>
            <p:nvPr/>
          </p:nvPicPr>
          <p:blipFill rotWithShape="1">
            <a:blip r:embed="rId2">
              <a:extLst>
                <a:ext uri="{28A0092B-C50C-407E-A947-70E740481C1C}">
                  <a14:useLocalDpi xmlns:a14="http://schemas.microsoft.com/office/drawing/2010/main" val="0"/>
                </a:ext>
              </a:extLst>
            </a:blip>
            <a:srcRect t="7892"/>
            <a:stretch/>
          </p:blipFill>
          <p:spPr>
            <a:xfrm>
              <a:off x="4976790" y="5071526"/>
              <a:ext cx="3559569" cy="991925"/>
            </a:xfrm>
            <a:prstGeom prst="rect">
              <a:avLst/>
            </a:prstGeom>
          </p:spPr>
        </p:pic>
        <p:pic>
          <p:nvPicPr>
            <p:cNvPr id="70" name="Picture 69">
              <a:extLst>
                <a:ext uri="{FF2B5EF4-FFF2-40B4-BE49-F238E27FC236}">
                  <a16:creationId xmlns:a16="http://schemas.microsoft.com/office/drawing/2014/main" id="{DF749F0A-465A-4A71-B0FD-41BAC95565BF}"/>
                </a:ext>
              </a:extLst>
            </p:cNvPr>
            <p:cNvPicPr>
              <a:picLocks noChangeAspect="1"/>
            </p:cNvPicPr>
            <p:nvPr/>
          </p:nvPicPr>
          <p:blipFill rotWithShape="1">
            <a:blip r:embed="rId2">
              <a:extLst>
                <a:ext uri="{28A0092B-C50C-407E-A947-70E740481C1C}">
                  <a14:useLocalDpi xmlns:a14="http://schemas.microsoft.com/office/drawing/2010/main" val="0"/>
                </a:ext>
              </a:extLst>
            </a:blip>
            <a:srcRect b="5610"/>
            <a:stretch/>
          </p:blipFill>
          <p:spPr>
            <a:xfrm>
              <a:off x="4976790" y="4063503"/>
              <a:ext cx="3559569" cy="1016494"/>
            </a:xfrm>
            <a:prstGeom prst="rect">
              <a:avLst/>
            </a:prstGeom>
          </p:spPr>
        </p:pic>
      </p:grpSp>
      <p:sp>
        <p:nvSpPr>
          <p:cNvPr id="3" name="Title 2">
            <a:extLst>
              <a:ext uri="{FF2B5EF4-FFF2-40B4-BE49-F238E27FC236}">
                <a16:creationId xmlns:a16="http://schemas.microsoft.com/office/drawing/2014/main" id="{C11102B5-8B3D-414B-BEA9-CB389F1A7B63}"/>
              </a:ext>
            </a:extLst>
          </p:cNvPr>
          <p:cNvSpPr>
            <a:spLocks noGrp="1"/>
          </p:cNvSpPr>
          <p:nvPr>
            <p:ph type="title"/>
          </p:nvPr>
        </p:nvSpPr>
        <p:spPr/>
        <p:txBody>
          <a:bodyPr/>
          <a:lstStyle/>
          <a:p>
            <a:r>
              <a:rPr lang="en-IN" sz="2550"/>
              <a:t>Who We are… </a:t>
            </a:r>
            <a:r>
              <a:rPr lang="en-IN" sz="2550" err="1"/>
              <a:t>Cordence</a:t>
            </a:r>
            <a:r>
              <a:rPr lang="en-IN" sz="2550"/>
              <a:t> Worldwide by the Numbers</a:t>
            </a:r>
            <a:endParaRPr lang="en-US" sz="2550"/>
          </a:p>
        </p:txBody>
      </p:sp>
      <p:sp>
        <p:nvSpPr>
          <p:cNvPr id="34" name="Rectangle 33"/>
          <p:cNvSpPr/>
          <p:nvPr/>
        </p:nvSpPr>
        <p:spPr>
          <a:xfrm>
            <a:off x="7030185" y="5456422"/>
            <a:ext cx="4152470" cy="66539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a:solidFill>
                  <a:schemeClr val="tx1">
                    <a:lumMod val="85000"/>
                    <a:lumOff val="15000"/>
                  </a:schemeClr>
                </a:solidFill>
                <a:latin typeface="+mj-lt"/>
              </a:rPr>
              <a:t>Professionals </a:t>
            </a:r>
            <a:br>
              <a:rPr lang="en-US" sz="1600" b="1">
                <a:solidFill>
                  <a:schemeClr val="tx1">
                    <a:lumMod val="85000"/>
                    <a:lumOff val="15000"/>
                  </a:schemeClr>
                </a:solidFill>
                <a:latin typeface="+mj-lt"/>
              </a:rPr>
            </a:br>
            <a:r>
              <a:rPr lang="en-US" sz="1600">
                <a:solidFill>
                  <a:schemeClr val="tx1">
                    <a:lumMod val="85000"/>
                    <a:lumOff val="15000"/>
                  </a:schemeClr>
                </a:solidFill>
                <a:latin typeface="+mj-lt"/>
              </a:rPr>
              <a:t>throughout the world</a:t>
            </a:r>
          </a:p>
        </p:txBody>
      </p:sp>
      <p:sp>
        <p:nvSpPr>
          <p:cNvPr id="51" name="Rectangle 50">
            <a:extLst>
              <a:ext uri="{FF2B5EF4-FFF2-40B4-BE49-F238E27FC236}">
                <a16:creationId xmlns:a16="http://schemas.microsoft.com/office/drawing/2014/main" id="{E0C1EE29-BED7-48B7-83C8-C684A207ADED}"/>
              </a:ext>
            </a:extLst>
          </p:cNvPr>
          <p:cNvSpPr/>
          <p:nvPr/>
        </p:nvSpPr>
        <p:spPr>
          <a:xfrm>
            <a:off x="1009345" y="4819120"/>
            <a:ext cx="4550222" cy="1667190"/>
          </a:xfrm>
          <a:prstGeom prst="rect">
            <a:avLst/>
          </a:prstGeom>
          <a:noFill/>
          <a:ln w="6350">
            <a:noFill/>
            <a:prstDash val="sysDash"/>
          </a:ln>
          <a:effectLst/>
        </p:spPr>
        <p:style>
          <a:lnRef idx="1">
            <a:schemeClr val="accent1"/>
          </a:lnRef>
          <a:fillRef idx="3">
            <a:schemeClr val="accent1"/>
          </a:fillRef>
          <a:effectRef idx="2">
            <a:schemeClr val="accent1"/>
          </a:effectRef>
          <a:fontRef idx="minor">
            <a:schemeClr val="lt1"/>
          </a:fontRef>
        </p:style>
        <p:txBody>
          <a:bodyPr lIns="91440" tIns="45720" rIns="91440" bIns="45720" numCol="2" spcCol="180000" rtlCol="0" anchor="t"/>
          <a:lstStyle/>
          <a:p>
            <a:pPr marL="185420" indent="-185420">
              <a:spcBef>
                <a:spcPts val="300"/>
              </a:spcBef>
              <a:spcAft>
                <a:spcPts val="300"/>
              </a:spcAft>
              <a:buFont typeface="Arial" panose="020B0604020202020204" pitchFamily="34" charset="0"/>
              <a:buChar char="•"/>
            </a:pPr>
            <a:r>
              <a:rPr lang="en-US" sz="1100" dirty="0">
                <a:solidFill>
                  <a:schemeClr val="tx1">
                    <a:lumMod val="65000"/>
                    <a:lumOff val="35000"/>
                  </a:schemeClr>
                </a:solidFill>
                <a:latin typeface="+mj-lt"/>
                <a:cs typeface="Arial"/>
              </a:rPr>
              <a:t>Automotive</a:t>
            </a:r>
          </a:p>
          <a:p>
            <a:pPr marL="185420" indent="-185420">
              <a:spcBef>
                <a:spcPts val="300"/>
              </a:spcBef>
              <a:spcAft>
                <a:spcPts val="300"/>
              </a:spcAft>
              <a:buFont typeface="Arial" panose="020B0604020202020204" pitchFamily="34" charset="0"/>
              <a:buChar char="•"/>
            </a:pPr>
            <a:r>
              <a:rPr lang="en-US" sz="1100" dirty="0">
                <a:solidFill>
                  <a:schemeClr val="tx1">
                    <a:lumMod val="65000"/>
                    <a:lumOff val="35000"/>
                  </a:schemeClr>
                </a:solidFill>
                <a:latin typeface="+mj-lt"/>
                <a:cs typeface="Arial"/>
              </a:rPr>
              <a:t>Energy Transition</a:t>
            </a:r>
          </a:p>
          <a:p>
            <a:pPr marL="185420" indent="-185420">
              <a:spcBef>
                <a:spcPts val="300"/>
              </a:spcBef>
              <a:spcAft>
                <a:spcPts val="300"/>
              </a:spcAft>
              <a:buFont typeface="Arial" panose="020B0604020202020204" pitchFamily="34" charset="0"/>
              <a:buChar char="•"/>
            </a:pPr>
            <a:r>
              <a:rPr lang="en-US" sz="1100" dirty="0">
                <a:solidFill>
                  <a:schemeClr val="tx1">
                    <a:lumMod val="65000"/>
                    <a:lumOff val="35000"/>
                  </a:schemeClr>
                </a:solidFill>
                <a:latin typeface="+mj-lt"/>
                <a:cs typeface="Arial"/>
              </a:rPr>
              <a:t>Industrial Goods</a:t>
            </a:r>
          </a:p>
          <a:p>
            <a:pPr marL="185420" indent="-185420">
              <a:spcBef>
                <a:spcPts val="300"/>
              </a:spcBef>
              <a:spcAft>
                <a:spcPts val="300"/>
              </a:spcAft>
              <a:buFont typeface="Arial" panose="020B0604020202020204" pitchFamily="34" charset="0"/>
              <a:buChar char="•"/>
            </a:pPr>
            <a:r>
              <a:rPr lang="en-US" sz="1100" dirty="0">
                <a:solidFill>
                  <a:schemeClr val="tx1">
                    <a:lumMod val="65000"/>
                    <a:lumOff val="35000"/>
                  </a:schemeClr>
                </a:solidFill>
                <a:latin typeface="+mj-lt"/>
                <a:cs typeface="Arial"/>
              </a:rPr>
              <a:t>Life Sciences</a:t>
            </a:r>
          </a:p>
          <a:p>
            <a:pPr marL="185420" indent="-185420">
              <a:spcBef>
                <a:spcPts val="300"/>
              </a:spcBef>
              <a:spcAft>
                <a:spcPts val="300"/>
              </a:spcAft>
              <a:buFont typeface="Arial" panose="020B0604020202020204" pitchFamily="34" charset="0"/>
              <a:buChar char="•"/>
            </a:pPr>
            <a:r>
              <a:rPr lang="en-US" sz="1100" dirty="0">
                <a:solidFill>
                  <a:schemeClr val="tx1">
                    <a:lumMod val="65000"/>
                    <a:lumOff val="35000"/>
                  </a:schemeClr>
                </a:solidFill>
                <a:latin typeface="+mj-lt"/>
                <a:cs typeface="Arial"/>
              </a:rPr>
              <a:t>Transportation</a:t>
            </a:r>
            <a:endParaRPr lang="en-US" sz="1100" dirty="0">
              <a:solidFill>
                <a:schemeClr val="tx1">
                  <a:lumMod val="65000"/>
                  <a:lumOff val="35000"/>
                </a:schemeClr>
              </a:solidFill>
            </a:endParaRPr>
          </a:p>
          <a:p>
            <a:pPr marL="185420" indent="-185420">
              <a:spcBef>
                <a:spcPts val="300"/>
              </a:spcBef>
              <a:spcAft>
                <a:spcPts val="300"/>
              </a:spcAft>
              <a:buFont typeface="Arial" panose="020B0604020202020204" pitchFamily="34" charset="0"/>
              <a:buChar char="•"/>
            </a:pPr>
            <a:r>
              <a:rPr lang="en-US" sz="1100" dirty="0">
                <a:solidFill>
                  <a:schemeClr val="tx1">
                    <a:lumMod val="65000"/>
                    <a:lumOff val="35000"/>
                  </a:schemeClr>
                </a:solidFill>
                <a:latin typeface="+mj-lt"/>
                <a:cs typeface="Arial"/>
              </a:rPr>
              <a:t>Sustainability &amp; Reporting</a:t>
            </a:r>
          </a:p>
          <a:p>
            <a:pPr marL="185420" indent="-185420">
              <a:spcBef>
                <a:spcPts val="300"/>
              </a:spcBef>
              <a:spcAft>
                <a:spcPts val="300"/>
              </a:spcAft>
              <a:buFont typeface="Arial" panose="020B0604020202020204" pitchFamily="34" charset="0"/>
              <a:buChar char="•"/>
            </a:pPr>
            <a:r>
              <a:rPr lang="en-US" sz="1100" dirty="0">
                <a:solidFill>
                  <a:schemeClr val="tx1">
                    <a:lumMod val="65000"/>
                    <a:lumOff val="35000"/>
                  </a:schemeClr>
                </a:solidFill>
                <a:latin typeface="+mj-lt"/>
                <a:cs typeface="Arial"/>
              </a:rPr>
              <a:t>AI / Data &amp; Analytics</a:t>
            </a:r>
          </a:p>
          <a:p>
            <a:pPr marL="185420" indent="-185420">
              <a:spcBef>
                <a:spcPts val="300"/>
              </a:spcBef>
              <a:spcAft>
                <a:spcPts val="300"/>
              </a:spcAft>
              <a:buFont typeface="Arial" panose="020B0604020202020204" pitchFamily="34" charset="0"/>
              <a:buChar char="•"/>
            </a:pPr>
            <a:r>
              <a:rPr lang="en-US" sz="1100" dirty="0">
                <a:solidFill>
                  <a:schemeClr val="tx1">
                    <a:lumMod val="65000"/>
                    <a:lumOff val="35000"/>
                  </a:schemeClr>
                </a:solidFill>
                <a:latin typeface="+mj-lt"/>
                <a:cs typeface="Arial"/>
              </a:rPr>
              <a:t>Public Sector</a:t>
            </a:r>
          </a:p>
          <a:p>
            <a:pPr marL="185420" indent="-185420">
              <a:spcBef>
                <a:spcPts val="300"/>
              </a:spcBef>
              <a:spcAft>
                <a:spcPts val="300"/>
              </a:spcAft>
              <a:buFont typeface="Arial" panose="020B0604020202020204" pitchFamily="34" charset="0"/>
              <a:buChar char="•"/>
            </a:pPr>
            <a:r>
              <a:rPr lang="en-US" sz="1100" dirty="0">
                <a:solidFill>
                  <a:schemeClr val="tx1">
                    <a:lumMod val="65000"/>
                    <a:lumOff val="35000"/>
                  </a:schemeClr>
                </a:solidFill>
                <a:latin typeface="+mj-lt"/>
                <a:cs typeface="Arial"/>
              </a:rPr>
              <a:t>Healthcare</a:t>
            </a:r>
          </a:p>
          <a:p>
            <a:pPr marL="185420" indent="-185420">
              <a:spcBef>
                <a:spcPts val="300"/>
              </a:spcBef>
              <a:spcAft>
                <a:spcPts val="300"/>
              </a:spcAft>
              <a:buFont typeface="Arial" panose="020B0604020202020204" pitchFamily="34" charset="0"/>
              <a:buChar char="•"/>
            </a:pPr>
            <a:r>
              <a:rPr lang="en-US" sz="1100" dirty="0">
                <a:solidFill>
                  <a:schemeClr val="tx1">
                    <a:lumMod val="65000"/>
                    <a:lumOff val="35000"/>
                  </a:schemeClr>
                </a:solidFill>
                <a:latin typeface="+mj-lt"/>
                <a:cs typeface="Arial"/>
              </a:rPr>
              <a:t>Retail</a:t>
            </a:r>
          </a:p>
        </p:txBody>
      </p:sp>
      <p:sp>
        <p:nvSpPr>
          <p:cNvPr id="58" name="TextBox 57"/>
          <p:cNvSpPr txBox="1"/>
          <p:nvPr/>
        </p:nvSpPr>
        <p:spPr>
          <a:xfrm>
            <a:off x="7030184" y="4432299"/>
            <a:ext cx="4152470" cy="996628"/>
          </a:xfrm>
          <a:prstGeom prst="rect">
            <a:avLst/>
          </a:prstGeom>
          <a:noFill/>
          <a:effectLst/>
        </p:spPr>
        <p:txBody>
          <a:bodyPr wrap="square" lIns="91440" tIns="45720" rIns="91440" bIns="45720" rtlCol="0" anchor="t">
            <a:noAutofit/>
          </a:bodyPr>
          <a:lstStyle>
            <a:defPPr>
              <a:defRPr lang="en-US"/>
            </a:defPPr>
            <a:lvl1pPr>
              <a:spcAft>
                <a:spcPts val="600"/>
              </a:spcAft>
              <a:buClr>
                <a:srgbClr val="1573C5"/>
              </a:buClr>
              <a:buSzPct val="110000"/>
              <a:defRPr sz="6600" b="1">
                <a:solidFill>
                  <a:srgbClr val="145DB8"/>
                </a:solidFill>
                <a:latin typeface="Arial"/>
                <a:cs typeface="Arial"/>
              </a:defRPr>
            </a:lvl1pPr>
          </a:lstStyle>
          <a:p>
            <a:pPr algn="ctr"/>
            <a:r>
              <a:rPr lang="en-US" sz="7000" dirty="0">
                <a:solidFill>
                  <a:srgbClr val="00B0F0"/>
                </a:solidFill>
              </a:rPr>
              <a:t>5,500+</a:t>
            </a:r>
            <a:endParaRPr lang="en-IN" sz="7000" dirty="0">
              <a:solidFill>
                <a:srgbClr val="00B0F0"/>
              </a:solidFill>
            </a:endParaRPr>
          </a:p>
        </p:txBody>
      </p:sp>
      <p:cxnSp>
        <p:nvCxnSpPr>
          <p:cNvPr id="50" name="Connecteur droit 10"/>
          <p:cNvCxnSpPr/>
          <p:nvPr/>
        </p:nvCxnSpPr>
        <p:spPr>
          <a:xfrm>
            <a:off x="5812737" y="921056"/>
            <a:ext cx="0" cy="5435302"/>
          </a:xfrm>
          <a:prstGeom prst="line">
            <a:avLst/>
          </a:prstGeom>
          <a:ln w="25400">
            <a:solidFill>
              <a:schemeClr val="bg1">
                <a:lumMod val="75000"/>
              </a:schemeClr>
            </a:solidFill>
            <a:prstDash val="sysDot"/>
          </a:ln>
          <a:effectLst/>
        </p:spPr>
        <p:style>
          <a:lnRef idx="2">
            <a:schemeClr val="accent1"/>
          </a:lnRef>
          <a:fillRef idx="0">
            <a:schemeClr val="accent1"/>
          </a:fillRef>
          <a:effectRef idx="1">
            <a:schemeClr val="accent1"/>
          </a:effectRef>
          <a:fontRef idx="minor">
            <a:schemeClr val="tx1"/>
          </a:fontRef>
        </p:style>
      </p:cxnSp>
      <p:pic>
        <p:nvPicPr>
          <p:cNvPr id="53" name="Image 46"/>
          <p:cNvPicPr>
            <a:picLocks noChangeAspect="1"/>
          </p:cNvPicPr>
          <p:nvPr/>
        </p:nvPicPr>
        <p:blipFill rotWithShape="1">
          <a:blip r:embed="rId3" cstate="screen">
            <a:duotone>
              <a:schemeClr val="accent3">
                <a:shade val="45000"/>
                <a:satMod val="135000"/>
              </a:schemeClr>
              <a:prstClr val="white"/>
            </a:duotone>
            <a:extLst>
              <a:ext uri="{28A0092B-C50C-407E-A947-70E740481C1C}">
                <a14:useLocalDpi xmlns:a14="http://schemas.microsoft.com/office/drawing/2010/main"/>
              </a:ext>
            </a:extLst>
          </a:blip>
          <a:srcRect l="7284" r="4461"/>
          <a:stretch/>
        </p:blipFill>
        <p:spPr>
          <a:xfrm>
            <a:off x="683838" y="1775385"/>
            <a:ext cx="4044617" cy="2016863"/>
          </a:xfrm>
          <a:prstGeom prst="rect">
            <a:avLst/>
          </a:prstGeom>
        </p:spPr>
      </p:pic>
      <p:sp>
        <p:nvSpPr>
          <p:cNvPr id="54" name="Rectangle 53">
            <a:extLst>
              <a:ext uri="{FF2B5EF4-FFF2-40B4-BE49-F238E27FC236}">
                <a16:creationId xmlns:a16="http://schemas.microsoft.com/office/drawing/2014/main" id="{DE527D0B-260F-41EB-B898-89F3BA0150D3}"/>
              </a:ext>
            </a:extLst>
          </p:cNvPr>
          <p:cNvSpPr/>
          <p:nvPr/>
        </p:nvSpPr>
        <p:spPr>
          <a:xfrm>
            <a:off x="2572745" y="4049757"/>
            <a:ext cx="2681079" cy="62865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b="1">
                <a:solidFill>
                  <a:srgbClr val="92D050"/>
                </a:solidFill>
                <a:effectLst>
                  <a:outerShdw blurRad="38100" dist="38100" dir="2700000" algn="tl">
                    <a:srgbClr val="000000">
                      <a:alpha val="43137"/>
                    </a:srgbClr>
                  </a:outerShdw>
                </a:effectLst>
                <a:latin typeface="+mj-lt"/>
              </a:rPr>
              <a:t>Active Communities / Key Topic Groups</a:t>
            </a:r>
          </a:p>
        </p:txBody>
      </p:sp>
      <p:sp>
        <p:nvSpPr>
          <p:cNvPr id="55" name="TextBox 54"/>
          <p:cNvSpPr txBox="1"/>
          <p:nvPr/>
        </p:nvSpPr>
        <p:spPr>
          <a:xfrm>
            <a:off x="1501356" y="3746299"/>
            <a:ext cx="1281943" cy="996628"/>
          </a:xfrm>
          <a:prstGeom prst="rect">
            <a:avLst/>
          </a:prstGeom>
          <a:noFill/>
          <a:effectLst/>
        </p:spPr>
        <p:txBody>
          <a:bodyPr wrap="square" lIns="91440" tIns="45720" rIns="91440" bIns="45720" rtlCol="0" anchor="t">
            <a:noAutofit/>
          </a:bodyPr>
          <a:lstStyle>
            <a:defPPr>
              <a:defRPr lang="en-US"/>
            </a:defPPr>
            <a:lvl1pPr>
              <a:spcAft>
                <a:spcPts val="600"/>
              </a:spcAft>
              <a:buClr>
                <a:srgbClr val="1573C5"/>
              </a:buClr>
              <a:buSzPct val="110000"/>
              <a:defRPr sz="6600" b="1">
                <a:solidFill>
                  <a:srgbClr val="1290C3"/>
                </a:solidFill>
                <a:latin typeface="Arial"/>
                <a:cs typeface="Arial"/>
              </a:defRPr>
            </a:lvl1pPr>
          </a:lstStyle>
          <a:p>
            <a:r>
              <a:rPr lang="en-US" sz="7000">
                <a:solidFill>
                  <a:srgbClr val="92D050"/>
                </a:solidFill>
              </a:rPr>
              <a:t>10</a:t>
            </a:r>
            <a:endParaRPr lang="en-IN" sz="7000">
              <a:solidFill>
                <a:srgbClr val="92D050"/>
              </a:solidFill>
            </a:endParaRPr>
          </a:p>
        </p:txBody>
      </p:sp>
      <p:sp>
        <p:nvSpPr>
          <p:cNvPr id="26" name="Rectangle 25"/>
          <p:cNvSpPr/>
          <p:nvPr/>
        </p:nvSpPr>
        <p:spPr>
          <a:xfrm>
            <a:off x="683838" y="546806"/>
            <a:ext cx="4679805" cy="1169551"/>
          </a:xfrm>
          <a:prstGeom prst="rect">
            <a:avLst/>
          </a:prstGeom>
          <a:noFill/>
        </p:spPr>
        <p:txBody>
          <a:bodyPr wrap="square" lIns="91440" tIns="45720" rIns="91440" bIns="45720" anchor="t">
            <a:spAutoFit/>
          </a:bodyPr>
          <a:lstStyle/>
          <a:p>
            <a:pPr algn="ctr"/>
            <a:r>
              <a:rPr lang="en-US" sz="7000" b="1">
                <a:ln w="0"/>
                <a:solidFill>
                  <a:schemeClr val="accent4">
                    <a:lumMod val="75000"/>
                  </a:schemeClr>
                </a:solidFill>
                <a:effectLst>
                  <a:outerShdw blurRad="38100" dist="25400" dir="5400000" algn="ctr" rotWithShape="0">
                    <a:srgbClr val="6E747A">
                      <a:alpha val="43000"/>
                    </a:srgbClr>
                  </a:outerShdw>
                </a:effectLst>
                <a:latin typeface="+mj-lt"/>
              </a:rPr>
              <a:t>60+</a:t>
            </a:r>
            <a:endParaRPr lang="en-US" sz="7000">
              <a:ln w="0"/>
              <a:solidFill>
                <a:schemeClr val="accent4">
                  <a:lumMod val="75000"/>
                </a:schemeClr>
              </a:solidFill>
              <a:effectLst>
                <a:outerShdw blurRad="38100" dist="25400" dir="5400000" algn="ctr" rotWithShape="0">
                  <a:srgbClr val="6E747A">
                    <a:alpha val="43000"/>
                  </a:srgbClr>
                </a:outerShdw>
              </a:effectLst>
              <a:latin typeface="+mj-lt"/>
            </a:endParaRPr>
          </a:p>
        </p:txBody>
      </p:sp>
      <p:sp>
        <p:nvSpPr>
          <p:cNvPr id="27" name="Rectangle 26"/>
          <p:cNvSpPr/>
          <p:nvPr/>
        </p:nvSpPr>
        <p:spPr>
          <a:xfrm>
            <a:off x="683838" y="1405921"/>
            <a:ext cx="4679805" cy="44038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a:solidFill>
                  <a:schemeClr val="accent4">
                    <a:lumMod val="75000"/>
                  </a:schemeClr>
                </a:solidFill>
                <a:latin typeface="+mj-lt"/>
              </a:rPr>
              <a:t>Offices </a:t>
            </a:r>
            <a:r>
              <a:rPr lang="en-US">
                <a:solidFill>
                  <a:schemeClr val="accent4">
                    <a:lumMod val="75000"/>
                  </a:schemeClr>
                </a:solidFill>
                <a:latin typeface="+mj-lt"/>
              </a:rPr>
              <a:t>around the world</a:t>
            </a:r>
          </a:p>
        </p:txBody>
      </p:sp>
      <p:sp>
        <p:nvSpPr>
          <p:cNvPr id="30" name="Rectangle 29"/>
          <p:cNvSpPr/>
          <p:nvPr/>
        </p:nvSpPr>
        <p:spPr>
          <a:xfrm>
            <a:off x="2890388" y="2770426"/>
            <a:ext cx="2253929" cy="769441"/>
          </a:xfrm>
          <a:prstGeom prst="rect">
            <a:avLst/>
          </a:prstGeom>
          <a:noFill/>
        </p:spPr>
        <p:txBody>
          <a:bodyPr wrap="square" lIns="91440" tIns="45720" rIns="91440" bIns="45720" anchor="t">
            <a:spAutoFit/>
          </a:bodyPr>
          <a:lstStyle/>
          <a:p>
            <a:r>
              <a:rPr lang="en-US">
                <a:solidFill>
                  <a:schemeClr val="accent4">
                    <a:lumMod val="75000"/>
                  </a:schemeClr>
                </a:solidFill>
                <a:latin typeface="+mj-lt"/>
              </a:rPr>
              <a:t>in </a:t>
            </a:r>
            <a:r>
              <a:rPr lang="en-US" sz="3800">
                <a:ln w="0"/>
                <a:solidFill>
                  <a:schemeClr val="accent4">
                    <a:lumMod val="75000"/>
                  </a:schemeClr>
                </a:solidFill>
                <a:effectLst>
                  <a:outerShdw blurRad="38100" dist="25400" dir="5400000" algn="ctr" rotWithShape="0">
                    <a:srgbClr val="6E747A">
                      <a:alpha val="43000"/>
                    </a:srgbClr>
                  </a:outerShdw>
                </a:effectLst>
                <a:latin typeface="+mj-lt"/>
              </a:rPr>
              <a:t>23</a:t>
            </a:r>
            <a:r>
              <a:rPr lang="en-US" sz="4400" dirty="0">
                <a:ln w="0"/>
                <a:solidFill>
                  <a:schemeClr val="accent4">
                    <a:lumMod val="75000"/>
                  </a:schemeClr>
                </a:solidFill>
                <a:effectLst>
                  <a:outerShdw blurRad="38100" dist="25400" dir="5400000" algn="ctr" rotWithShape="0">
                    <a:srgbClr val="6E747A">
                      <a:alpha val="43000"/>
                    </a:srgbClr>
                  </a:outerShdw>
                </a:effectLst>
                <a:latin typeface="+mj-lt"/>
              </a:rPr>
              <a:t> </a:t>
            </a:r>
            <a:r>
              <a:rPr lang="en-US" sz="1600" b="1">
                <a:solidFill>
                  <a:schemeClr val="accent4">
                    <a:lumMod val="75000"/>
                  </a:schemeClr>
                </a:solidFill>
                <a:latin typeface="+mj-lt"/>
              </a:rPr>
              <a:t>countries</a:t>
            </a:r>
          </a:p>
        </p:txBody>
      </p:sp>
      <p:cxnSp>
        <p:nvCxnSpPr>
          <p:cNvPr id="59" name="Straight Connector 58"/>
          <p:cNvCxnSpPr/>
          <p:nvPr/>
        </p:nvCxnSpPr>
        <p:spPr>
          <a:xfrm>
            <a:off x="1076778" y="3909043"/>
            <a:ext cx="3915978" cy="0"/>
          </a:xfrm>
          <a:prstGeom prst="line">
            <a:avLst/>
          </a:prstGeom>
          <a:ln w="6350">
            <a:solidFill>
              <a:srgbClr val="002060"/>
            </a:solidFill>
            <a:prstDash val="solid"/>
          </a:ln>
          <a:effectLst/>
        </p:spPr>
        <p:style>
          <a:lnRef idx="2">
            <a:schemeClr val="accent1"/>
          </a:lnRef>
          <a:fillRef idx="0">
            <a:schemeClr val="accent1"/>
          </a:fillRef>
          <a:effectRef idx="1">
            <a:schemeClr val="accent1"/>
          </a:effectRef>
          <a:fontRef idx="minor">
            <a:schemeClr val="tx1"/>
          </a:fontRef>
        </p:style>
      </p:cxnSp>
      <p:pic>
        <p:nvPicPr>
          <p:cNvPr id="80" name="Picture 2" descr="C:\Users\stlee\Documents\Snehas Documents\Members\Logos\keytowaylogo_high def.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394762" y="1910446"/>
            <a:ext cx="832888" cy="328317"/>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2"/>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520734" y="1965213"/>
            <a:ext cx="561957" cy="182172"/>
          </a:xfrm>
          <a:prstGeom prst="rect">
            <a:avLst/>
          </a:prstGeom>
        </p:spPr>
      </p:pic>
      <p:sp>
        <p:nvSpPr>
          <p:cNvPr id="45" name="Rectangle 44"/>
          <p:cNvSpPr/>
          <p:nvPr/>
        </p:nvSpPr>
        <p:spPr>
          <a:xfrm>
            <a:off x="7070938" y="599135"/>
            <a:ext cx="1181734" cy="1169551"/>
          </a:xfrm>
          <a:prstGeom prst="rect">
            <a:avLst/>
          </a:prstGeom>
          <a:noFill/>
          <a:effectLst/>
        </p:spPr>
        <p:txBody>
          <a:bodyPr wrap="square" lIns="91440" tIns="45720" rIns="91440" bIns="45720" rtlCol="0" anchor="t">
            <a:noAutofit/>
          </a:bodyPr>
          <a:lstStyle/>
          <a:p>
            <a:pPr>
              <a:spcAft>
                <a:spcPts val="600"/>
              </a:spcAft>
              <a:buClr>
                <a:srgbClr val="1573C5"/>
              </a:buClr>
              <a:buSzPct val="110000"/>
            </a:pPr>
            <a:r>
              <a:rPr lang="en-US" sz="7000" b="1" dirty="0">
                <a:solidFill>
                  <a:srgbClr val="C00000"/>
                </a:solidFill>
                <a:latin typeface="Arial"/>
                <a:cs typeface="Arial"/>
              </a:rPr>
              <a:t>10</a:t>
            </a:r>
          </a:p>
        </p:txBody>
      </p:sp>
      <p:sp>
        <p:nvSpPr>
          <p:cNvPr id="46" name="Rectangle 45"/>
          <p:cNvSpPr/>
          <p:nvPr/>
        </p:nvSpPr>
        <p:spPr>
          <a:xfrm>
            <a:off x="8178576" y="909555"/>
            <a:ext cx="2051929" cy="62865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b="1">
                <a:solidFill>
                  <a:srgbClr val="C00000"/>
                </a:solidFill>
                <a:effectLst>
                  <a:outerShdw blurRad="38100" dist="38100" dir="2700000" algn="tl">
                    <a:srgbClr val="000000">
                      <a:alpha val="43137"/>
                    </a:srgbClr>
                  </a:outerShdw>
                </a:effectLst>
                <a:latin typeface="+mj-lt"/>
              </a:rPr>
              <a:t>Member Firms</a:t>
            </a:r>
          </a:p>
        </p:txBody>
      </p:sp>
      <p:sp>
        <p:nvSpPr>
          <p:cNvPr id="47" name="Rectangle 46"/>
          <p:cNvSpPr/>
          <p:nvPr/>
        </p:nvSpPr>
        <p:spPr>
          <a:xfrm>
            <a:off x="8350799" y="2505883"/>
            <a:ext cx="2587217" cy="69999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r>
              <a:rPr lang="en-US" sz="1200">
                <a:solidFill>
                  <a:schemeClr val="tx1"/>
                </a:solidFill>
                <a:latin typeface="+mj-lt"/>
              </a:rPr>
              <a:t>with total combined </a:t>
            </a:r>
          </a:p>
          <a:p>
            <a:r>
              <a:rPr lang="en-US" sz="1200">
                <a:solidFill>
                  <a:schemeClr val="tx1"/>
                </a:solidFill>
                <a:latin typeface="+mj-lt"/>
              </a:rPr>
              <a:t>2023 revenues exceeding</a:t>
            </a:r>
            <a:endParaRPr lang="en-US" sz="1200">
              <a:solidFill>
                <a:schemeClr val="tx1"/>
              </a:solidFill>
              <a:latin typeface="+mj-lt"/>
              <a:cs typeface="Arial"/>
            </a:endParaRPr>
          </a:p>
        </p:txBody>
      </p:sp>
      <p:sp>
        <p:nvSpPr>
          <p:cNvPr id="49" name="Rectangle 48"/>
          <p:cNvSpPr/>
          <p:nvPr/>
        </p:nvSpPr>
        <p:spPr>
          <a:xfrm>
            <a:off x="7071254" y="2586316"/>
            <a:ext cx="1285929" cy="523220"/>
          </a:xfrm>
          <a:prstGeom prst="rect">
            <a:avLst/>
          </a:prstGeom>
          <a:noFill/>
          <a:effectLst/>
        </p:spPr>
        <p:txBody>
          <a:bodyPr wrap="none" lIns="91440" tIns="45720" rIns="91440" bIns="45720" anchor="t">
            <a:spAutoFit/>
          </a:bodyPr>
          <a:lstStyle/>
          <a:p>
            <a:pPr algn="ctr"/>
            <a:r>
              <a:rPr lang="en-US" sz="2800">
                <a:ln w="0">
                  <a:solidFill>
                    <a:sysClr val="windowText" lastClr="000000"/>
                  </a:solidFill>
                </a:ln>
                <a:solidFill>
                  <a:schemeClr val="tx1">
                    <a:lumMod val="95000"/>
                    <a:lumOff val="5000"/>
                  </a:schemeClr>
                </a:solidFill>
                <a:effectLst>
                  <a:outerShdw blurRad="38100" dist="25400" dir="5400000" algn="ctr" rotWithShape="0">
                    <a:srgbClr val="6E747A">
                      <a:alpha val="43000"/>
                    </a:srgbClr>
                  </a:outerShdw>
                </a:effectLst>
                <a:latin typeface="+mj-lt"/>
              </a:rPr>
              <a:t>$905M</a:t>
            </a:r>
          </a:p>
        </p:txBody>
      </p:sp>
      <p:cxnSp>
        <p:nvCxnSpPr>
          <p:cNvPr id="36" name="Connecteur droit 41"/>
          <p:cNvCxnSpPr>
            <a:cxnSpLocks/>
          </p:cNvCxnSpPr>
          <p:nvPr/>
        </p:nvCxnSpPr>
        <p:spPr>
          <a:xfrm>
            <a:off x="6384472" y="4419600"/>
            <a:ext cx="5034643" cy="12699"/>
          </a:xfrm>
          <a:prstGeom prst="line">
            <a:avLst/>
          </a:prstGeom>
          <a:ln w="6350">
            <a:solidFill>
              <a:srgbClr val="002060"/>
            </a:solidFill>
            <a:prstDash val="solid"/>
          </a:ln>
          <a:effectLst/>
        </p:spPr>
        <p:style>
          <a:lnRef idx="2">
            <a:schemeClr val="accent1"/>
          </a:lnRef>
          <a:fillRef idx="0">
            <a:schemeClr val="accent1"/>
          </a:fillRef>
          <a:effectRef idx="1">
            <a:schemeClr val="accent1"/>
          </a:effectRef>
          <a:fontRef idx="minor">
            <a:schemeClr val="tx1"/>
          </a:fontRef>
        </p:style>
      </p:cxnSp>
      <p:pic>
        <p:nvPicPr>
          <p:cNvPr id="6" name="Picture 6" descr="A close up of a sign&#10;&#10;Description generated with very high confidence">
            <a:extLst>
              <a:ext uri="{FF2B5EF4-FFF2-40B4-BE49-F238E27FC236}">
                <a16:creationId xmlns:a16="http://schemas.microsoft.com/office/drawing/2014/main" id="{8B9E97EE-CC31-4F37-AC5F-8D78A9465CE3}"/>
              </a:ext>
            </a:extLst>
          </p:cNvPr>
          <p:cNvPicPr>
            <a:picLocks noChangeAspect="1"/>
          </p:cNvPicPr>
          <p:nvPr/>
        </p:nvPicPr>
        <p:blipFill>
          <a:blip r:embed="rId6"/>
          <a:stretch>
            <a:fillRect/>
          </a:stretch>
        </p:blipFill>
        <p:spPr>
          <a:xfrm>
            <a:off x="7871025" y="1874558"/>
            <a:ext cx="387458" cy="371960"/>
          </a:xfrm>
          <a:prstGeom prst="rect">
            <a:avLst/>
          </a:prstGeom>
        </p:spPr>
      </p:pic>
      <p:pic>
        <p:nvPicPr>
          <p:cNvPr id="73" name="Picture 72">
            <a:extLst>
              <a:ext uri="{FF2B5EF4-FFF2-40B4-BE49-F238E27FC236}">
                <a16:creationId xmlns:a16="http://schemas.microsoft.com/office/drawing/2014/main" id="{4588D9CF-2021-4994-94AB-5934FA501226}"/>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7640048" y="1600162"/>
            <a:ext cx="993254" cy="171785"/>
          </a:xfrm>
          <a:prstGeom prst="rect">
            <a:avLst/>
          </a:prstGeom>
        </p:spPr>
      </p:pic>
      <p:pic>
        <p:nvPicPr>
          <p:cNvPr id="5" name="Picture 6">
            <a:extLst>
              <a:ext uri="{FF2B5EF4-FFF2-40B4-BE49-F238E27FC236}">
                <a16:creationId xmlns:a16="http://schemas.microsoft.com/office/drawing/2014/main" id="{B6E2F5CD-3226-46AB-BB95-E1D5E8F8519F}"/>
              </a:ext>
            </a:extLst>
          </p:cNvPr>
          <p:cNvPicPr>
            <a:picLocks noChangeAspect="1"/>
          </p:cNvPicPr>
          <p:nvPr/>
        </p:nvPicPr>
        <p:blipFill>
          <a:blip r:embed="rId8"/>
          <a:stretch>
            <a:fillRect/>
          </a:stretch>
        </p:blipFill>
        <p:spPr>
          <a:xfrm>
            <a:off x="10617027" y="2002964"/>
            <a:ext cx="1128779" cy="106081"/>
          </a:xfrm>
          <a:prstGeom prst="rect">
            <a:avLst/>
          </a:prstGeom>
        </p:spPr>
      </p:pic>
      <p:pic>
        <p:nvPicPr>
          <p:cNvPr id="9" name="Picture 8">
            <a:extLst>
              <a:ext uri="{FF2B5EF4-FFF2-40B4-BE49-F238E27FC236}">
                <a16:creationId xmlns:a16="http://schemas.microsoft.com/office/drawing/2014/main" id="{BF471BDE-F197-463C-8C3E-07B84A55B9EC}"/>
              </a:ext>
            </a:extLst>
          </p:cNvPr>
          <p:cNvPicPr>
            <a:picLocks noChangeAspect="1"/>
          </p:cNvPicPr>
          <p:nvPr/>
        </p:nvPicPr>
        <p:blipFill>
          <a:blip r:embed="rId9"/>
          <a:stretch>
            <a:fillRect/>
          </a:stretch>
        </p:blipFill>
        <p:spPr>
          <a:xfrm>
            <a:off x="8794004" y="1601238"/>
            <a:ext cx="847767" cy="203553"/>
          </a:xfrm>
          <a:prstGeom prst="rect">
            <a:avLst/>
          </a:prstGeom>
        </p:spPr>
      </p:pic>
      <p:pic>
        <p:nvPicPr>
          <p:cNvPr id="7" name="Picture 7" descr="Logo&#10;&#10;Description automatically generated">
            <a:extLst>
              <a:ext uri="{FF2B5EF4-FFF2-40B4-BE49-F238E27FC236}">
                <a16:creationId xmlns:a16="http://schemas.microsoft.com/office/drawing/2014/main" id="{2BC42D94-7031-BCE1-9A1C-7F4316CBFB8E}"/>
              </a:ext>
            </a:extLst>
          </p:cNvPr>
          <p:cNvPicPr>
            <a:picLocks noChangeAspect="1"/>
          </p:cNvPicPr>
          <p:nvPr/>
        </p:nvPicPr>
        <p:blipFill>
          <a:blip r:embed="rId10"/>
          <a:stretch>
            <a:fillRect/>
          </a:stretch>
        </p:blipFill>
        <p:spPr>
          <a:xfrm>
            <a:off x="9790088" y="1521077"/>
            <a:ext cx="661117" cy="295620"/>
          </a:xfrm>
          <a:prstGeom prst="rect">
            <a:avLst/>
          </a:prstGeom>
        </p:spPr>
      </p:pic>
      <p:pic>
        <p:nvPicPr>
          <p:cNvPr id="8" name="Picture 9" descr="Icon&#10;&#10;Description automatically generated">
            <a:extLst>
              <a:ext uri="{FF2B5EF4-FFF2-40B4-BE49-F238E27FC236}">
                <a16:creationId xmlns:a16="http://schemas.microsoft.com/office/drawing/2014/main" id="{C2884ECB-3E76-2325-B6F1-3053C6B0C7A6}"/>
              </a:ext>
            </a:extLst>
          </p:cNvPr>
          <p:cNvPicPr>
            <a:picLocks noChangeAspect="1"/>
          </p:cNvPicPr>
          <p:nvPr/>
        </p:nvPicPr>
        <p:blipFill>
          <a:blip r:embed="rId11"/>
          <a:stretch>
            <a:fillRect/>
          </a:stretch>
        </p:blipFill>
        <p:spPr>
          <a:xfrm>
            <a:off x="6562900" y="3102216"/>
            <a:ext cx="4558552" cy="1630824"/>
          </a:xfrm>
          <a:prstGeom prst="rect">
            <a:avLst/>
          </a:prstGeom>
        </p:spPr>
      </p:pic>
      <p:pic>
        <p:nvPicPr>
          <p:cNvPr id="11" name="Picture 5" descr="A picture containing text, outdoor, sign, tableware&#10;&#10;Description automatically generated">
            <a:extLst>
              <a:ext uri="{FF2B5EF4-FFF2-40B4-BE49-F238E27FC236}">
                <a16:creationId xmlns:a16="http://schemas.microsoft.com/office/drawing/2014/main" id="{0DAF6B41-C798-60EA-CAA1-C613D50F129B}"/>
              </a:ext>
            </a:extLst>
          </p:cNvPr>
          <p:cNvPicPr>
            <a:picLocks noChangeAspect="1"/>
          </p:cNvPicPr>
          <p:nvPr/>
        </p:nvPicPr>
        <p:blipFill>
          <a:blip r:embed="rId12"/>
          <a:stretch>
            <a:fillRect/>
          </a:stretch>
        </p:blipFill>
        <p:spPr>
          <a:xfrm>
            <a:off x="6701117" y="1567143"/>
            <a:ext cx="750795" cy="294716"/>
          </a:xfrm>
          <a:prstGeom prst="rect">
            <a:avLst/>
          </a:prstGeom>
        </p:spPr>
      </p:pic>
      <p:pic>
        <p:nvPicPr>
          <p:cNvPr id="13" name="Picture 12" descr="A black background with white text&#10;&#10;Description automatically generated">
            <a:extLst>
              <a:ext uri="{FF2B5EF4-FFF2-40B4-BE49-F238E27FC236}">
                <a16:creationId xmlns:a16="http://schemas.microsoft.com/office/drawing/2014/main" id="{82552C92-1A65-D018-9537-C15657081A39}"/>
              </a:ext>
            </a:extLst>
          </p:cNvPr>
          <p:cNvPicPr>
            <a:picLocks noChangeAspect="1"/>
          </p:cNvPicPr>
          <p:nvPr/>
        </p:nvPicPr>
        <p:blipFill>
          <a:blip r:embed="rId13"/>
          <a:stretch>
            <a:fillRect/>
          </a:stretch>
        </p:blipFill>
        <p:spPr>
          <a:xfrm>
            <a:off x="10704317" y="1592772"/>
            <a:ext cx="1012758" cy="173934"/>
          </a:xfrm>
          <a:prstGeom prst="rect">
            <a:avLst/>
          </a:prstGeom>
        </p:spPr>
      </p:pic>
      <p:pic>
        <p:nvPicPr>
          <p:cNvPr id="2" name="Picture 1" descr="A red sign with white text&#10;&#10;Description automatically generated">
            <a:extLst>
              <a:ext uri="{FF2B5EF4-FFF2-40B4-BE49-F238E27FC236}">
                <a16:creationId xmlns:a16="http://schemas.microsoft.com/office/drawing/2014/main" id="{39CA7D8F-A914-51AD-D895-F374B74D31E9}"/>
              </a:ext>
            </a:extLst>
          </p:cNvPr>
          <p:cNvPicPr>
            <a:picLocks noChangeAspect="1"/>
          </p:cNvPicPr>
          <p:nvPr/>
        </p:nvPicPr>
        <p:blipFill>
          <a:blip r:embed="rId14"/>
          <a:stretch>
            <a:fillRect/>
          </a:stretch>
        </p:blipFill>
        <p:spPr>
          <a:xfrm>
            <a:off x="6677645" y="1956974"/>
            <a:ext cx="780363" cy="304661"/>
          </a:xfrm>
          <a:prstGeom prst="rect">
            <a:avLst/>
          </a:prstGeom>
        </p:spPr>
      </p:pic>
    </p:spTree>
    <p:extLst>
      <p:ext uri="{BB962C8B-B14F-4D97-AF65-F5344CB8AC3E}">
        <p14:creationId xmlns:p14="http://schemas.microsoft.com/office/powerpoint/2010/main" val="36462840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83">
            <a:extLst>
              <a:ext uri="{FF2B5EF4-FFF2-40B4-BE49-F238E27FC236}">
                <a16:creationId xmlns:a16="http://schemas.microsoft.com/office/drawing/2014/main" id="{7B0FA8D3-011E-FC4F-9BE0-E8803072A1E1}"/>
              </a:ext>
            </a:extLst>
          </p:cNvPr>
          <p:cNvSpPr/>
          <p:nvPr/>
        </p:nvSpPr>
        <p:spPr>
          <a:xfrm>
            <a:off x="2028693" y="6298445"/>
            <a:ext cx="3052974" cy="25431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5" name="Title 2">
            <a:extLst>
              <a:ext uri="{FF2B5EF4-FFF2-40B4-BE49-F238E27FC236}">
                <a16:creationId xmlns:a16="http://schemas.microsoft.com/office/drawing/2014/main" id="{EC3323BA-B18B-B311-3E04-3331C636F2ED}"/>
              </a:ext>
            </a:extLst>
          </p:cNvPr>
          <p:cNvSpPr txBox="1">
            <a:spLocks/>
          </p:cNvSpPr>
          <p:nvPr/>
        </p:nvSpPr>
        <p:spPr>
          <a:xfrm>
            <a:off x="342242" y="194436"/>
            <a:ext cx="11528917" cy="394087"/>
          </a:xfrm>
          <a:prstGeom prst="rect">
            <a:avLst/>
          </a:prstGeom>
          <a:noFill/>
          <a:ln>
            <a:noFill/>
          </a:ln>
        </p:spPr>
        <p:txBody>
          <a:bodyPr spcFirstLastPara="1" vert="horz" wrap="square" lIns="0" tIns="45700" rIns="91425" bIns="45700" rtlCol="0" anchor="t" anchorCtr="0">
            <a:noAutofit/>
          </a:bodyPr>
          <a:lstStyle>
            <a:lvl1pPr lvl="0" algn="l" defTabSz="562733" rtl="0" eaLnBrk="1" latinLnBrk="0" hangingPunct="1">
              <a:spcBef>
                <a:spcPts val="0"/>
              </a:spcBef>
              <a:spcAft>
                <a:spcPts val="0"/>
              </a:spcAft>
              <a:buClr>
                <a:srgbClr val="1573C5"/>
              </a:buClr>
              <a:buSzPts val="2585"/>
              <a:buFont typeface="Arial"/>
              <a:buNone/>
              <a:defRPr sz="2585" b="1" kern="1200">
                <a:solidFill>
                  <a:srgbClr val="343332"/>
                </a:solidFill>
                <a:latin typeface="Arial"/>
                <a:ea typeface="+mj-ea"/>
                <a:cs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sz="2550">
                <a:solidFill>
                  <a:srgbClr val="1573C5"/>
                </a:solidFill>
              </a:rPr>
              <a:t>Cordence Worldwide Team</a:t>
            </a:r>
          </a:p>
        </p:txBody>
      </p:sp>
      <p:pic>
        <p:nvPicPr>
          <p:cNvPr id="7" name="Picture 6" descr="A close-up of a person&#10;&#10;Description automatically generated">
            <a:extLst>
              <a:ext uri="{FF2B5EF4-FFF2-40B4-BE49-F238E27FC236}">
                <a16:creationId xmlns:a16="http://schemas.microsoft.com/office/drawing/2014/main" id="{3B1495F4-E092-A47C-D202-880F1B38A7F3}"/>
              </a:ext>
            </a:extLst>
          </p:cNvPr>
          <p:cNvPicPr>
            <a:picLocks noChangeAspect="1"/>
          </p:cNvPicPr>
          <p:nvPr/>
        </p:nvPicPr>
        <p:blipFill>
          <a:blip r:embed="rId2"/>
          <a:stretch>
            <a:fillRect/>
          </a:stretch>
        </p:blipFill>
        <p:spPr>
          <a:xfrm>
            <a:off x="40968" y="1777575"/>
            <a:ext cx="12192000" cy="3302849"/>
          </a:xfrm>
          <a:prstGeom prst="rect">
            <a:avLst/>
          </a:prstGeom>
        </p:spPr>
      </p:pic>
    </p:spTree>
    <p:extLst>
      <p:ext uri="{BB962C8B-B14F-4D97-AF65-F5344CB8AC3E}">
        <p14:creationId xmlns:p14="http://schemas.microsoft.com/office/powerpoint/2010/main" val="34250730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atin typeface="Arial "/>
              </a:rPr>
              <a:t>Member Firm Contact Information</a:t>
            </a:r>
          </a:p>
        </p:txBody>
      </p:sp>
      <p:sp>
        <p:nvSpPr>
          <p:cNvPr id="144" name="Rectangle 143"/>
          <p:cNvSpPr/>
          <p:nvPr/>
        </p:nvSpPr>
        <p:spPr>
          <a:xfrm>
            <a:off x="7521522" y="3732203"/>
            <a:ext cx="992263" cy="730409"/>
          </a:xfrm>
          <a:prstGeom prst="rect">
            <a:avLst/>
          </a:prstGeom>
          <a:noFill/>
          <a:ln w="9525" cap="flat" cmpd="sng" algn="ctr">
            <a:noFill/>
            <a:prstDash val="solid"/>
          </a:ln>
          <a:effectLst/>
        </p:spPr>
        <p:txBody>
          <a:bodyPr rtlCol="0" anchor="ctr"/>
          <a:lstStyle/>
          <a:p>
            <a:pPr algn="ctr" defTabSz="914400">
              <a:defRPr/>
            </a:pPr>
            <a:r>
              <a:rPr lang="fr-FR" sz="3600" b="1" kern="0">
                <a:solidFill>
                  <a:prstClr val="white"/>
                </a:solidFill>
                <a:latin typeface="Arial "/>
              </a:rPr>
              <a:t>2018</a:t>
            </a:r>
            <a:endParaRPr lang="en-US" sz="3600" b="1" kern="0">
              <a:solidFill>
                <a:prstClr val="white"/>
              </a:solidFill>
              <a:latin typeface="Arial "/>
            </a:endParaRPr>
          </a:p>
        </p:txBody>
      </p:sp>
      <p:sp>
        <p:nvSpPr>
          <p:cNvPr id="329" name="TextBox 27"/>
          <p:cNvSpPr txBox="1">
            <a:spLocks noChangeArrowheads="1"/>
          </p:cNvSpPr>
          <p:nvPr/>
        </p:nvSpPr>
        <p:spPr bwMode="auto">
          <a:xfrm>
            <a:off x="6304254" y="5192097"/>
            <a:ext cx="3505200" cy="923330"/>
          </a:xfrm>
          <a:prstGeom prst="rect">
            <a:avLst/>
          </a:prstGeom>
          <a:noFill/>
          <a:ln w="9525">
            <a:noFill/>
            <a:miter lim="800000"/>
            <a:headEnd/>
            <a:tailEnd/>
          </a:ln>
        </p:spPr>
        <p:txBody>
          <a:bodyPr lIns="91440" tIns="45720" rIns="91440" bIns="45720" anchor="t">
            <a:spAutoFit/>
          </a:bodyPr>
          <a:lstStyle/>
          <a:p>
            <a:pPr defTabSz="914400" eaLnBrk="0" hangingPunct="0">
              <a:spcAft>
                <a:spcPts val="300"/>
              </a:spcAft>
              <a:defRPr/>
            </a:pPr>
            <a:r>
              <a:rPr lang="en-US" sz="1100" b="1" kern="0" dirty="0" err="1">
                <a:solidFill>
                  <a:srgbClr val="4A66AC"/>
                </a:solidFill>
                <a:ea typeface="ＭＳ Ｐゴシック"/>
              </a:rPr>
              <a:t>Twynstra</a:t>
            </a:r>
            <a:r>
              <a:rPr lang="en-US" sz="1100" b="1" kern="0" dirty="0">
                <a:solidFill>
                  <a:srgbClr val="4A66AC"/>
                </a:solidFill>
                <a:ea typeface="ＭＳ Ｐゴシック"/>
              </a:rPr>
              <a:t> </a:t>
            </a:r>
            <a:r>
              <a:rPr lang="en-US" sz="1100" b="1" kern="0" dirty="0" err="1">
                <a:solidFill>
                  <a:srgbClr val="4A66AC"/>
                </a:solidFill>
                <a:ea typeface="ＭＳ Ｐゴシック"/>
              </a:rPr>
              <a:t>Gudde</a:t>
            </a:r>
            <a:endParaRPr lang="en-US" sz="1100" b="1" kern="0" dirty="0">
              <a:solidFill>
                <a:srgbClr val="4A66AC"/>
              </a:solidFill>
              <a:ea typeface="ＭＳ Ｐゴシック"/>
            </a:endParaRPr>
          </a:p>
          <a:p>
            <a:pPr defTabSz="914400" eaLnBrk="0" hangingPunct="0">
              <a:spcBef>
                <a:spcPts val="300"/>
              </a:spcBef>
              <a:defRPr/>
            </a:pPr>
            <a:r>
              <a:rPr lang="en-US" sz="1100" b="1" kern="0" dirty="0">
                <a:solidFill>
                  <a:srgbClr val="4A66AC"/>
                </a:solidFill>
                <a:ea typeface="ＭＳ Ｐゴシック"/>
              </a:rPr>
              <a:t>Phone: </a:t>
            </a:r>
            <a:r>
              <a:rPr lang="en-US" sz="1100" kern="0" dirty="0">
                <a:solidFill>
                  <a:srgbClr val="4A66AC"/>
                </a:solidFill>
                <a:ea typeface="ＭＳ Ｐゴシック"/>
              </a:rPr>
              <a:t>(+31) 9 6 10 85 32 39</a:t>
            </a:r>
          </a:p>
          <a:p>
            <a:pPr defTabSz="914400" eaLnBrk="0" hangingPunct="0">
              <a:spcBef>
                <a:spcPts val="300"/>
              </a:spcBef>
              <a:defRPr/>
            </a:pPr>
            <a:r>
              <a:rPr lang="en-US" sz="1100" b="1" kern="0" dirty="0">
                <a:solidFill>
                  <a:srgbClr val="4A66AC"/>
                </a:solidFill>
                <a:ea typeface="ＭＳ Ｐゴシック"/>
              </a:rPr>
              <a:t>Email:  </a:t>
            </a:r>
            <a:r>
              <a:rPr lang="en-US" sz="1100" kern="0" dirty="0">
                <a:solidFill>
                  <a:srgbClr val="4A66AC"/>
                </a:solidFill>
                <a:ea typeface="ＭＳ Ｐゴシック"/>
              </a:rPr>
              <a:t>Jan-Willem de Kleuver</a:t>
            </a:r>
            <a:endParaRPr lang="en-US" sz="1100" kern="0" dirty="0">
              <a:solidFill>
                <a:srgbClr val="4A66AC"/>
              </a:solidFill>
              <a:ea typeface="ＭＳ Ｐゴシック" pitchFamily="48" charset="-128"/>
              <a:cs typeface="Arial"/>
            </a:endParaRPr>
          </a:p>
          <a:p>
            <a:pPr defTabSz="914400" eaLnBrk="0" hangingPunct="0">
              <a:spcBef>
                <a:spcPts val="300"/>
              </a:spcBef>
              <a:defRPr/>
            </a:pPr>
            <a:r>
              <a:rPr lang="en-US" sz="1100" kern="0" dirty="0">
                <a:solidFill>
                  <a:srgbClr val="4A66AC"/>
                </a:solidFill>
                <a:ea typeface="ＭＳ Ｐゴシック"/>
                <a:hlinkClick r:id="rId2">
                  <a:extLst>
                    <a:ext uri="{A12FA001-AC4F-418D-AE19-62706E023703}">
                      <ahyp:hlinkClr xmlns:ahyp="http://schemas.microsoft.com/office/drawing/2018/hyperlinkcolor" val="tx"/>
                    </a:ext>
                  </a:extLst>
                </a:hlinkClick>
              </a:rPr>
              <a:t>jwk@tg.nl</a:t>
            </a:r>
            <a:r>
              <a:rPr lang="en-US" sz="1100" kern="0" dirty="0">
                <a:solidFill>
                  <a:srgbClr val="4A66AC"/>
                </a:solidFill>
                <a:ea typeface="ＭＳ Ｐゴシック"/>
              </a:rPr>
              <a:t> </a:t>
            </a:r>
            <a:endParaRPr lang="en-US" sz="1100" kern="0" dirty="0">
              <a:solidFill>
                <a:srgbClr val="4A66AC"/>
              </a:solidFill>
              <a:ea typeface="ＭＳ Ｐゴシック" pitchFamily="48" charset="-128"/>
              <a:cs typeface="Arial"/>
            </a:endParaRPr>
          </a:p>
        </p:txBody>
      </p:sp>
      <p:sp>
        <p:nvSpPr>
          <p:cNvPr id="332" name="TextBox 22"/>
          <p:cNvSpPr txBox="1">
            <a:spLocks noChangeArrowheads="1"/>
          </p:cNvSpPr>
          <p:nvPr/>
        </p:nvSpPr>
        <p:spPr bwMode="auto">
          <a:xfrm>
            <a:off x="9149357" y="3304865"/>
            <a:ext cx="3505200" cy="923330"/>
          </a:xfrm>
          <a:prstGeom prst="rect">
            <a:avLst/>
          </a:prstGeom>
          <a:noFill/>
          <a:ln w="9525">
            <a:noFill/>
            <a:miter lim="800000"/>
            <a:headEnd/>
            <a:tailEnd/>
          </a:ln>
        </p:spPr>
        <p:txBody>
          <a:bodyPr lIns="91440" tIns="45720" rIns="91440" bIns="45720" anchor="t">
            <a:spAutoFit/>
          </a:bodyPr>
          <a:lstStyle/>
          <a:p>
            <a:pPr defTabSz="914400" eaLnBrk="0" hangingPunct="0">
              <a:spcAft>
                <a:spcPts val="300"/>
              </a:spcAft>
              <a:defRPr/>
            </a:pPr>
            <a:r>
              <a:rPr lang="en-US" sz="1100" b="1" kern="0">
                <a:solidFill>
                  <a:srgbClr val="4A66AC"/>
                </a:solidFill>
                <a:ea typeface="ＭＳ Ｐゴシック"/>
              </a:rPr>
              <a:t>Oresys</a:t>
            </a:r>
          </a:p>
          <a:p>
            <a:pPr defTabSz="914400" eaLnBrk="0" hangingPunct="0">
              <a:spcBef>
                <a:spcPts val="300"/>
              </a:spcBef>
              <a:defRPr/>
            </a:pPr>
            <a:r>
              <a:rPr lang="en-US" sz="1100" b="1" kern="0">
                <a:solidFill>
                  <a:srgbClr val="4A66AC"/>
                </a:solidFill>
                <a:ea typeface="ＭＳ Ｐゴシック"/>
              </a:rPr>
              <a:t>Phone: </a:t>
            </a:r>
            <a:r>
              <a:rPr lang="en-US" sz="1100" kern="0">
                <a:solidFill>
                  <a:srgbClr val="4A66AC"/>
                </a:solidFill>
                <a:ea typeface="ＭＳ Ｐゴシック"/>
              </a:rPr>
              <a:t>(+33) 680 650 333</a:t>
            </a:r>
            <a:endParaRPr lang="en-US" sz="1100" kern="0">
              <a:solidFill>
                <a:srgbClr val="4A66AC"/>
              </a:solidFill>
              <a:ea typeface="ＭＳ Ｐゴシック"/>
              <a:cs typeface="Arial"/>
            </a:endParaRPr>
          </a:p>
          <a:p>
            <a:pPr defTabSz="914400" eaLnBrk="0" hangingPunct="0">
              <a:spcBef>
                <a:spcPts val="300"/>
              </a:spcBef>
              <a:defRPr/>
            </a:pPr>
            <a:r>
              <a:rPr lang="en-US" sz="1100" b="1" kern="0">
                <a:solidFill>
                  <a:srgbClr val="4A66AC"/>
                </a:solidFill>
                <a:ea typeface="ＭＳ Ｐゴシック"/>
              </a:rPr>
              <a:t>Email:  </a:t>
            </a:r>
            <a:r>
              <a:rPr lang="en-US" sz="1100" kern="0">
                <a:solidFill>
                  <a:srgbClr val="4A66AC"/>
                </a:solidFill>
                <a:ea typeface="ＭＳ Ｐゴシック"/>
              </a:rPr>
              <a:t>Florent </a:t>
            </a:r>
            <a:r>
              <a:rPr lang="en-US" sz="1100" kern="0" err="1">
                <a:solidFill>
                  <a:srgbClr val="4A66AC"/>
                </a:solidFill>
                <a:ea typeface="ＭＳ Ｐゴシック"/>
              </a:rPr>
              <a:t>Stetten-Pigasse</a:t>
            </a:r>
            <a:endParaRPr lang="en-US" sz="1100" kern="0">
              <a:solidFill>
                <a:srgbClr val="4A66AC">
                  <a:lumMod val="90000"/>
                  <a:lumOff val="10000"/>
                </a:srgbClr>
              </a:solidFill>
              <a:ea typeface="ＭＳ Ｐゴシック" pitchFamily="48" charset="-128"/>
            </a:endParaRPr>
          </a:p>
          <a:p>
            <a:pPr defTabSz="914400" eaLnBrk="0" hangingPunct="0">
              <a:spcBef>
                <a:spcPts val="300"/>
              </a:spcBef>
              <a:defRPr/>
            </a:pPr>
            <a:r>
              <a:rPr lang="en-US" sz="1100" kern="0">
                <a:solidFill>
                  <a:srgbClr val="4A66AC"/>
                </a:solidFill>
                <a:ea typeface="ＭＳ Ｐゴシック"/>
                <a:hlinkClick r:id="rId3">
                  <a:extLst>
                    <a:ext uri="{A12FA001-AC4F-418D-AE19-62706E023703}">
                      <ahyp:hlinkClr xmlns:ahyp="http://schemas.microsoft.com/office/drawing/2018/hyperlinkcolor" val="tx"/>
                    </a:ext>
                  </a:extLst>
                </a:hlinkClick>
              </a:rPr>
              <a:t>florent.stetten.pigasse@oresys.eu</a:t>
            </a:r>
            <a:endParaRPr lang="en-US" sz="1100" kern="0">
              <a:solidFill>
                <a:srgbClr val="4A66AC"/>
              </a:solidFill>
              <a:ea typeface="ＭＳ Ｐゴシック"/>
            </a:endParaRPr>
          </a:p>
        </p:txBody>
      </p:sp>
      <p:sp>
        <p:nvSpPr>
          <p:cNvPr id="333" name="TextBox 41"/>
          <p:cNvSpPr txBox="1">
            <a:spLocks noChangeArrowheads="1"/>
          </p:cNvSpPr>
          <p:nvPr/>
        </p:nvSpPr>
        <p:spPr bwMode="auto">
          <a:xfrm>
            <a:off x="9053254" y="2659766"/>
            <a:ext cx="2438400" cy="261610"/>
          </a:xfrm>
          <a:prstGeom prst="rect">
            <a:avLst/>
          </a:prstGeom>
          <a:noFill/>
          <a:ln w="9525">
            <a:noFill/>
            <a:miter lim="800000"/>
            <a:headEnd/>
            <a:tailEnd/>
          </a:ln>
        </p:spPr>
        <p:txBody>
          <a:bodyPr wrap="square">
            <a:spAutoFit/>
          </a:bodyPr>
          <a:lstStyle/>
          <a:p>
            <a:pPr defTabSz="914400" eaLnBrk="0" hangingPunct="0">
              <a:defRPr/>
            </a:pPr>
            <a:r>
              <a:rPr lang="en-US" sz="1050" b="1" kern="0" dirty="0">
                <a:solidFill>
                  <a:srgbClr val="06357A"/>
                </a:solidFill>
              </a:rPr>
              <a:t>FRANCE, SWITZERLAND</a:t>
            </a:r>
          </a:p>
        </p:txBody>
      </p:sp>
      <p:grpSp>
        <p:nvGrpSpPr>
          <p:cNvPr id="334" name="Group 333"/>
          <p:cNvGrpSpPr/>
          <p:nvPr/>
        </p:nvGrpSpPr>
        <p:grpSpPr>
          <a:xfrm>
            <a:off x="6297752" y="2699354"/>
            <a:ext cx="2651515" cy="1536505"/>
            <a:chOff x="71339" y="3553653"/>
            <a:chExt cx="3513817" cy="1536505"/>
          </a:xfrm>
        </p:grpSpPr>
        <p:sp>
          <p:nvSpPr>
            <p:cNvPr id="369" name="TextBox 23"/>
            <p:cNvSpPr txBox="1">
              <a:spLocks noChangeArrowheads="1"/>
            </p:cNvSpPr>
            <p:nvPr/>
          </p:nvSpPr>
          <p:spPr bwMode="auto">
            <a:xfrm>
              <a:off x="79956" y="4205300"/>
              <a:ext cx="3505200" cy="884858"/>
            </a:xfrm>
            <a:prstGeom prst="rect">
              <a:avLst/>
            </a:prstGeom>
            <a:noFill/>
            <a:ln w="9525">
              <a:noFill/>
              <a:miter lim="800000"/>
              <a:headEnd/>
              <a:tailEnd/>
            </a:ln>
          </p:spPr>
          <p:txBody>
            <a:bodyPr lIns="91440" tIns="45720" rIns="91440" bIns="45720" anchor="t">
              <a:spAutoFit/>
            </a:bodyPr>
            <a:lstStyle/>
            <a:p>
              <a:pPr defTabSz="914400" eaLnBrk="0" hangingPunct="0">
                <a:spcAft>
                  <a:spcPts val="300"/>
                </a:spcAft>
                <a:defRPr/>
              </a:pPr>
              <a:r>
                <a:rPr lang="en-US" sz="1100" b="1" kern="0" dirty="0">
                  <a:solidFill>
                    <a:srgbClr val="4A66AC"/>
                  </a:solidFill>
                  <a:ea typeface="ＭＳ Ｐゴシック"/>
                </a:rPr>
                <a:t>North Highland​</a:t>
              </a:r>
            </a:p>
            <a:p>
              <a:pPr defTabSz="914400" eaLnBrk="0" hangingPunct="0">
                <a:spcAft>
                  <a:spcPts val="300"/>
                </a:spcAft>
                <a:defRPr/>
              </a:pPr>
              <a:r>
                <a:rPr lang="en-US" sz="1100" b="1" kern="0" dirty="0">
                  <a:solidFill>
                    <a:srgbClr val="4A66AC"/>
                  </a:solidFill>
                  <a:ea typeface="ＭＳ Ｐゴシック"/>
                </a:rPr>
                <a:t>Phone: </a:t>
              </a:r>
              <a:r>
                <a:rPr lang="en-US" sz="1100" kern="0" dirty="0">
                  <a:solidFill>
                    <a:srgbClr val="4A66AC"/>
                  </a:solidFill>
                  <a:ea typeface="ＭＳ Ｐゴシック"/>
                </a:rPr>
                <a:t>(+1) </a:t>
              </a:r>
            </a:p>
            <a:p>
              <a:pPr defTabSz="914400" eaLnBrk="0" hangingPunct="0">
                <a:spcAft>
                  <a:spcPts val="300"/>
                </a:spcAft>
                <a:defRPr/>
              </a:pPr>
              <a:r>
                <a:rPr lang="en-US" sz="1100" b="1" kern="0" dirty="0">
                  <a:solidFill>
                    <a:srgbClr val="4A66AC"/>
                  </a:solidFill>
                  <a:ea typeface="ＭＳ Ｐゴシック"/>
                </a:rPr>
                <a:t>Email: </a:t>
              </a:r>
              <a:r>
                <a:rPr lang="en-US" sz="1100" kern="0" dirty="0">
                  <a:solidFill>
                    <a:srgbClr val="4A66AC"/>
                  </a:solidFill>
                  <a:ea typeface="ＭＳ Ｐゴシック"/>
                </a:rPr>
                <a:t>Teri Mendelovitz</a:t>
              </a:r>
              <a:endParaRPr lang="en-US" sz="1100" kern="0" dirty="0">
                <a:solidFill>
                  <a:srgbClr val="4A66AC"/>
                </a:solidFill>
                <a:ea typeface="ＭＳ Ｐゴシック" pitchFamily="48" charset="-128"/>
                <a:cs typeface="Arial"/>
              </a:endParaRPr>
            </a:p>
            <a:p>
              <a:pPr defTabSz="914400">
                <a:spcAft>
                  <a:spcPts val="300"/>
                </a:spcAft>
                <a:defRPr/>
              </a:pPr>
              <a:r>
                <a:rPr lang="en-US" sz="1100" kern="0" dirty="0">
                  <a:solidFill>
                    <a:srgbClr val="4A66AC"/>
                  </a:solidFill>
                  <a:ea typeface="ＭＳ Ｐゴシック"/>
                </a:rPr>
                <a:t>Teri.Mendelovitz@northhighland.com</a:t>
              </a:r>
              <a:endParaRPr lang="en-US" sz="1100" kern="0" dirty="0">
                <a:solidFill>
                  <a:srgbClr val="4A66AC"/>
                </a:solidFill>
                <a:ea typeface="ＭＳ Ｐゴシック"/>
                <a:cs typeface="Arial"/>
              </a:endParaRPr>
            </a:p>
          </p:txBody>
        </p:sp>
        <p:sp>
          <p:nvSpPr>
            <p:cNvPr id="370" name="TextBox 42"/>
            <p:cNvSpPr txBox="1">
              <a:spLocks noChangeArrowheads="1"/>
            </p:cNvSpPr>
            <p:nvPr/>
          </p:nvSpPr>
          <p:spPr bwMode="auto">
            <a:xfrm>
              <a:off x="71339" y="3553653"/>
              <a:ext cx="3352800" cy="261610"/>
            </a:xfrm>
            <a:prstGeom prst="rect">
              <a:avLst/>
            </a:prstGeom>
            <a:noFill/>
            <a:ln w="9525">
              <a:noFill/>
              <a:miter lim="800000"/>
              <a:headEnd/>
              <a:tailEnd/>
            </a:ln>
          </p:spPr>
          <p:txBody>
            <a:bodyPr>
              <a:spAutoFit/>
            </a:bodyPr>
            <a:lstStyle/>
            <a:p>
              <a:pPr defTabSz="914400" eaLnBrk="0" hangingPunct="0">
                <a:defRPr/>
              </a:pPr>
              <a:r>
                <a:rPr lang="en-US" sz="1050" b="1" kern="0">
                  <a:solidFill>
                    <a:srgbClr val="06357A"/>
                  </a:solidFill>
                </a:rPr>
                <a:t>UNITED STATES OF AMERICA, UNITED KINGDOM</a:t>
              </a:r>
            </a:p>
          </p:txBody>
        </p:sp>
      </p:grpSp>
      <p:sp>
        <p:nvSpPr>
          <p:cNvPr id="337" name="TextBox 46"/>
          <p:cNvSpPr txBox="1">
            <a:spLocks noChangeArrowheads="1"/>
          </p:cNvSpPr>
          <p:nvPr/>
        </p:nvSpPr>
        <p:spPr bwMode="auto">
          <a:xfrm>
            <a:off x="6297752" y="4597738"/>
            <a:ext cx="2270348" cy="276999"/>
          </a:xfrm>
          <a:prstGeom prst="rect">
            <a:avLst/>
          </a:prstGeom>
          <a:noFill/>
          <a:ln w="9525">
            <a:noFill/>
            <a:miter lim="800000"/>
            <a:headEnd/>
            <a:tailEnd/>
          </a:ln>
        </p:spPr>
        <p:txBody>
          <a:bodyPr wrap="square">
            <a:spAutoFit/>
          </a:bodyPr>
          <a:lstStyle/>
          <a:p>
            <a:pPr defTabSz="914400" eaLnBrk="0" hangingPunct="0">
              <a:defRPr/>
            </a:pPr>
            <a:r>
              <a:rPr lang="en-US" sz="1200" b="1" kern="0">
                <a:solidFill>
                  <a:srgbClr val="06357A"/>
                </a:solidFill>
              </a:rPr>
              <a:t>THE NETHERLANDS</a:t>
            </a:r>
          </a:p>
        </p:txBody>
      </p:sp>
      <p:sp>
        <p:nvSpPr>
          <p:cNvPr id="339" name="TextBox 44"/>
          <p:cNvSpPr txBox="1">
            <a:spLocks noChangeArrowheads="1"/>
          </p:cNvSpPr>
          <p:nvPr/>
        </p:nvSpPr>
        <p:spPr bwMode="auto">
          <a:xfrm>
            <a:off x="306509" y="2569119"/>
            <a:ext cx="2893892" cy="577081"/>
          </a:xfrm>
          <a:prstGeom prst="rect">
            <a:avLst/>
          </a:prstGeom>
          <a:noFill/>
          <a:ln w="9525">
            <a:noFill/>
            <a:miter lim="800000"/>
            <a:headEnd/>
            <a:tailEnd/>
          </a:ln>
        </p:spPr>
        <p:txBody>
          <a:bodyPr wrap="square" lIns="91440" tIns="45720" rIns="91440" bIns="45720" anchor="t">
            <a:spAutoFit/>
          </a:bodyPr>
          <a:lstStyle/>
          <a:p>
            <a:pPr defTabSz="914400" eaLnBrk="0" hangingPunct="0">
              <a:defRPr/>
            </a:pPr>
            <a:r>
              <a:rPr lang="en-US" sz="1050" b="1" kern="0" dirty="0">
                <a:solidFill>
                  <a:srgbClr val="06357A"/>
                </a:solidFill>
              </a:rPr>
              <a:t>GERMANY, AUSTRIA, SWITZERLAND, HUNGARY, ROMANIA, ITALY, DENMARK, SAUDI ARABIA, UAE</a:t>
            </a:r>
          </a:p>
        </p:txBody>
      </p:sp>
      <p:sp>
        <p:nvSpPr>
          <p:cNvPr id="340" name="TextBox 24"/>
          <p:cNvSpPr txBox="1">
            <a:spLocks noChangeArrowheads="1"/>
          </p:cNvSpPr>
          <p:nvPr/>
        </p:nvSpPr>
        <p:spPr bwMode="auto">
          <a:xfrm>
            <a:off x="310754" y="3275669"/>
            <a:ext cx="3505200" cy="923330"/>
          </a:xfrm>
          <a:prstGeom prst="rect">
            <a:avLst/>
          </a:prstGeom>
          <a:noFill/>
          <a:ln w="9525">
            <a:noFill/>
            <a:miter lim="800000"/>
            <a:headEnd/>
            <a:tailEnd/>
          </a:ln>
        </p:spPr>
        <p:txBody>
          <a:bodyPr lIns="91440" tIns="45720" rIns="91440" bIns="45720" anchor="t">
            <a:spAutoFit/>
          </a:bodyPr>
          <a:lstStyle/>
          <a:p>
            <a:pPr defTabSz="914400" eaLnBrk="0" hangingPunct="0">
              <a:spcAft>
                <a:spcPts val="300"/>
              </a:spcAft>
              <a:defRPr/>
            </a:pPr>
            <a:r>
              <a:rPr lang="en-US" sz="1100" b="1" kern="0">
                <a:solidFill>
                  <a:srgbClr val="4A66AC"/>
                </a:solidFill>
                <a:ea typeface="ＭＳ Ｐゴシック"/>
              </a:rPr>
              <a:t>Horváth &amp; Partners</a:t>
            </a:r>
          </a:p>
          <a:p>
            <a:pPr defTabSz="914400" eaLnBrk="0" hangingPunct="0">
              <a:spcBef>
                <a:spcPts val="300"/>
              </a:spcBef>
              <a:defRPr/>
            </a:pPr>
            <a:r>
              <a:rPr lang="en-US" sz="1100" b="1" kern="0">
                <a:solidFill>
                  <a:srgbClr val="4A66AC"/>
                </a:solidFill>
                <a:ea typeface="ＭＳ Ｐゴシック"/>
              </a:rPr>
              <a:t>Phone: </a:t>
            </a:r>
            <a:r>
              <a:rPr lang="en-US" sz="1100" kern="0">
                <a:solidFill>
                  <a:srgbClr val="4A66AC"/>
                </a:solidFill>
                <a:ea typeface="ＭＳ Ｐゴシック"/>
              </a:rPr>
              <a:t>(+49) 162 278 6303</a:t>
            </a:r>
            <a:endParaRPr lang="en-US" sz="1100" kern="0">
              <a:solidFill>
                <a:srgbClr val="4A66AC"/>
              </a:solidFill>
              <a:ea typeface="ＭＳ Ｐゴシック" pitchFamily="48" charset="-128"/>
            </a:endParaRPr>
          </a:p>
          <a:p>
            <a:pPr defTabSz="914400">
              <a:spcBef>
                <a:spcPts val="300"/>
              </a:spcBef>
              <a:defRPr/>
            </a:pPr>
            <a:r>
              <a:rPr lang="en-US" sz="1100" b="1" kern="0">
                <a:solidFill>
                  <a:srgbClr val="4A66AC"/>
                </a:solidFill>
                <a:ea typeface="ＭＳ Ｐゴシック"/>
              </a:rPr>
              <a:t>Email:  </a:t>
            </a:r>
            <a:r>
              <a:rPr lang="en-US" sz="1100" kern="0">
                <a:solidFill>
                  <a:srgbClr val="4A66AC"/>
                </a:solidFill>
                <a:ea typeface="ＭＳ Ｐゴシック"/>
              </a:rPr>
              <a:t>Olaf Reichel</a:t>
            </a:r>
            <a:endParaRPr lang="en-US" sz="1100" kern="0">
              <a:solidFill>
                <a:srgbClr val="4A66AC"/>
              </a:solidFill>
              <a:ea typeface="ＭＳ Ｐゴシック" pitchFamily="48" charset="-128"/>
              <a:cs typeface="Arial"/>
            </a:endParaRPr>
          </a:p>
          <a:p>
            <a:pPr defTabSz="914400" eaLnBrk="0" hangingPunct="0">
              <a:spcBef>
                <a:spcPts val="300"/>
              </a:spcBef>
              <a:defRPr/>
            </a:pPr>
            <a:r>
              <a:rPr lang="en-US" sz="1100" u="sng">
                <a:hlinkClick r:id="rId4"/>
              </a:rPr>
              <a:t>oreichel@horvath-partners.com</a:t>
            </a:r>
            <a:r>
              <a:rPr lang="en-US" sz="1100" kern="0">
                <a:solidFill>
                  <a:srgbClr val="4A66AC"/>
                </a:solidFill>
                <a:ea typeface="ＭＳ Ｐゴシック"/>
              </a:rPr>
              <a:t> </a:t>
            </a:r>
            <a:endParaRPr lang="en-US" sz="1100" kern="0">
              <a:solidFill>
                <a:srgbClr val="4A66AC"/>
              </a:solidFill>
              <a:ea typeface="ＭＳ Ｐゴシック" pitchFamily="48" charset="-128"/>
              <a:cs typeface="Arial"/>
            </a:endParaRPr>
          </a:p>
        </p:txBody>
      </p:sp>
      <p:grpSp>
        <p:nvGrpSpPr>
          <p:cNvPr id="342" name="Group 341"/>
          <p:cNvGrpSpPr/>
          <p:nvPr/>
        </p:nvGrpSpPr>
        <p:grpSpPr>
          <a:xfrm>
            <a:off x="3546595" y="2613897"/>
            <a:ext cx="3505200" cy="1592180"/>
            <a:chOff x="-1232392" y="2331471"/>
            <a:chExt cx="3505200" cy="1592180"/>
          </a:xfrm>
        </p:grpSpPr>
        <p:sp>
          <p:nvSpPr>
            <p:cNvPr id="361" name="TextBox 13"/>
            <p:cNvSpPr txBox="1">
              <a:spLocks noChangeArrowheads="1"/>
            </p:cNvSpPr>
            <p:nvPr/>
          </p:nvSpPr>
          <p:spPr bwMode="auto">
            <a:xfrm>
              <a:off x="-1232392" y="3038793"/>
              <a:ext cx="3505200" cy="884858"/>
            </a:xfrm>
            <a:prstGeom prst="rect">
              <a:avLst/>
            </a:prstGeom>
            <a:noFill/>
            <a:ln w="9525">
              <a:noFill/>
              <a:miter lim="800000"/>
              <a:headEnd/>
              <a:tailEnd/>
            </a:ln>
          </p:spPr>
          <p:txBody>
            <a:bodyPr wrap="square">
              <a:spAutoFit/>
            </a:bodyPr>
            <a:lstStyle/>
            <a:p>
              <a:pPr defTabSz="914400" eaLnBrk="0" hangingPunct="0">
                <a:spcAft>
                  <a:spcPts val="300"/>
                </a:spcAft>
                <a:defRPr/>
              </a:pPr>
              <a:r>
                <a:rPr lang="en-US" sz="1100" b="1" kern="0">
                  <a:solidFill>
                    <a:srgbClr val="4A66AC">
                      <a:lumMod val="90000"/>
                      <a:lumOff val="10000"/>
                    </a:srgbClr>
                  </a:solidFill>
                  <a:ea typeface="ＭＳ Ｐゴシック" pitchFamily="48" charset="-128"/>
                </a:rPr>
                <a:t>Key To Way</a:t>
              </a:r>
            </a:p>
            <a:p>
              <a:pPr defTabSz="914400" eaLnBrk="0" hangingPunct="0">
                <a:spcAft>
                  <a:spcPts val="300"/>
                </a:spcAft>
                <a:defRPr/>
              </a:pPr>
              <a:r>
                <a:rPr lang="en-US" sz="1100" b="1" kern="0">
                  <a:solidFill>
                    <a:srgbClr val="4A66AC">
                      <a:lumMod val="90000"/>
                      <a:lumOff val="10000"/>
                    </a:srgbClr>
                  </a:solidFill>
                  <a:ea typeface="ＭＳ Ｐゴシック" pitchFamily="48" charset="-128"/>
                </a:rPr>
                <a:t>Phone: </a:t>
              </a:r>
              <a:r>
                <a:rPr lang="en-US" sz="1100" kern="0">
                  <a:solidFill>
                    <a:srgbClr val="4A66AC">
                      <a:lumMod val="90000"/>
                      <a:lumOff val="10000"/>
                    </a:srgbClr>
                  </a:solidFill>
                  <a:ea typeface="ＭＳ Ｐゴシック" pitchFamily="48" charset="-128"/>
                </a:rPr>
                <a:t>(+82) 10 8931 0834</a:t>
              </a:r>
            </a:p>
            <a:p>
              <a:pPr defTabSz="914400" eaLnBrk="0" hangingPunct="0">
                <a:spcAft>
                  <a:spcPts val="300"/>
                </a:spcAft>
                <a:defRPr/>
              </a:pPr>
              <a:r>
                <a:rPr lang="fr-FR" sz="1100" b="1" kern="0">
                  <a:solidFill>
                    <a:srgbClr val="4A66AC">
                      <a:lumMod val="90000"/>
                      <a:lumOff val="10000"/>
                    </a:srgbClr>
                  </a:solidFill>
                  <a:ea typeface="ＭＳ Ｐゴシック" pitchFamily="48" charset="-128"/>
                </a:rPr>
                <a:t>Email:</a:t>
              </a:r>
              <a:r>
                <a:rPr lang="fr-FR" sz="1100" kern="0">
                  <a:solidFill>
                    <a:srgbClr val="4A66AC">
                      <a:lumMod val="90000"/>
                      <a:lumOff val="10000"/>
                    </a:srgbClr>
                  </a:solidFill>
                  <a:ea typeface="ＭＳ Ｐゴシック" pitchFamily="48" charset="-128"/>
                </a:rPr>
                <a:t> Young </a:t>
              </a:r>
              <a:r>
                <a:rPr lang="fr-FR" sz="1100" kern="0" err="1">
                  <a:solidFill>
                    <a:srgbClr val="4A66AC">
                      <a:lumMod val="90000"/>
                      <a:lumOff val="10000"/>
                    </a:srgbClr>
                  </a:solidFill>
                  <a:ea typeface="ＭＳ Ｐゴシック" pitchFamily="48" charset="-128"/>
                </a:rPr>
                <a:t>Kwon</a:t>
              </a:r>
              <a:endParaRPr lang="fr-FR" sz="1100" kern="0">
                <a:solidFill>
                  <a:srgbClr val="4A66AC">
                    <a:lumMod val="90000"/>
                    <a:lumOff val="10000"/>
                  </a:srgbClr>
                </a:solidFill>
                <a:ea typeface="ＭＳ Ｐゴシック" pitchFamily="48" charset="-128"/>
              </a:endParaRPr>
            </a:p>
            <a:p>
              <a:pPr defTabSz="914400" eaLnBrk="0" hangingPunct="0">
                <a:spcAft>
                  <a:spcPts val="300"/>
                </a:spcAft>
                <a:defRPr/>
              </a:pPr>
              <a:r>
                <a:rPr lang="fr-FR" sz="1100" kern="0">
                  <a:solidFill>
                    <a:srgbClr val="4A66AC">
                      <a:lumMod val="90000"/>
                      <a:lumOff val="10000"/>
                    </a:srgbClr>
                  </a:solidFill>
                  <a:ea typeface="ＭＳ Ｐゴシック" pitchFamily="48" charset="-128"/>
                  <a:hlinkClick r:id="rId5"/>
                </a:rPr>
                <a:t>young.kwon@keytoway.kr </a:t>
              </a:r>
              <a:endParaRPr lang="fr-FR" sz="1100" kern="0">
                <a:solidFill>
                  <a:srgbClr val="4A66AC">
                    <a:lumMod val="90000"/>
                    <a:lumOff val="10000"/>
                  </a:srgbClr>
                </a:solidFill>
                <a:ea typeface="ＭＳ Ｐゴシック" pitchFamily="48" charset="-128"/>
              </a:endParaRPr>
            </a:p>
          </p:txBody>
        </p:sp>
        <p:sp>
          <p:nvSpPr>
            <p:cNvPr id="362" name="TextBox 48"/>
            <p:cNvSpPr txBox="1">
              <a:spLocks noChangeArrowheads="1"/>
            </p:cNvSpPr>
            <p:nvPr/>
          </p:nvSpPr>
          <p:spPr bwMode="auto">
            <a:xfrm>
              <a:off x="-1232392" y="2331471"/>
              <a:ext cx="2133600" cy="261610"/>
            </a:xfrm>
            <a:prstGeom prst="rect">
              <a:avLst/>
            </a:prstGeom>
            <a:noFill/>
            <a:ln w="9525">
              <a:noFill/>
              <a:miter lim="800000"/>
              <a:headEnd/>
              <a:tailEnd/>
            </a:ln>
          </p:spPr>
          <p:txBody>
            <a:bodyPr wrap="square">
              <a:spAutoFit/>
            </a:bodyPr>
            <a:lstStyle/>
            <a:p>
              <a:pPr defTabSz="914400" eaLnBrk="0" hangingPunct="0">
                <a:defRPr/>
              </a:pPr>
              <a:r>
                <a:rPr lang="en-US" sz="1050" b="1" kern="0">
                  <a:solidFill>
                    <a:srgbClr val="06357A"/>
                  </a:solidFill>
                </a:rPr>
                <a:t>SOUTH KOREA</a:t>
              </a:r>
            </a:p>
          </p:txBody>
        </p:sp>
      </p:grpSp>
      <p:cxnSp>
        <p:nvCxnSpPr>
          <p:cNvPr id="343" name="Straight Connector 15"/>
          <p:cNvCxnSpPr>
            <a:cxnSpLocks/>
          </p:cNvCxnSpPr>
          <p:nvPr/>
        </p:nvCxnSpPr>
        <p:spPr>
          <a:xfrm>
            <a:off x="311638" y="2458576"/>
            <a:ext cx="11312672" cy="0"/>
          </a:xfrm>
          <a:prstGeom prst="line">
            <a:avLst/>
          </a:prstGeom>
          <a:noFill/>
          <a:ln w="9525" cap="flat" cmpd="sng" algn="ctr">
            <a:solidFill>
              <a:srgbClr val="ACCBF9"/>
            </a:solidFill>
            <a:prstDash val="solid"/>
          </a:ln>
          <a:effectLst/>
        </p:spPr>
      </p:cxnSp>
      <p:grpSp>
        <p:nvGrpSpPr>
          <p:cNvPr id="344" name="Group 343"/>
          <p:cNvGrpSpPr/>
          <p:nvPr/>
        </p:nvGrpSpPr>
        <p:grpSpPr>
          <a:xfrm>
            <a:off x="6297752" y="970669"/>
            <a:ext cx="2600640" cy="1175946"/>
            <a:chOff x="4479085" y="1145591"/>
            <a:chExt cx="2600640" cy="1175946"/>
          </a:xfrm>
        </p:grpSpPr>
        <p:sp>
          <p:nvSpPr>
            <p:cNvPr id="359" name="TextBox 34"/>
            <p:cNvSpPr txBox="1">
              <a:spLocks noChangeArrowheads="1"/>
            </p:cNvSpPr>
            <p:nvPr/>
          </p:nvSpPr>
          <p:spPr bwMode="auto">
            <a:xfrm>
              <a:off x="4479085" y="1398207"/>
              <a:ext cx="2600640" cy="923330"/>
            </a:xfrm>
            <a:prstGeom prst="rect">
              <a:avLst/>
            </a:prstGeom>
            <a:noFill/>
            <a:ln w="9525">
              <a:noFill/>
              <a:miter lim="800000"/>
              <a:headEnd/>
              <a:tailEnd/>
            </a:ln>
          </p:spPr>
          <p:txBody>
            <a:bodyPr wrap="square">
              <a:spAutoFit/>
            </a:bodyPr>
            <a:lstStyle/>
            <a:p>
              <a:pPr defTabSz="914400" eaLnBrk="0" hangingPunct="0">
                <a:spcAft>
                  <a:spcPts val="300"/>
                </a:spcAft>
                <a:defRPr/>
              </a:pPr>
              <a:r>
                <a:rPr lang="en-US" sz="1100" b="1" kern="0">
                  <a:solidFill>
                    <a:srgbClr val="5974B8"/>
                  </a:solidFill>
                  <a:ea typeface="ＭＳ Ｐゴシック" pitchFamily="48" charset="-128"/>
                </a:rPr>
                <a:t>GENEX Partners</a:t>
              </a:r>
            </a:p>
            <a:p>
              <a:pPr defTabSz="914400" eaLnBrk="0" hangingPunct="0">
                <a:spcBef>
                  <a:spcPts val="300"/>
                </a:spcBef>
                <a:defRPr/>
              </a:pPr>
              <a:r>
                <a:rPr lang="en-US" sz="1100" b="1" kern="0">
                  <a:solidFill>
                    <a:srgbClr val="4A66AC">
                      <a:lumMod val="90000"/>
                      <a:lumOff val="10000"/>
                    </a:srgbClr>
                  </a:solidFill>
                  <a:ea typeface="ＭＳ Ｐゴシック" pitchFamily="48" charset="-128"/>
                </a:rPr>
                <a:t>Phone: </a:t>
              </a:r>
              <a:r>
                <a:rPr lang="en-US" sz="1100" kern="0">
                  <a:solidFill>
                    <a:srgbClr val="4A66AC">
                      <a:lumMod val="90000"/>
                      <a:lumOff val="10000"/>
                    </a:srgbClr>
                  </a:solidFill>
                  <a:ea typeface="ＭＳ Ｐゴシック" pitchFamily="48" charset="-128"/>
                </a:rPr>
                <a:t>(+81) 3 5795 3211</a:t>
              </a:r>
            </a:p>
            <a:p>
              <a:pPr defTabSz="914400" eaLnBrk="0" hangingPunct="0">
                <a:spcBef>
                  <a:spcPts val="300"/>
                </a:spcBef>
                <a:defRPr/>
              </a:pPr>
              <a:r>
                <a:rPr lang="en-US" sz="1100" b="1" kern="0">
                  <a:solidFill>
                    <a:srgbClr val="4A66AC">
                      <a:lumMod val="90000"/>
                      <a:lumOff val="10000"/>
                    </a:srgbClr>
                  </a:solidFill>
                  <a:ea typeface="ＭＳ Ｐゴシック" pitchFamily="48" charset="-128"/>
                </a:rPr>
                <a:t>Email: </a:t>
              </a:r>
              <a:r>
                <a:rPr lang="en-US" sz="1100" kern="0">
                  <a:solidFill>
                    <a:srgbClr val="4A66AC">
                      <a:lumMod val="90000"/>
                      <a:lumOff val="10000"/>
                    </a:srgbClr>
                  </a:solidFill>
                </a:rPr>
                <a:t>Taku Oike</a:t>
              </a:r>
            </a:p>
            <a:p>
              <a:pPr defTabSz="914400">
                <a:spcBef>
                  <a:spcPts val="300"/>
                </a:spcBef>
                <a:defRPr/>
              </a:pPr>
              <a:r>
                <a:rPr lang="en-US" sz="1100" kern="0">
                  <a:solidFill>
                    <a:srgbClr val="4A66AC">
                      <a:lumMod val="90000"/>
                      <a:lumOff val="10000"/>
                    </a:srgbClr>
                  </a:solidFill>
                  <a:hlinkClick r:id="rId6"/>
                </a:rPr>
                <a:t>oike@genexpartners.com</a:t>
              </a:r>
              <a:endParaRPr lang="en-US" sz="1100" kern="0">
                <a:solidFill>
                  <a:srgbClr val="4A66AC">
                    <a:lumMod val="90000"/>
                    <a:lumOff val="10000"/>
                  </a:srgbClr>
                </a:solidFill>
                <a:ea typeface="ＭＳ Ｐゴシック" pitchFamily="48" charset="-128"/>
              </a:endParaRPr>
            </a:p>
          </p:txBody>
        </p:sp>
        <p:sp>
          <p:nvSpPr>
            <p:cNvPr id="360" name="TextBox 47"/>
            <p:cNvSpPr txBox="1">
              <a:spLocks noChangeArrowheads="1"/>
            </p:cNvSpPr>
            <p:nvPr/>
          </p:nvSpPr>
          <p:spPr bwMode="auto">
            <a:xfrm>
              <a:off x="4516186" y="1145591"/>
              <a:ext cx="1752600" cy="246221"/>
            </a:xfrm>
            <a:prstGeom prst="rect">
              <a:avLst/>
            </a:prstGeom>
            <a:noFill/>
            <a:ln w="9525">
              <a:noFill/>
              <a:miter lim="800000"/>
              <a:headEnd/>
              <a:tailEnd/>
            </a:ln>
          </p:spPr>
          <p:txBody>
            <a:bodyPr>
              <a:spAutoFit/>
            </a:bodyPr>
            <a:lstStyle/>
            <a:p>
              <a:pPr defTabSz="914400" eaLnBrk="0" hangingPunct="0">
                <a:defRPr/>
              </a:pPr>
              <a:r>
                <a:rPr lang="en-US" sz="1000" b="1" kern="0" dirty="0">
                  <a:solidFill>
                    <a:srgbClr val="06357A"/>
                  </a:solidFill>
                </a:rPr>
                <a:t>JAPAN</a:t>
              </a:r>
            </a:p>
          </p:txBody>
        </p:sp>
      </p:grpSp>
      <p:pic>
        <p:nvPicPr>
          <p:cNvPr id="346" name="Picture 4" descr="A picture containing drawing&#10;&#10;Description generated with very high confidence"/>
          <p:cNvPicPr>
            <a:picLocks noChangeAspect="1" noChangeArrowheads="1"/>
          </p:cNvPicPr>
          <p:nvPr/>
        </p:nvPicPr>
        <p:blipFill>
          <a:blip r:embed="rId7"/>
          <a:srcRect/>
          <a:stretch>
            <a:fillRect/>
          </a:stretch>
        </p:blipFill>
        <p:spPr bwMode="auto">
          <a:xfrm>
            <a:off x="6466991" y="4870124"/>
            <a:ext cx="1457193" cy="252024"/>
          </a:xfrm>
          <a:prstGeom prst="rect">
            <a:avLst/>
          </a:prstGeom>
          <a:noFill/>
          <a:extLst>
            <a:ext uri="{909E8E84-426E-40DD-AFC4-6F175D3DCCD1}">
              <a14:hiddenFill xmlns:a14="http://schemas.microsoft.com/office/drawing/2010/main">
                <a:solidFill>
                  <a:srgbClr val="FFFFFF"/>
                </a:solidFill>
              </a14:hiddenFill>
            </a:ext>
          </a:extLst>
        </p:spPr>
      </p:pic>
      <p:pic>
        <p:nvPicPr>
          <p:cNvPr id="357" name="Picture 2" descr="C:\Users\stlee\Documents\Snehas Documents\Members\Logos\keytowaylogo_high def.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854529" y="2603303"/>
            <a:ext cx="1230586" cy="485085"/>
          </a:xfrm>
          <a:prstGeom prst="rect">
            <a:avLst/>
          </a:prstGeom>
          <a:noFill/>
          <a:extLst>
            <a:ext uri="{909E8E84-426E-40DD-AFC4-6F175D3DCCD1}">
              <a14:hiddenFill xmlns:a14="http://schemas.microsoft.com/office/drawing/2010/main">
                <a:solidFill>
                  <a:srgbClr val="FFFFFF"/>
                </a:solidFill>
              </a14:hiddenFill>
            </a:ext>
          </a:extLst>
        </p:spPr>
      </p:pic>
      <p:sp>
        <p:nvSpPr>
          <p:cNvPr id="371" name="TextBox 13"/>
          <p:cNvSpPr txBox="1">
            <a:spLocks noChangeArrowheads="1"/>
          </p:cNvSpPr>
          <p:nvPr/>
        </p:nvSpPr>
        <p:spPr bwMode="auto">
          <a:xfrm>
            <a:off x="303642" y="1228156"/>
            <a:ext cx="3639708" cy="884858"/>
          </a:xfrm>
          <a:prstGeom prst="rect">
            <a:avLst/>
          </a:prstGeom>
          <a:noFill/>
          <a:ln w="9525">
            <a:noFill/>
            <a:miter lim="800000"/>
            <a:headEnd/>
            <a:tailEnd/>
          </a:ln>
        </p:spPr>
        <p:txBody>
          <a:bodyPr wrap="square" lIns="91440" tIns="45720" rIns="91440" bIns="45720" anchor="t">
            <a:spAutoFit/>
          </a:bodyPr>
          <a:lstStyle/>
          <a:p>
            <a:pPr defTabSz="914400" eaLnBrk="0" hangingPunct="0">
              <a:spcAft>
                <a:spcPts val="300"/>
              </a:spcAft>
              <a:defRPr/>
            </a:pPr>
            <a:r>
              <a:rPr lang="en-US" sz="1100" b="1" kern="0" dirty="0">
                <a:solidFill>
                  <a:srgbClr val="4A66AC"/>
                </a:solidFill>
                <a:ea typeface="ＭＳ Ｐゴシック"/>
              </a:rPr>
              <a:t>Avalon Consulting</a:t>
            </a:r>
          </a:p>
          <a:p>
            <a:pPr defTabSz="914400" eaLnBrk="0" hangingPunct="0">
              <a:spcAft>
                <a:spcPts val="300"/>
              </a:spcAft>
              <a:defRPr/>
            </a:pPr>
            <a:r>
              <a:rPr lang="en-US" sz="1100" b="1" kern="0" dirty="0">
                <a:solidFill>
                  <a:srgbClr val="4A66AC"/>
                </a:solidFill>
                <a:ea typeface="ＭＳ Ｐゴシック"/>
              </a:rPr>
              <a:t>Phone:</a:t>
            </a:r>
            <a:r>
              <a:rPr lang="en-US" sz="1100" kern="0" dirty="0">
                <a:solidFill>
                  <a:srgbClr val="4A66AC"/>
                </a:solidFill>
                <a:ea typeface="ＭＳ Ｐゴシック"/>
              </a:rPr>
              <a:t> (+91) 996 257 7299</a:t>
            </a:r>
            <a:endParaRPr lang="en-US" sz="1100" kern="0" dirty="0">
              <a:solidFill>
                <a:srgbClr val="4A66AC"/>
              </a:solidFill>
              <a:ea typeface="ＭＳ Ｐゴシック"/>
              <a:cs typeface="Arial"/>
            </a:endParaRPr>
          </a:p>
          <a:p>
            <a:pPr defTabSz="914400" eaLnBrk="0" hangingPunct="0">
              <a:spcAft>
                <a:spcPts val="300"/>
              </a:spcAft>
              <a:defRPr/>
            </a:pPr>
            <a:r>
              <a:rPr lang="en-US" sz="1100" b="1" kern="0" dirty="0">
                <a:solidFill>
                  <a:srgbClr val="4A66AC"/>
                </a:solidFill>
                <a:ea typeface="ＭＳ Ｐゴシック"/>
              </a:rPr>
              <a:t>Email</a:t>
            </a:r>
            <a:r>
              <a:rPr lang="en-US" sz="1100" kern="0" dirty="0">
                <a:solidFill>
                  <a:srgbClr val="4A66AC"/>
                </a:solidFill>
                <a:ea typeface="ＭＳ Ｐゴシック"/>
              </a:rPr>
              <a:t>:  Santosh Sreedhar</a:t>
            </a:r>
            <a:endParaRPr lang="en-US" sz="1100" kern="0" dirty="0">
              <a:solidFill>
                <a:srgbClr val="4A66AC"/>
              </a:solidFill>
              <a:ea typeface="ＭＳ Ｐゴシック"/>
              <a:cs typeface="Arial"/>
            </a:endParaRPr>
          </a:p>
          <a:p>
            <a:pPr defTabSz="914400">
              <a:spcAft>
                <a:spcPts val="300"/>
              </a:spcAft>
              <a:defRPr/>
            </a:pPr>
            <a:r>
              <a:rPr lang="en-US" sz="1100" kern="0" dirty="0">
                <a:ea typeface="+mn-lt"/>
                <a:cs typeface="+mn-lt"/>
                <a:hlinkClick r:id="rId9"/>
              </a:rPr>
              <a:t>santosh.sreedhar@consultavalon.com</a:t>
            </a:r>
            <a:endParaRPr lang="en-US" sz="1400" dirty="0"/>
          </a:p>
        </p:txBody>
      </p:sp>
      <p:sp>
        <p:nvSpPr>
          <p:cNvPr id="372" name="TextBox 48"/>
          <p:cNvSpPr txBox="1">
            <a:spLocks noChangeArrowheads="1"/>
          </p:cNvSpPr>
          <p:nvPr/>
        </p:nvSpPr>
        <p:spPr bwMode="auto">
          <a:xfrm>
            <a:off x="310754" y="999765"/>
            <a:ext cx="2590800" cy="261610"/>
          </a:xfrm>
          <a:prstGeom prst="rect">
            <a:avLst/>
          </a:prstGeom>
          <a:noFill/>
          <a:ln w="9525">
            <a:noFill/>
            <a:miter lim="800000"/>
            <a:headEnd/>
            <a:tailEnd/>
          </a:ln>
        </p:spPr>
        <p:txBody>
          <a:bodyPr wrap="square">
            <a:spAutoFit/>
          </a:bodyPr>
          <a:lstStyle/>
          <a:p>
            <a:pPr defTabSz="914400" eaLnBrk="0" hangingPunct="0">
              <a:defRPr/>
            </a:pPr>
            <a:r>
              <a:rPr lang="en-US" sz="1050" b="1" kern="0">
                <a:solidFill>
                  <a:srgbClr val="06357A"/>
                </a:solidFill>
              </a:rPr>
              <a:t>INDIA, SINGAPORE</a:t>
            </a:r>
          </a:p>
        </p:txBody>
      </p:sp>
      <p:pic>
        <p:nvPicPr>
          <p:cNvPr id="373" name="Picture 2"/>
          <p:cNvPicPr>
            <a:picLocks noChangeAspect="1" noChangeArrowheads="1"/>
          </p:cNvPicPr>
          <p:nvPr/>
        </p:nvPicPr>
        <p:blipFill>
          <a:blip r:embed="rId10">
            <a:extLst>
              <a:ext uri="{28A0092B-C50C-407E-A947-70E740481C1C}">
                <a14:useLocalDpi xmlns:a14="http://schemas.microsoft.com/office/drawing/2010/main" val="0"/>
              </a:ext>
            </a:extLst>
          </a:blip>
          <a:stretch>
            <a:fillRect/>
          </a:stretch>
        </p:blipFill>
        <p:spPr bwMode="auto">
          <a:xfrm>
            <a:off x="1831247" y="948669"/>
            <a:ext cx="1220725" cy="478208"/>
          </a:xfrm>
          <a:prstGeom prst="rect">
            <a:avLst/>
          </a:prstGeom>
          <a:noFill/>
          <a:extLst>
            <a:ext uri="{909E8E84-426E-40DD-AFC4-6F175D3DCCD1}">
              <a14:hiddenFill xmlns:a14="http://schemas.microsoft.com/office/drawing/2010/main">
                <a:solidFill>
                  <a:srgbClr val="FFFFFF"/>
                </a:solidFill>
              </a14:hiddenFill>
            </a:ext>
          </a:extLst>
        </p:spPr>
      </p:pic>
      <p:grpSp>
        <p:nvGrpSpPr>
          <p:cNvPr id="54" name="Group 53">
            <a:extLst>
              <a:ext uri="{FF2B5EF4-FFF2-40B4-BE49-F238E27FC236}">
                <a16:creationId xmlns:a16="http://schemas.microsoft.com/office/drawing/2014/main" id="{A7CB3AD0-25FB-463E-A544-B34AA3CC84FF}"/>
              </a:ext>
            </a:extLst>
          </p:cNvPr>
          <p:cNvGrpSpPr/>
          <p:nvPr/>
        </p:nvGrpSpPr>
        <p:grpSpPr>
          <a:xfrm>
            <a:off x="3555869" y="4559254"/>
            <a:ext cx="3512384" cy="1211631"/>
            <a:chOff x="3551817" y="5266103"/>
            <a:chExt cx="3512384" cy="1211631"/>
          </a:xfrm>
        </p:grpSpPr>
        <p:sp>
          <p:nvSpPr>
            <p:cNvPr id="55" name="TextBox 27">
              <a:extLst>
                <a:ext uri="{FF2B5EF4-FFF2-40B4-BE49-F238E27FC236}">
                  <a16:creationId xmlns:a16="http://schemas.microsoft.com/office/drawing/2014/main" id="{A92105B0-DFFC-4B5E-9E5B-4915CDD0B953}"/>
                </a:ext>
              </a:extLst>
            </p:cNvPr>
            <p:cNvSpPr txBox="1">
              <a:spLocks noChangeArrowheads="1"/>
            </p:cNvSpPr>
            <p:nvPr/>
          </p:nvSpPr>
          <p:spPr bwMode="auto">
            <a:xfrm>
              <a:off x="3559001" y="5554404"/>
              <a:ext cx="3505200" cy="923330"/>
            </a:xfrm>
            <a:prstGeom prst="rect">
              <a:avLst/>
            </a:prstGeom>
            <a:noFill/>
            <a:ln w="9525">
              <a:noFill/>
              <a:miter lim="800000"/>
              <a:headEnd/>
              <a:tailEnd/>
            </a:ln>
          </p:spPr>
          <p:txBody>
            <a:bodyPr lIns="91440" tIns="45720" rIns="91440" bIns="45720" anchor="t">
              <a:spAutoFit/>
            </a:bodyPr>
            <a:lstStyle/>
            <a:p>
              <a:pPr defTabSz="914400" eaLnBrk="0" hangingPunct="0">
                <a:spcAft>
                  <a:spcPts val="300"/>
                </a:spcAft>
                <a:defRPr/>
              </a:pPr>
              <a:r>
                <a:rPr lang="en-US" sz="1100" b="1" kern="0">
                  <a:solidFill>
                    <a:srgbClr val="4A66AC"/>
                  </a:solidFill>
                  <a:ea typeface="ＭＳ Ｐゴシック"/>
                </a:rPr>
                <a:t>State of Matter</a:t>
              </a:r>
            </a:p>
            <a:p>
              <a:pPr defTabSz="914400" eaLnBrk="0" hangingPunct="0">
                <a:spcBef>
                  <a:spcPts val="300"/>
                </a:spcBef>
                <a:defRPr/>
              </a:pPr>
              <a:r>
                <a:rPr lang="en-US" sz="1100" b="1" kern="0">
                  <a:solidFill>
                    <a:srgbClr val="4A66AC"/>
                  </a:solidFill>
                  <a:ea typeface="ＭＳ Ｐゴシック"/>
                </a:rPr>
                <a:t>Phone:</a:t>
              </a:r>
              <a:r>
                <a:rPr lang="en-US" sz="1100" kern="0">
                  <a:solidFill>
                    <a:srgbClr val="4A66AC"/>
                  </a:solidFill>
                  <a:ea typeface="ＭＳ Ｐゴシック"/>
                </a:rPr>
                <a:t> (+61) </a:t>
              </a:r>
              <a:endParaRPr lang="en-US" sz="1100" kern="0">
                <a:solidFill>
                  <a:srgbClr val="4A66AC"/>
                </a:solidFill>
                <a:ea typeface="ＭＳ Ｐゴシック"/>
                <a:cs typeface="Arial"/>
              </a:endParaRPr>
            </a:p>
            <a:p>
              <a:pPr defTabSz="914400" eaLnBrk="0" hangingPunct="0">
                <a:spcBef>
                  <a:spcPts val="300"/>
                </a:spcBef>
                <a:defRPr/>
              </a:pPr>
              <a:r>
                <a:rPr lang="en-US" sz="1100" b="1" kern="0">
                  <a:solidFill>
                    <a:srgbClr val="4A66AC"/>
                  </a:solidFill>
                  <a:ea typeface="ＭＳ Ｐゴシック"/>
                </a:rPr>
                <a:t>Email:  </a:t>
              </a:r>
              <a:r>
                <a:rPr lang="en-US" sz="1100" kern="0">
                  <a:solidFill>
                    <a:srgbClr val="4A66AC"/>
                  </a:solidFill>
                  <a:ea typeface="ＭＳ Ｐゴシック"/>
                </a:rPr>
                <a:t>Mark Miltenburg</a:t>
              </a:r>
              <a:endParaRPr lang="en-US" sz="1100" kern="0">
                <a:solidFill>
                  <a:srgbClr val="4A66AC"/>
                </a:solidFill>
                <a:ea typeface="ＭＳ Ｐゴシック" pitchFamily="48" charset="-128"/>
                <a:cs typeface="Arial"/>
              </a:endParaRPr>
            </a:p>
            <a:p>
              <a:pPr defTabSz="914400" eaLnBrk="0" hangingPunct="0">
                <a:spcBef>
                  <a:spcPts val="300"/>
                </a:spcBef>
                <a:defRPr/>
              </a:pPr>
              <a:r>
                <a:rPr lang="en-US" sz="1100" kern="0">
                  <a:solidFill>
                    <a:srgbClr val="4A66AC"/>
                  </a:solidFill>
                  <a:ea typeface="ＭＳ Ｐゴシック"/>
                </a:rPr>
                <a:t>markm@sofm.com.au</a:t>
              </a:r>
              <a:endParaRPr lang="en-US" sz="1100" kern="0">
                <a:solidFill>
                  <a:srgbClr val="4A66AC"/>
                </a:solidFill>
                <a:ea typeface="ＭＳ Ｐゴシック"/>
                <a:cs typeface="Arial"/>
              </a:endParaRPr>
            </a:p>
          </p:txBody>
        </p:sp>
        <p:sp>
          <p:nvSpPr>
            <p:cNvPr id="56" name="TextBox 46">
              <a:extLst>
                <a:ext uri="{FF2B5EF4-FFF2-40B4-BE49-F238E27FC236}">
                  <a16:creationId xmlns:a16="http://schemas.microsoft.com/office/drawing/2014/main" id="{BCB27178-5242-44B8-AE8B-6AFFD075C8E8}"/>
                </a:ext>
              </a:extLst>
            </p:cNvPr>
            <p:cNvSpPr txBox="1">
              <a:spLocks noChangeArrowheads="1"/>
            </p:cNvSpPr>
            <p:nvPr/>
          </p:nvSpPr>
          <p:spPr bwMode="auto">
            <a:xfrm>
              <a:off x="3551817" y="5266103"/>
              <a:ext cx="2270348" cy="261610"/>
            </a:xfrm>
            <a:prstGeom prst="rect">
              <a:avLst/>
            </a:prstGeom>
            <a:noFill/>
            <a:ln w="9525">
              <a:noFill/>
              <a:miter lim="800000"/>
              <a:headEnd/>
              <a:tailEnd/>
            </a:ln>
          </p:spPr>
          <p:txBody>
            <a:bodyPr wrap="square">
              <a:spAutoFit/>
            </a:bodyPr>
            <a:lstStyle/>
            <a:p>
              <a:pPr defTabSz="914400" eaLnBrk="0" hangingPunct="0">
                <a:defRPr/>
              </a:pPr>
              <a:r>
                <a:rPr lang="en-US" sz="1050" b="1" kern="0">
                  <a:solidFill>
                    <a:srgbClr val="06357A"/>
                  </a:solidFill>
                </a:rPr>
                <a:t>AUSTRALIA</a:t>
              </a:r>
            </a:p>
          </p:txBody>
        </p:sp>
      </p:grpSp>
      <p:pic>
        <p:nvPicPr>
          <p:cNvPr id="58" name="Picture 57">
            <a:extLst>
              <a:ext uri="{FF2B5EF4-FFF2-40B4-BE49-F238E27FC236}">
                <a16:creationId xmlns:a16="http://schemas.microsoft.com/office/drawing/2014/main" id="{3F40ECC7-2BC0-45F4-B9B2-EAC90AB5CA5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469822" y="4542473"/>
            <a:ext cx="652660" cy="652660"/>
          </a:xfrm>
          <a:prstGeom prst="rect">
            <a:avLst/>
          </a:prstGeom>
        </p:spPr>
      </p:pic>
      <p:pic>
        <p:nvPicPr>
          <p:cNvPr id="9" name="Picture 8" descr="A black and white sign&#10;&#10;Description automatically generated with low confidence">
            <a:extLst>
              <a:ext uri="{FF2B5EF4-FFF2-40B4-BE49-F238E27FC236}">
                <a16:creationId xmlns:a16="http://schemas.microsoft.com/office/drawing/2014/main" id="{E6E009C5-2B74-48B7-926F-2102EC70918F}"/>
              </a:ext>
            </a:extLst>
          </p:cNvPr>
          <p:cNvPicPr>
            <a:picLocks noChangeAspect="1"/>
          </p:cNvPicPr>
          <p:nvPr/>
        </p:nvPicPr>
        <p:blipFill>
          <a:blip r:embed="rId12"/>
          <a:stretch>
            <a:fillRect/>
          </a:stretch>
        </p:blipFill>
        <p:spPr>
          <a:xfrm>
            <a:off x="7671895" y="2997665"/>
            <a:ext cx="1027161" cy="361561"/>
          </a:xfrm>
          <a:prstGeom prst="rect">
            <a:avLst/>
          </a:prstGeom>
        </p:spPr>
      </p:pic>
      <p:pic>
        <p:nvPicPr>
          <p:cNvPr id="11" name="Picture 10" descr="Logo&#10;&#10;Description automatically generated">
            <a:extLst>
              <a:ext uri="{FF2B5EF4-FFF2-40B4-BE49-F238E27FC236}">
                <a16:creationId xmlns:a16="http://schemas.microsoft.com/office/drawing/2014/main" id="{19044AB7-675D-4151-B301-0DBC5771453B}"/>
              </a:ext>
            </a:extLst>
          </p:cNvPr>
          <p:cNvPicPr>
            <a:picLocks noChangeAspect="1"/>
          </p:cNvPicPr>
          <p:nvPr/>
        </p:nvPicPr>
        <p:blipFill>
          <a:blip r:embed="rId13"/>
          <a:stretch>
            <a:fillRect/>
          </a:stretch>
        </p:blipFill>
        <p:spPr>
          <a:xfrm>
            <a:off x="1880741" y="3062644"/>
            <a:ext cx="1235850" cy="296582"/>
          </a:xfrm>
          <a:prstGeom prst="rect">
            <a:avLst/>
          </a:prstGeom>
        </p:spPr>
      </p:pic>
      <p:cxnSp>
        <p:nvCxnSpPr>
          <p:cNvPr id="49" name="Straight Connector 15">
            <a:extLst>
              <a:ext uri="{FF2B5EF4-FFF2-40B4-BE49-F238E27FC236}">
                <a16:creationId xmlns:a16="http://schemas.microsoft.com/office/drawing/2014/main" id="{4E9FC96E-C116-DF21-A4AE-B896545398E7}"/>
              </a:ext>
            </a:extLst>
          </p:cNvPr>
          <p:cNvCxnSpPr>
            <a:cxnSpLocks/>
          </p:cNvCxnSpPr>
          <p:nvPr/>
        </p:nvCxnSpPr>
        <p:spPr>
          <a:xfrm>
            <a:off x="379802" y="4438908"/>
            <a:ext cx="11312672" cy="0"/>
          </a:xfrm>
          <a:prstGeom prst="line">
            <a:avLst/>
          </a:prstGeom>
          <a:noFill/>
          <a:ln w="9525" cap="flat" cmpd="sng" algn="ctr">
            <a:solidFill>
              <a:srgbClr val="ACCBF9"/>
            </a:solidFill>
            <a:prstDash val="solid"/>
          </a:ln>
          <a:effectLst/>
        </p:spPr>
      </p:cxnSp>
      <p:pic>
        <p:nvPicPr>
          <p:cNvPr id="4" name="Picture 3" descr="Logo&#10;&#10;Description automatically generated">
            <a:extLst>
              <a:ext uri="{FF2B5EF4-FFF2-40B4-BE49-F238E27FC236}">
                <a16:creationId xmlns:a16="http://schemas.microsoft.com/office/drawing/2014/main" id="{E8088B26-2386-E753-AD5C-83D4BB02AC2D}"/>
              </a:ext>
            </a:extLst>
          </p:cNvPr>
          <p:cNvPicPr>
            <a:picLocks noChangeAspect="1"/>
          </p:cNvPicPr>
          <p:nvPr/>
        </p:nvPicPr>
        <p:blipFill>
          <a:blip r:embed="rId14"/>
          <a:stretch>
            <a:fillRect/>
          </a:stretch>
        </p:blipFill>
        <p:spPr>
          <a:xfrm>
            <a:off x="10665248" y="2836543"/>
            <a:ext cx="906216" cy="452202"/>
          </a:xfrm>
          <a:prstGeom prst="rect">
            <a:avLst/>
          </a:prstGeom>
        </p:spPr>
      </p:pic>
      <p:pic>
        <p:nvPicPr>
          <p:cNvPr id="5" name="Picture 9">
            <a:extLst>
              <a:ext uri="{FF2B5EF4-FFF2-40B4-BE49-F238E27FC236}">
                <a16:creationId xmlns:a16="http://schemas.microsoft.com/office/drawing/2014/main" id="{D4EE601D-FC87-A288-88DE-E80F8CF52A7A}"/>
              </a:ext>
            </a:extLst>
          </p:cNvPr>
          <p:cNvPicPr>
            <a:picLocks noChangeAspect="1"/>
          </p:cNvPicPr>
          <p:nvPr/>
        </p:nvPicPr>
        <p:blipFill>
          <a:blip r:embed="rId15"/>
          <a:stretch>
            <a:fillRect/>
          </a:stretch>
        </p:blipFill>
        <p:spPr>
          <a:xfrm>
            <a:off x="7609467" y="1026842"/>
            <a:ext cx="914568" cy="380095"/>
          </a:xfrm>
          <a:prstGeom prst="rect">
            <a:avLst/>
          </a:prstGeom>
        </p:spPr>
      </p:pic>
      <p:sp>
        <p:nvSpPr>
          <p:cNvPr id="3" name="TextBox 13">
            <a:extLst>
              <a:ext uri="{FF2B5EF4-FFF2-40B4-BE49-F238E27FC236}">
                <a16:creationId xmlns:a16="http://schemas.microsoft.com/office/drawing/2014/main" id="{9C189D45-99DB-8C75-BC87-D7DF380C7EEF}"/>
              </a:ext>
            </a:extLst>
          </p:cNvPr>
          <p:cNvSpPr txBox="1">
            <a:spLocks noChangeArrowheads="1"/>
          </p:cNvSpPr>
          <p:nvPr/>
        </p:nvSpPr>
        <p:spPr bwMode="auto">
          <a:xfrm>
            <a:off x="3555880" y="1187773"/>
            <a:ext cx="3639708" cy="1092607"/>
          </a:xfrm>
          <a:prstGeom prst="rect">
            <a:avLst/>
          </a:prstGeom>
          <a:noFill/>
          <a:ln w="9525">
            <a:noFill/>
            <a:miter lim="800000"/>
            <a:headEnd/>
            <a:tailEnd/>
          </a:ln>
        </p:spPr>
        <p:txBody>
          <a:bodyPr wrap="square" lIns="91440" tIns="45720" rIns="91440" bIns="45720" anchor="t">
            <a:spAutoFit/>
          </a:bodyPr>
          <a:lstStyle/>
          <a:p>
            <a:pPr defTabSz="914400" eaLnBrk="0" hangingPunct="0">
              <a:spcAft>
                <a:spcPts val="300"/>
              </a:spcAft>
              <a:defRPr/>
            </a:pPr>
            <a:r>
              <a:rPr lang="en-US" sz="1100" b="1" kern="0" err="1">
                <a:solidFill>
                  <a:srgbClr val="4A66AC"/>
                </a:solidFill>
                <a:ea typeface="ＭＳ Ｐゴシック"/>
              </a:rPr>
              <a:t>EloGroup</a:t>
            </a:r>
            <a:endParaRPr lang="en-US" sz="1100" b="1" kern="0">
              <a:solidFill>
                <a:srgbClr val="4A66AC"/>
              </a:solidFill>
              <a:ea typeface="ＭＳ Ｐゴシック"/>
            </a:endParaRPr>
          </a:p>
          <a:p>
            <a:pPr defTabSz="914400" eaLnBrk="0" hangingPunct="0">
              <a:spcAft>
                <a:spcPts val="300"/>
              </a:spcAft>
              <a:defRPr/>
            </a:pPr>
            <a:r>
              <a:rPr lang="en-US" sz="1100" b="1" kern="0">
                <a:solidFill>
                  <a:srgbClr val="4A66AC"/>
                </a:solidFill>
                <a:ea typeface="ＭＳ Ｐゴシック"/>
              </a:rPr>
              <a:t>Phone:</a:t>
            </a:r>
            <a:r>
              <a:rPr lang="en-US" sz="1100" kern="0">
                <a:solidFill>
                  <a:srgbClr val="4A66AC"/>
                </a:solidFill>
                <a:ea typeface="ＭＳ Ｐゴシック"/>
              </a:rPr>
              <a:t> (+55) 21 98106-2391 </a:t>
            </a:r>
          </a:p>
          <a:p>
            <a:pPr defTabSz="914400" eaLnBrk="0" hangingPunct="0">
              <a:spcAft>
                <a:spcPts val="300"/>
              </a:spcAft>
              <a:defRPr/>
            </a:pPr>
            <a:r>
              <a:rPr lang="en-US" sz="1100" b="1" kern="0">
                <a:solidFill>
                  <a:srgbClr val="4A66AC"/>
                </a:solidFill>
                <a:ea typeface="ＭＳ Ｐゴシック"/>
              </a:rPr>
              <a:t>Email</a:t>
            </a:r>
            <a:r>
              <a:rPr lang="en-US" sz="1100" kern="0">
                <a:solidFill>
                  <a:srgbClr val="4A66AC"/>
                </a:solidFill>
                <a:ea typeface="ＭＳ Ｐゴシック"/>
              </a:rPr>
              <a:t>:  Davi Almeida</a:t>
            </a:r>
            <a:endParaRPr lang="en-US" sz="1100" kern="0">
              <a:solidFill>
                <a:srgbClr val="4A66AC"/>
              </a:solidFill>
              <a:ea typeface="ＭＳ Ｐゴシック"/>
              <a:cs typeface="Arial"/>
            </a:endParaRPr>
          </a:p>
          <a:p>
            <a:pPr defTabSz="914400">
              <a:spcAft>
                <a:spcPts val="300"/>
              </a:spcAft>
              <a:defRPr/>
            </a:pPr>
            <a:r>
              <a:rPr lang="en-US" sz="1100" kern="0">
                <a:ea typeface="+mn-lt"/>
                <a:cs typeface="+mn-lt"/>
                <a:hlinkClick r:id="rId16"/>
              </a:rPr>
              <a:t>davi.almeida@elogroup.com.br</a:t>
            </a:r>
            <a:endParaRPr lang="en-US" sz="1400" kern="0">
              <a:ea typeface="+mn-lt"/>
              <a:cs typeface="+mn-lt"/>
            </a:endParaRPr>
          </a:p>
          <a:p>
            <a:pPr defTabSz="914400">
              <a:spcAft>
                <a:spcPts val="300"/>
              </a:spcAft>
              <a:defRPr/>
            </a:pPr>
            <a:endParaRPr lang="en-US" sz="1100" kern="0">
              <a:ea typeface="+mn-lt"/>
              <a:cs typeface="+mn-lt"/>
            </a:endParaRPr>
          </a:p>
        </p:txBody>
      </p:sp>
      <p:sp>
        <p:nvSpPr>
          <p:cNvPr id="6" name="TextBox 48">
            <a:extLst>
              <a:ext uri="{FF2B5EF4-FFF2-40B4-BE49-F238E27FC236}">
                <a16:creationId xmlns:a16="http://schemas.microsoft.com/office/drawing/2014/main" id="{E23C25B9-1426-8503-F181-A362162F79EC}"/>
              </a:ext>
            </a:extLst>
          </p:cNvPr>
          <p:cNvSpPr txBox="1">
            <a:spLocks noChangeArrowheads="1"/>
          </p:cNvSpPr>
          <p:nvPr/>
        </p:nvSpPr>
        <p:spPr bwMode="auto">
          <a:xfrm>
            <a:off x="3555869" y="981126"/>
            <a:ext cx="2590800" cy="261610"/>
          </a:xfrm>
          <a:prstGeom prst="rect">
            <a:avLst/>
          </a:prstGeom>
          <a:noFill/>
          <a:ln w="9525">
            <a:noFill/>
            <a:miter lim="800000"/>
            <a:headEnd/>
            <a:tailEnd/>
          </a:ln>
        </p:spPr>
        <p:txBody>
          <a:bodyPr wrap="square">
            <a:spAutoFit/>
          </a:bodyPr>
          <a:lstStyle/>
          <a:p>
            <a:pPr defTabSz="914400" eaLnBrk="0" hangingPunct="0">
              <a:defRPr/>
            </a:pPr>
            <a:r>
              <a:rPr lang="en-US" sz="1050" b="1" kern="0">
                <a:solidFill>
                  <a:srgbClr val="06357A"/>
                </a:solidFill>
              </a:rPr>
              <a:t>BRAZIL</a:t>
            </a:r>
          </a:p>
        </p:txBody>
      </p:sp>
      <p:pic>
        <p:nvPicPr>
          <p:cNvPr id="7" name="Picture 6" descr="A black background with white text&#10;&#10;Description automatically generated">
            <a:extLst>
              <a:ext uri="{FF2B5EF4-FFF2-40B4-BE49-F238E27FC236}">
                <a16:creationId xmlns:a16="http://schemas.microsoft.com/office/drawing/2014/main" id="{31FD4725-D772-2B21-5C23-D995B639CE98}"/>
              </a:ext>
            </a:extLst>
          </p:cNvPr>
          <p:cNvPicPr>
            <a:picLocks noChangeAspect="1"/>
          </p:cNvPicPr>
          <p:nvPr/>
        </p:nvPicPr>
        <p:blipFill>
          <a:blip r:embed="rId17"/>
          <a:stretch>
            <a:fillRect/>
          </a:stretch>
        </p:blipFill>
        <p:spPr>
          <a:xfrm>
            <a:off x="4429031" y="1013168"/>
            <a:ext cx="1512632" cy="214212"/>
          </a:xfrm>
          <a:prstGeom prst="rect">
            <a:avLst/>
          </a:prstGeom>
        </p:spPr>
      </p:pic>
      <p:cxnSp>
        <p:nvCxnSpPr>
          <p:cNvPr id="12" name="Straight Connector 11">
            <a:extLst>
              <a:ext uri="{FF2B5EF4-FFF2-40B4-BE49-F238E27FC236}">
                <a16:creationId xmlns:a16="http://schemas.microsoft.com/office/drawing/2014/main" id="{59BBD852-F5E2-690B-6D1A-4266DD1B508E}"/>
              </a:ext>
            </a:extLst>
          </p:cNvPr>
          <p:cNvCxnSpPr>
            <a:cxnSpLocks/>
          </p:cNvCxnSpPr>
          <p:nvPr/>
        </p:nvCxnSpPr>
        <p:spPr>
          <a:xfrm>
            <a:off x="3320420" y="976846"/>
            <a:ext cx="11795" cy="5302102"/>
          </a:xfrm>
          <a:prstGeom prst="line">
            <a:avLst/>
          </a:prstGeom>
          <a:noFill/>
          <a:ln w="9525" cap="flat" cmpd="sng" algn="ctr">
            <a:solidFill>
              <a:srgbClr val="ACCBF9"/>
            </a:solidFill>
            <a:prstDash val="solid"/>
          </a:ln>
          <a:effectLst/>
        </p:spPr>
      </p:cxnSp>
      <p:cxnSp>
        <p:nvCxnSpPr>
          <p:cNvPr id="14" name="Straight Connector 13">
            <a:extLst>
              <a:ext uri="{FF2B5EF4-FFF2-40B4-BE49-F238E27FC236}">
                <a16:creationId xmlns:a16="http://schemas.microsoft.com/office/drawing/2014/main" id="{3EC67C03-F011-B26A-4E1E-2ED22623DA9C}"/>
              </a:ext>
            </a:extLst>
          </p:cNvPr>
          <p:cNvCxnSpPr>
            <a:cxnSpLocks/>
          </p:cNvCxnSpPr>
          <p:nvPr/>
        </p:nvCxnSpPr>
        <p:spPr>
          <a:xfrm>
            <a:off x="6204219" y="1026842"/>
            <a:ext cx="11795" cy="5302102"/>
          </a:xfrm>
          <a:prstGeom prst="line">
            <a:avLst/>
          </a:prstGeom>
          <a:noFill/>
          <a:ln w="9525" cap="flat" cmpd="sng" algn="ctr">
            <a:solidFill>
              <a:srgbClr val="ACCBF9"/>
            </a:solidFill>
            <a:prstDash val="solid"/>
          </a:ln>
          <a:effectLst/>
        </p:spPr>
      </p:cxnSp>
      <p:cxnSp>
        <p:nvCxnSpPr>
          <p:cNvPr id="8" name="Straight Connector 7">
            <a:extLst>
              <a:ext uri="{FF2B5EF4-FFF2-40B4-BE49-F238E27FC236}">
                <a16:creationId xmlns:a16="http://schemas.microsoft.com/office/drawing/2014/main" id="{6EA2BCAC-73F4-3AB5-9270-A55D2018A2AF}"/>
              </a:ext>
            </a:extLst>
          </p:cNvPr>
          <p:cNvCxnSpPr>
            <a:cxnSpLocks/>
          </p:cNvCxnSpPr>
          <p:nvPr/>
        </p:nvCxnSpPr>
        <p:spPr>
          <a:xfrm>
            <a:off x="9033072" y="946870"/>
            <a:ext cx="11795" cy="5302102"/>
          </a:xfrm>
          <a:prstGeom prst="line">
            <a:avLst/>
          </a:prstGeom>
          <a:noFill/>
          <a:ln w="9525" cap="flat" cmpd="sng" algn="ctr">
            <a:solidFill>
              <a:srgbClr val="ACCBF9"/>
            </a:solidFill>
            <a:prstDash val="solid"/>
          </a:ln>
          <a:effectLst/>
        </p:spPr>
      </p:cxnSp>
      <p:grpSp>
        <p:nvGrpSpPr>
          <p:cNvPr id="10" name="Group 9">
            <a:extLst>
              <a:ext uri="{FF2B5EF4-FFF2-40B4-BE49-F238E27FC236}">
                <a16:creationId xmlns:a16="http://schemas.microsoft.com/office/drawing/2014/main" id="{2E16D3C1-E6F3-3751-3F05-747764560EA7}"/>
              </a:ext>
            </a:extLst>
          </p:cNvPr>
          <p:cNvGrpSpPr/>
          <p:nvPr/>
        </p:nvGrpSpPr>
        <p:grpSpPr>
          <a:xfrm>
            <a:off x="365371" y="4604124"/>
            <a:ext cx="2600640" cy="1175946"/>
            <a:chOff x="4479085" y="1145591"/>
            <a:chExt cx="2600640" cy="1175946"/>
          </a:xfrm>
        </p:grpSpPr>
        <p:sp>
          <p:nvSpPr>
            <p:cNvPr id="13" name="TextBox 34">
              <a:extLst>
                <a:ext uri="{FF2B5EF4-FFF2-40B4-BE49-F238E27FC236}">
                  <a16:creationId xmlns:a16="http://schemas.microsoft.com/office/drawing/2014/main" id="{4872294F-318D-C1E0-C35B-CD08618C5414}"/>
                </a:ext>
              </a:extLst>
            </p:cNvPr>
            <p:cNvSpPr txBox="1">
              <a:spLocks noChangeArrowheads="1"/>
            </p:cNvSpPr>
            <p:nvPr/>
          </p:nvSpPr>
          <p:spPr bwMode="auto">
            <a:xfrm>
              <a:off x="4479085" y="1398207"/>
              <a:ext cx="2600640" cy="923330"/>
            </a:xfrm>
            <a:prstGeom prst="rect">
              <a:avLst/>
            </a:prstGeom>
            <a:noFill/>
            <a:ln w="9525">
              <a:noFill/>
              <a:miter lim="800000"/>
              <a:headEnd/>
              <a:tailEnd/>
            </a:ln>
          </p:spPr>
          <p:txBody>
            <a:bodyPr wrap="square">
              <a:spAutoFit/>
            </a:bodyPr>
            <a:lstStyle/>
            <a:p>
              <a:pPr defTabSz="914400" eaLnBrk="0" hangingPunct="0">
                <a:spcAft>
                  <a:spcPts val="300"/>
                </a:spcAft>
                <a:defRPr/>
              </a:pPr>
              <a:r>
                <a:rPr lang="en-US" sz="1100" b="1" kern="0" dirty="0">
                  <a:solidFill>
                    <a:srgbClr val="5974B8"/>
                  </a:solidFill>
                  <a:ea typeface="ＭＳ Ｐゴシック" pitchFamily="48" charset="-128"/>
                </a:rPr>
                <a:t>PEMANDU Associates</a:t>
              </a:r>
            </a:p>
            <a:p>
              <a:pPr defTabSz="914400" eaLnBrk="0" hangingPunct="0">
                <a:spcBef>
                  <a:spcPts val="300"/>
                </a:spcBef>
                <a:defRPr/>
              </a:pPr>
              <a:r>
                <a:rPr lang="en-US" sz="1100" b="1" kern="0" dirty="0">
                  <a:solidFill>
                    <a:srgbClr val="4A66AC">
                      <a:lumMod val="90000"/>
                      <a:lumOff val="10000"/>
                    </a:srgbClr>
                  </a:solidFill>
                  <a:ea typeface="ＭＳ Ｐゴシック" pitchFamily="48" charset="-128"/>
                </a:rPr>
                <a:t>Phone: </a:t>
              </a:r>
              <a:r>
                <a:rPr lang="en-US" sz="1100" kern="0" dirty="0">
                  <a:solidFill>
                    <a:srgbClr val="4A66AC">
                      <a:lumMod val="90000"/>
                      <a:lumOff val="10000"/>
                    </a:srgbClr>
                  </a:solidFill>
                  <a:ea typeface="ＭＳ Ｐゴシック" pitchFamily="48" charset="-128"/>
                </a:rPr>
                <a:t>(+41) 78 873 30 94</a:t>
              </a:r>
            </a:p>
            <a:p>
              <a:pPr defTabSz="914400" eaLnBrk="0" hangingPunct="0">
                <a:spcBef>
                  <a:spcPts val="300"/>
                </a:spcBef>
                <a:defRPr/>
              </a:pPr>
              <a:r>
                <a:rPr lang="en-US" sz="1100" b="1" kern="0" dirty="0">
                  <a:solidFill>
                    <a:srgbClr val="4A66AC">
                      <a:lumMod val="90000"/>
                      <a:lumOff val="10000"/>
                    </a:srgbClr>
                  </a:solidFill>
                  <a:ea typeface="ＭＳ Ｐゴシック" pitchFamily="48" charset="-128"/>
                </a:rPr>
                <a:t>Email: </a:t>
              </a:r>
              <a:r>
                <a:rPr lang="en-US" sz="1100" kern="0" dirty="0">
                  <a:solidFill>
                    <a:srgbClr val="4A66AC">
                      <a:lumMod val="90000"/>
                      <a:lumOff val="10000"/>
                    </a:srgbClr>
                  </a:solidFill>
                </a:rPr>
                <a:t>Jasmin Johnson</a:t>
              </a:r>
            </a:p>
            <a:p>
              <a:pPr defTabSz="914400">
                <a:spcBef>
                  <a:spcPts val="300"/>
                </a:spcBef>
                <a:defRPr/>
              </a:pPr>
              <a:r>
                <a:rPr lang="en-US" sz="1100" kern="0" dirty="0">
                  <a:solidFill>
                    <a:srgbClr val="4A66AC">
                      <a:lumMod val="90000"/>
                      <a:lumOff val="10000"/>
                    </a:srgbClr>
                  </a:solidFill>
                </a:rPr>
                <a:t>jasmin@pemandu.org</a:t>
              </a:r>
              <a:endParaRPr lang="en-US" sz="1100" kern="0" dirty="0">
                <a:solidFill>
                  <a:srgbClr val="4A66AC">
                    <a:lumMod val="90000"/>
                    <a:lumOff val="10000"/>
                  </a:srgbClr>
                </a:solidFill>
                <a:ea typeface="ＭＳ Ｐゴシック" pitchFamily="48" charset="-128"/>
              </a:endParaRPr>
            </a:p>
          </p:txBody>
        </p:sp>
        <p:sp>
          <p:nvSpPr>
            <p:cNvPr id="15" name="TextBox 47">
              <a:extLst>
                <a:ext uri="{FF2B5EF4-FFF2-40B4-BE49-F238E27FC236}">
                  <a16:creationId xmlns:a16="http://schemas.microsoft.com/office/drawing/2014/main" id="{AA60F682-D7FF-6A64-BD9E-E637DF220434}"/>
                </a:ext>
              </a:extLst>
            </p:cNvPr>
            <p:cNvSpPr txBox="1">
              <a:spLocks noChangeArrowheads="1"/>
            </p:cNvSpPr>
            <p:nvPr/>
          </p:nvSpPr>
          <p:spPr bwMode="auto">
            <a:xfrm>
              <a:off x="4516186" y="1145591"/>
              <a:ext cx="1752600" cy="246221"/>
            </a:xfrm>
            <a:prstGeom prst="rect">
              <a:avLst/>
            </a:prstGeom>
            <a:noFill/>
            <a:ln w="9525">
              <a:noFill/>
              <a:miter lim="800000"/>
              <a:headEnd/>
              <a:tailEnd/>
            </a:ln>
          </p:spPr>
          <p:txBody>
            <a:bodyPr>
              <a:spAutoFit/>
            </a:bodyPr>
            <a:lstStyle/>
            <a:p>
              <a:pPr defTabSz="914400" eaLnBrk="0" hangingPunct="0">
                <a:defRPr/>
              </a:pPr>
              <a:r>
                <a:rPr lang="en-US" sz="1000" b="1" kern="0" dirty="0">
                  <a:solidFill>
                    <a:srgbClr val="06357A"/>
                  </a:solidFill>
                </a:rPr>
                <a:t>MALAYSIA, TANZANIA</a:t>
              </a:r>
            </a:p>
          </p:txBody>
        </p:sp>
      </p:grpSp>
    </p:spTree>
    <p:extLst>
      <p:ext uri="{BB962C8B-B14F-4D97-AF65-F5344CB8AC3E}">
        <p14:creationId xmlns:p14="http://schemas.microsoft.com/office/powerpoint/2010/main" val="37048637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HvylFwZk02FHUGVlh1Ep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HvylFwZk02FHUGVlh1EpA"/>
</p:tagLst>
</file>

<file path=ppt/theme/theme1.xml><?xml version="1.0" encoding="utf-8"?>
<a:theme xmlns:a="http://schemas.openxmlformats.org/drawingml/2006/main" name="Office Theme">
  <a:themeElements>
    <a:clrScheme name="CWW - Teal">
      <a:dk1>
        <a:sysClr val="windowText" lastClr="000000"/>
      </a:dk1>
      <a:lt1>
        <a:sysClr val="window" lastClr="FFFFFF"/>
      </a:lt1>
      <a:dk2>
        <a:srgbClr val="145DB8"/>
      </a:dk2>
      <a:lt2>
        <a:srgbClr val="474747"/>
      </a:lt2>
      <a:accent1>
        <a:srgbClr val="50A2B4"/>
      </a:accent1>
      <a:accent2>
        <a:srgbClr val="2A3469"/>
      </a:accent2>
      <a:accent3>
        <a:srgbClr val="1293C8"/>
      </a:accent3>
      <a:accent4>
        <a:srgbClr val="17425A"/>
      </a:accent4>
      <a:accent5>
        <a:srgbClr val="9ECDE0"/>
      </a:accent5>
      <a:accent6>
        <a:srgbClr val="7E7F7E"/>
      </a:accent6>
      <a:hlink>
        <a:srgbClr val="1573C5"/>
      </a:hlink>
      <a:folHlink>
        <a:srgbClr val="1573C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2A3469"/>
        </a:solidFill>
        <a:ln>
          <a:solidFill>
            <a:srgbClr val="2A3469"/>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600" dirty="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noAutofit/>
      </a:bodyPr>
      <a:lstStyle>
        <a:defPPr>
          <a:spcAft>
            <a:spcPts val="600"/>
          </a:spcAft>
          <a:buClr>
            <a:srgbClr val="1573C5"/>
          </a:buClr>
          <a:buSzPct val="110000"/>
          <a:defRPr sz="1200" dirty="0" err="1" smtClean="0">
            <a:latin typeface="Arial"/>
            <a:cs typeface="Arial"/>
          </a:defRPr>
        </a:defPPr>
      </a:lstStyle>
    </a:txDef>
  </a:objectDefaults>
  <a:extraClrSchemeLst/>
</a:theme>
</file>

<file path=ppt/theme/theme2.xml><?xml version="1.0" encoding="utf-8"?>
<a:theme xmlns:a="http://schemas.openxmlformats.org/drawingml/2006/main" name="Office Theme">
  <a:themeElements>
    <a:clrScheme name="CWW - Teal">
      <a:dk1>
        <a:sysClr val="windowText" lastClr="000000"/>
      </a:dk1>
      <a:lt1>
        <a:sysClr val="window" lastClr="FFFFFF"/>
      </a:lt1>
      <a:dk2>
        <a:srgbClr val="145DB8"/>
      </a:dk2>
      <a:lt2>
        <a:srgbClr val="474747"/>
      </a:lt2>
      <a:accent1>
        <a:srgbClr val="50A2B4"/>
      </a:accent1>
      <a:accent2>
        <a:srgbClr val="2A3469"/>
      </a:accent2>
      <a:accent3>
        <a:srgbClr val="1293C8"/>
      </a:accent3>
      <a:accent4>
        <a:srgbClr val="17425A"/>
      </a:accent4>
      <a:accent5>
        <a:srgbClr val="9ECDE0"/>
      </a:accent5>
      <a:accent6>
        <a:srgbClr val="7E7F7E"/>
      </a:accent6>
      <a:hlink>
        <a:srgbClr val="1573C5"/>
      </a:hlink>
      <a:folHlink>
        <a:srgbClr val="1573C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2A3469"/>
        </a:solidFill>
        <a:ln>
          <a:solidFill>
            <a:srgbClr val="2A3469"/>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600" dirty="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noAutofit/>
      </a:bodyPr>
      <a:lstStyle>
        <a:defPPr>
          <a:spcAft>
            <a:spcPts val="600"/>
          </a:spcAft>
          <a:buClr>
            <a:srgbClr val="1573C5"/>
          </a:buClr>
          <a:buSzPct val="110000"/>
          <a:defRPr sz="1200" dirty="0" err="1" smtClean="0">
            <a:latin typeface="Arial"/>
            <a:cs typeface="Arial"/>
          </a:defRPr>
        </a:defPPr>
      </a:lstStyle>
    </a:txDef>
  </a:objectDefaults>
  <a:extraClrSchemeLst/>
  <a:extLst>
    <a:ext uri="{05A4C25C-085E-4340-85A3-A5531E510DB2}">
      <thm15:themeFamily xmlns:thm15="http://schemas.microsoft.com/office/thememl/2012/main" name="Cordnece Standard Presentation Aug 2021 V1" id="{7D58E6D7-E86F-4B32-85CC-BEA1FC24E8A9}" vid="{9F8C4C9E-D7E8-4A91-9909-EB5CB5F8F7E2}"/>
    </a:ext>
  </a:extLst>
</a:theme>
</file>

<file path=ppt/theme/theme3.xml><?xml version="1.0" encoding="utf-8"?>
<a:theme xmlns:a="http://schemas.openxmlformats.org/drawingml/2006/main" name="Office Theme">
  <a:themeElements>
    <a:clrScheme name="CWW - Teal">
      <a:dk1>
        <a:sysClr val="windowText" lastClr="000000"/>
      </a:dk1>
      <a:lt1>
        <a:sysClr val="window" lastClr="FFFFFF"/>
      </a:lt1>
      <a:dk2>
        <a:srgbClr val="145DB8"/>
      </a:dk2>
      <a:lt2>
        <a:srgbClr val="474747"/>
      </a:lt2>
      <a:accent1>
        <a:srgbClr val="50A2B4"/>
      </a:accent1>
      <a:accent2>
        <a:srgbClr val="2A3469"/>
      </a:accent2>
      <a:accent3>
        <a:srgbClr val="1293C8"/>
      </a:accent3>
      <a:accent4>
        <a:srgbClr val="17425A"/>
      </a:accent4>
      <a:accent5>
        <a:srgbClr val="9ECDE0"/>
      </a:accent5>
      <a:accent6>
        <a:srgbClr val="7E7F7E"/>
      </a:accent6>
      <a:hlink>
        <a:srgbClr val="1573C5"/>
      </a:hlink>
      <a:folHlink>
        <a:srgbClr val="1573C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2A3469"/>
        </a:solidFill>
        <a:ln>
          <a:solidFill>
            <a:srgbClr val="2A3469"/>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600" dirty="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noAutofit/>
      </a:bodyPr>
      <a:lstStyle>
        <a:defPPr>
          <a:spcAft>
            <a:spcPts val="600"/>
          </a:spcAft>
          <a:buClr>
            <a:srgbClr val="1573C5"/>
          </a:buClr>
          <a:buSzPct val="110000"/>
          <a:defRPr sz="1200" dirty="0" err="1" smtClean="0">
            <a:latin typeface="Arial"/>
            <a:cs typeface="Arial"/>
          </a:defRPr>
        </a:defPPr>
      </a:lstStyle>
    </a:txDef>
  </a:objectDefaults>
  <a:extraClrSchemeLst/>
</a:theme>
</file>

<file path=ppt/theme/theme4.xml><?xml version="1.0" encoding="utf-8"?>
<a:theme xmlns:a="http://schemas.openxmlformats.org/drawingml/2006/main" name="6_BLANK CONTENT SLIDES">
  <a:themeElements>
    <a:clrScheme name="North Highland">
      <a:dk1>
        <a:sysClr val="windowText" lastClr="000000"/>
      </a:dk1>
      <a:lt1>
        <a:sysClr val="window" lastClr="FFFFFF"/>
      </a:lt1>
      <a:dk2>
        <a:srgbClr val="525252"/>
      </a:dk2>
      <a:lt2>
        <a:srgbClr val="FFFFFF"/>
      </a:lt2>
      <a:accent1>
        <a:srgbClr val="132E53"/>
      </a:accent1>
      <a:accent2>
        <a:srgbClr val="DEE22A"/>
      </a:accent2>
      <a:accent3>
        <a:srgbClr val="039FB8"/>
      </a:accent3>
      <a:accent4>
        <a:srgbClr val="6F6F72"/>
      </a:accent4>
      <a:accent5>
        <a:srgbClr val="D1D3D4"/>
      </a:accent5>
      <a:accent6>
        <a:srgbClr val="221E1F"/>
      </a:accent6>
      <a:hlink>
        <a:srgbClr val="039FB8"/>
      </a:hlink>
      <a:folHlink>
        <a:srgbClr val="039FB8"/>
      </a:folHlink>
    </a:clrScheme>
    <a:fontScheme name="North Highlan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lnSpc>
            <a:spcPct val="90000"/>
          </a:lnSpc>
          <a:spcAft>
            <a:spcPts val="600"/>
          </a:spcAft>
          <a:defRPr sz="20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algn="l">
          <a:lnSpc>
            <a:spcPct val="100000"/>
          </a:lnSpc>
          <a:spcAft>
            <a:spcPts val="600"/>
          </a:spcAft>
          <a:defRPr sz="1400" dirty="0" smtClean="0"/>
        </a:defPPr>
      </a:lstStyle>
    </a:txDef>
  </a:objectDefaults>
  <a:extraClrSchemeLst/>
  <a:extLst>
    <a:ext uri="{05A4C25C-085E-4340-85A3-A5531E510DB2}">
      <thm15:themeFamily xmlns:thm15="http://schemas.microsoft.com/office/thememl/2012/main" name="North Highland_Template_US_16-9_v8.8.potx" id="{83026ABE-012A-4CF7-A379-E9851366C2F6}" vid="{16A9C8AA-6D5D-4D2F-AC8B-8F7253A5CA17}"/>
    </a:ext>
  </a:extLst>
</a:theme>
</file>

<file path=ppt/theme/theme5.xml><?xml version="1.0" encoding="utf-8"?>
<a:theme xmlns:a="http://schemas.openxmlformats.org/drawingml/2006/main" name="4_TITLE SLIDES">
  <a:themeElements>
    <a:clrScheme name="North Highland">
      <a:dk1>
        <a:sysClr val="windowText" lastClr="000000"/>
      </a:dk1>
      <a:lt1>
        <a:sysClr val="window" lastClr="FFFFFF"/>
      </a:lt1>
      <a:dk2>
        <a:srgbClr val="525252"/>
      </a:dk2>
      <a:lt2>
        <a:srgbClr val="FFFFFF"/>
      </a:lt2>
      <a:accent1>
        <a:srgbClr val="132E53"/>
      </a:accent1>
      <a:accent2>
        <a:srgbClr val="DEE22A"/>
      </a:accent2>
      <a:accent3>
        <a:srgbClr val="039FB8"/>
      </a:accent3>
      <a:accent4>
        <a:srgbClr val="6F6F72"/>
      </a:accent4>
      <a:accent5>
        <a:srgbClr val="D1D3D4"/>
      </a:accent5>
      <a:accent6>
        <a:srgbClr val="221E1F"/>
      </a:accent6>
      <a:hlink>
        <a:srgbClr val="039FB8"/>
      </a:hlink>
      <a:folHlink>
        <a:srgbClr val="039FB8"/>
      </a:folHlink>
    </a:clrScheme>
    <a:fontScheme name="North Highlan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lnSpc>
            <a:spcPct val="90000"/>
          </a:lnSpc>
          <a:spcAft>
            <a:spcPts val="600"/>
          </a:spcAft>
          <a:defRPr sz="2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algn="l">
          <a:lnSpc>
            <a:spcPct val="90000"/>
          </a:lnSpc>
          <a:spcAft>
            <a:spcPts val="600"/>
          </a:spcAft>
          <a:defRPr sz="1400" noProof="0" dirty="0"/>
        </a:defPPr>
      </a:lstStyle>
    </a:txDef>
  </a:objectDefaults>
  <a:extraClrSchemeLst/>
  <a:extLst>
    <a:ext uri="{05A4C25C-085E-4340-85A3-A5531E510DB2}">
      <thm15:themeFamily xmlns:thm15="http://schemas.microsoft.com/office/thememl/2012/main" name="Presentation2" id="{894399A7-4D4A-4D2A-8BBE-1066A31277C2}" vid="{8715B304-D0EF-4091-828B-7A3A2CB27C50}"/>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Quals_x0020_Library xmlns="6f79de2f-d927-414f-9105-a1bb132abc68">false</Quals_x0020_Library>
    <TaxKeywordTaxHTField xmlns="6f79de2f-d927-414f-9105-a1bb132abc68">
      <Terms xmlns="http://schemas.microsoft.com/office/infopath/2007/PartnerControls"/>
    </TaxKeywordTaxHTField>
    <_x0067_gg8 xmlns="607f4f32-146b-442b-9d2c-c9fe55fe8736" xsi:nil="true"/>
    <TaxCatchAll xmlns="6f79de2f-d927-414f-9105-a1bb132abc68" xsi:nil="true"/>
    <DocumentTypeAboutCWW xmlns="6f79de2f-d927-414f-9105-a1bb132abc68" xsi:nil="true"/>
    <MemberFirms xmlns="6f79de2f-d927-414f-9105-a1bb132abc68" xsi:nil="true"/>
    <General_x0020_Library xmlns="6f79de2f-d927-414f-9105-a1bb132abc68">false</General_x0020_Library>
    <CategoryDescription xmlns="http://schemas.microsoft.com/sharepoint.v3" xsi:nil="true"/>
    <PublishingExpirationDate xmlns="http://schemas.microsoft.com/sharepoint/v3" xsi:nil="true"/>
    <PublishingStartDate xmlns="http://schemas.microsoft.com/sharepoint/v3" xsi:nil="true"/>
    <Community xmlns="6f79de2f-d927-414f-9105-a1bb132abc68" xsi:nil="true"/>
    <lcf76f155ced4ddcb4097134ff3c332f xmlns="607f4f32-146b-442b-9d2c-c9fe55fe8736">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About CWW Document" ma:contentTypeID="0x0101006339964822AD7F42BC097C69D6E960F5004B48182FCF0EC14199270A355F9C2D92" ma:contentTypeVersion="32" ma:contentTypeDescription="" ma:contentTypeScope="" ma:versionID="44a63be675d304ac784edd0e913d0043">
  <xsd:schema xmlns:xsd="http://www.w3.org/2001/XMLSchema" xmlns:xs="http://www.w3.org/2001/XMLSchema" xmlns:p="http://schemas.microsoft.com/office/2006/metadata/properties" xmlns:ns1="http://schemas.microsoft.com/sharepoint/v3" xmlns:ns2="http://schemas.microsoft.com/sharepoint.v3" xmlns:ns3="6f79de2f-d927-414f-9105-a1bb132abc68" xmlns:ns4="607f4f32-146b-442b-9d2c-c9fe55fe8736" targetNamespace="http://schemas.microsoft.com/office/2006/metadata/properties" ma:root="true" ma:fieldsID="099eebf86a2c01a246f863962c94badb" ns1:_="" ns2:_="" ns3:_="" ns4:_="">
    <xsd:import namespace="http://schemas.microsoft.com/sharepoint/v3"/>
    <xsd:import namespace="http://schemas.microsoft.com/sharepoint.v3"/>
    <xsd:import namespace="6f79de2f-d927-414f-9105-a1bb132abc68"/>
    <xsd:import namespace="607f4f32-146b-442b-9d2c-c9fe55fe8736"/>
    <xsd:element name="properties">
      <xsd:complexType>
        <xsd:sequence>
          <xsd:element name="documentManagement">
            <xsd:complexType>
              <xsd:all>
                <xsd:element ref="ns2:CategoryDescription" minOccurs="0"/>
                <xsd:element ref="ns3:DocumentTypeAboutCWW" minOccurs="0"/>
                <xsd:element ref="ns3:Community" minOccurs="0"/>
                <xsd:element ref="ns3:MemberFirms" minOccurs="0"/>
                <xsd:element ref="ns1:PublishingStartDate" minOccurs="0"/>
                <xsd:element ref="ns1:PublishingExpirationDate" minOccurs="0"/>
                <xsd:element ref="ns4:_x0067_gg8" minOccurs="0"/>
                <xsd:element ref="ns3:General_x0020_Library" minOccurs="0"/>
                <xsd:element ref="ns3:Quals_x0020_Library" minOccurs="0"/>
                <xsd:element ref="ns3:TaxKeywordTaxHTField" minOccurs="0"/>
                <xsd:element ref="ns4:MediaServiceMetadata" minOccurs="0"/>
                <xsd:element ref="ns4:MediaServiceFastMetadata" minOccurs="0"/>
                <xsd:element ref="ns3:SharedWithUsers" minOccurs="0"/>
                <xsd:element ref="ns3:SharedWithDetails" minOccurs="0"/>
                <xsd:element ref="ns4:MediaServiceDateTaken" minOccurs="0"/>
                <xsd:element ref="ns4:MediaServiceAutoTags" minOccurs="0"/>
                <xsd:element ref="ns3:TaxCatchAll" minOccurs="0"/>
                <xsd:element ref="ns4:MediaServiceLocation" minOccurs="0"/>
                <xsd:element ref="ns4:MediaServiceOCR" minOccurs="0"/>
                <xsd:element ref="ns4:MediaServiceEventHashCode" minOccurs="0"/>
                <xsd:element ref="ns4:MediaServiceGenerationTime" minOccurs="0"/>
                <xsd:element ref="ns3:TaxCatchAllLabel" minOccurs="0"/>
                <xsd:element ref="ns4:MediaServiceAutoKeyPoints" minOccurs="0"/>
                <xsd:element ref="ns4:MediaServiceKeyPoints" minOccurs="0"/>
                <xsd:element ref="ns4:MediaLengthInSeconds" minOccurs="0"/>
                <xsd:element ref="ns4:lcf76f155ced4ddcb4097134ff3c332f" minOccurs="0"/>
                <xsd:element ref="ns4:MediaServiceObjectDetectorVersion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7"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8"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CategoryDescription" ma:index="2" nillable="true" ma:displayName="Description" ma:internalName="CategoryDescrip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f79de2f-d927-414f-9105-a1bb132abc68" elementFormDefault="qualified">
    <xsd:import namespace="http://schemas.microsoft.com/office/2006/documentManagement/types"/>
    <xsd:import namespace="http://schemas.microsoft.com/office/infopath/2007/PartnerControls"/>
    <xsd:element name="DocumentTypeAboutCWW" ma:index="3" nillable="true" ma:displayName="Doc Type About CWW" ma:indexed="true" ma:list="{bb83ba1f-3096-4456-8000-1376029e1bd7}" ma:internalName="DocumentTypeAboutCWW" ma:showField="Title" ma:web="6f79de2f-d927-414f-9105-a1bb132abc68">
      <xsd:simpleType>
        <xsd:restriction base="dms:Lookup"/>
      </xsd:simpleType>
    </xsd:element>
    <xsd:element name="Community" ma:index="4" nillable="true" ma:displayName="Community" ma:list="{f35b000a-05d2-409b-a1f5-b9d884b06116}" ma:internalName="Community" ma:showField="Title" ma:web="6f79de2f-d927-414f-9105-a1bb132abc68">
      <xsd:simpleType>
        <xsd:restriction base="dms:Lookup"/>
      </xsd:simpleType>
    </xsd:element>
    <xsd:element name="MemberFirms" ma:index="5" nillable="true" ma:displayName="Member Firms" ma:list="{9bbb4282-6dad-4a7e-87a4-120e4dff459a}" ma:internalName="MemberFirms" ma:showField="Title" ma:web="6f79de2f-d927-414f-9105-a1bb132abc68">
      <xsd:complexType>
        <xsd:complexContent>
          <xsd:extension base="dms:MultiChoiceLookup">
            <xsd:sequence>
              <xsd:element name="Value" type="dms:Lookup" maxOccurs="unbounded" minOccurs="0" nillable="true"/>
            </xsd:sequence>
          </xsd:extension>
        </xsd:complexContent>
      </xsd:complexType>
    </xsd:element>
    <xsd:element name="General_x0020_Library" ma:index="10" nillable="true" ma:displayName="General Library" ma:default="0" ma:description="Has this content been uploaded to the General Library?" ma:internalName="General_x0020_Library">
      <xsd:simpleType>
        <xsd:restriction base="dms:Boolean"/>
      </xsd:simpleType>
    </xsd:element>
    <xsd:element name="Quals_x0020_Library" ma:index="11" nillable="true" ma:displayName="Quals Library" ma:default="0" ma:description="Has this content been uploaded to the Quals Library?" ma:internalName="Quals_x0020_Library">
      <xsd:simpleType>
        <xsd:restriction base="dms:Boolean"/>
      </xsd:simpleType>
    </xsd:element>
    <xsd:element name="TaxKeywordTaxHTField" ma:index="16" nillable="true" ma:taxonomy="true" ma:internalName="TaxKeywordTaxHTField" ma:taxonomyFieldName="TaxKeyword" ma:displayName="Enterprise Keywords" ma:fieldId="{23f27201-bee3-471e-b2e7-b64fd8b7ca38}" ma:taxonomyMulti="true" ma:sspId="00000000-0000-0000-0000-000000000000" ma:termSetId="00000000-0000-0000-0000-000000000000" ma:anchorId="00000000-0000-0000-0000-000000000000" ma:open="true" ma:isKeyword="true">
      <xsd:complexType>
        <xsd:sequence>
          <xsd:element ref="pc:Terms" minOccurs="0" maxOccurs="1"/>
        </xsd:sequence>
      </xsd:complexType>
    </xsd:element>
    <xsd:element name="SharedWithUsers" ma:index="19"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description="" ma:internalName="SharedWithDetails" ma:readOnly="true">
      <xsd:simpleType>
        <xsd:restriction base="dms:Note">
          <xsd:maxLength value="255"/>
        </xsd:restriction>
      </xsd:simpleType>
    </xsd:element>
    <xsd:element name="TaxCatchAll" ma:index="23" nillable="true" ma:displayName="Taxonomy Catch All Column" ma:description="" ma:hidden="true" ma:list="{244447ad-1eb6-4d79-bdb5-2254d0577071}" ma:internalName="TaxCatchAll" ma:showField="CatchAllData" ma:web="6f79de2f-d927-414f-9105-a1bb132abc68">
      <xsd:complexType>
        <xsd:complexContent>
          <xsd:extension base="dms:MultiChoiceLookup">
            <xsd:sequence>
              <xsd:element name="Value" type="dms:Lookup" maxOccurs="unbounded" minOccurs="0" nillable="true"/>
            </xsd:sequence>
          </xsd:extension>
        </xsd:complexContent>
      </xsd:complexType>
    </xsd:element>
    <xsd:element name="TaxCatchAllLabel" ma:index="29" nillable="true" ma:displayName="Taxonomy Catch All Column1" ma:description="" ma:hidden="true" ma:list="{244447ad-1eb6-4d79-bdb5-2254d0577071}" ma:internalName="TaxCatchAllLabel" ma:readOnly="true" ma:showField="CatchAllDataLabel" ma:web="6f79de2f-d927-414f-9105-a1bb132abc68">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07f4f32-146b-442b-9d2c-c9fe55fe8736" elementFormDefault="qualified">
    <xsd:import namespace="http://schemas.microsoft.com/office/2006/documentManagement/types"/>
    <xsd:import namespace="http://schemas.microsoft.com/office/infopath/2007/PartnerControls"/>
    <xsd:element name="_x0067_gg8" ma:index="9" nillable="true" ma:displayName="Date and Time" ma:internalName="_x0067_gg8">
      <xsd:simpleType>
        <xsd:restriction base="dms:DateTime"/>
      </xsd:simpleType>
    </xsd:element>
    <xsd:element name="MediaServiceMetadata" ma:index="17" nillable="true" ma:displayName="MediaServiceMetadata" ma:description="" ma:hidden="true" ma:internalName="MediaServiceMetadata" ma:readOnly="true">
      <xsd:simpleType>
        <xsd:restriction base="dms:Note"/>
      </xsd:simpleType>
    </xsd:element>
    <xsd:element name="MediaServiceFastMetadata" ma:index="18" nillable="true" ma:displayName="MediaServiceFastMetadata" ma:description="" ma:hidden="true" ma:internalName="MediaServiceFastMetadata" ma:readOnly="true">
      <xsd:simpleType>
        <xsd:restriction base="dms:Note"/>
      </xsd:simpleType>
    </xsd:element>
    <xsd:element name="MediaServiceDateTaken" ma:index="21" nillable="true" ma:displayName="MediaServiceDateTaken" ma:description="" ma:hidden="true" ma:internalName="MediaServiceDateTaken" ma:readOnly="true">
      <xsd:simpleType>
        <xsd:restriction base="dms:Text"/>
      </xsd:simpleType>
    </xsd:element>
    <xsd:element name="MediaServiceAutoTags" ma:index="22" nillable="true" ma:displayName="MediaServiceAutoTags" ma:description="" ma:internalName="MediaServiceAutoTags" ma:readOnly="true">
      <xsd:simpleType>
        <xsd:restriction base="dms:Text"/>
      </xsd:simpleType>
    </xsd:element>
    <xsd:element name="MediaServiceLocation" ma:index="24" nillable="true" ma:displayName="MediaServiceLocation" ma:description="" ma:internalName="MediaServiceLocation" ma:readOnly="true">
      <xsd:simpleType>
        <xsd:restriction base="dms:Text"/>
      </xsd:simpleType>
    </xsd:element>
    <xsd:element name="MediaServiceOCR" ma:index="25" nillable="true" ma:displayName="MediaServiceOCR" ma:internalName="MediaServiceOCR" ma:readOnly="true">
      <xsd:simpleType>
        <xsd:restriction base="dms:Note">
          <xsd:maxLength value="255"/>
        </xsd:restriction>
      </xsd:simpleType>
    </xsd:element>
    <xsd:element name="MediaServiceEventHashCode" ma:index="26" nillable="true" ma:displayName="MediaServiceEventHashCode" ma:hidden="true" ma:internalName="MediaServiceEventHashCode" ma:readOnly="true">
      <xsd:simpleType>
        <xsd:restriction base="dms:Text"/>
      </xsd:simpleType>
    </xsd:element>
    <xsd:element name="MediaServiceGenerationTime" ma:index="27" nillable="true" ma:displayName="MediaServiceGenerationTime" ma:hidden="true" ma:internalName="MediaServiceGenerationTime" ma:readOnly="true">
      <xsd:simpleType>
        <xsd:restriction base="dms:Text"/>
      </xsd:simpleType>
    </xsd:element>
    <xsd:element name="MediaServiceAutoKeyPoints" ma:index="31" nillable="true" ma:displayName="MediaServiceAutoKeyPoints" ma:hidden="true" ma:internalName="MediaServiceAutoKeyPoints" ma:readOnly="true">
      <xsd:simpleType>
        <xsd:restriction base="dms:Note"/>
      </xsd:simpleType>
    </xsd:element>
    <xsd:element name="MediaServiceKeyPoints" ma:index="32" nillable="true" ma:displayName="KeyPoints" ma:internalName="MediaServiceKeyPoints" ma:readOnly="true">
      <xsd:simpleType>
        <xsd:restriction base="dms:Note">
          <xsd:maxLength value="255"/>
        </xsd:restriction>
      </xsd:simpleType>
    </xsd:element>
    <xsd:element name="MediaLengthInSeconds" ma:index="33" nillable="true" ma:displayName="Length (seconds)" ma:internalName="MediaLengthInSeconds" ma:readOnly="true">
      <xsd:simpleType>
        <xsd:restriction base="dms:Unknown"/>
      </xsd:simpleType>
    </xsd:element>
    <xsd:element name="lcf76f155ced4ddcb4097134ff3c332f" ma:index="35" nillable="true" ma:taxonomy="true" ma:internalName="lcf76f155ced4ddcb4097134ff3c332f" ma:taxonomyFieldName="MediaServiceImageTags" ma:displayName="Image Tags" ma:readOnly="false" ma:fieldId="{5cf76f15-5ced-4ddc-b409-7134ff3c332f}" ma:taxonomyMulti="true" ma:sspId="3015385e-d434-4c33-882d-9ac9ab66052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36" nillable="true" ma:displayName="MediaServiceObjectDetectorVersions" ma:hidden="true" ma:indexed="true" ma:internalName="MediaServiceObjectDetectorVersions" ma:readOnly="true">
      <xsd:simpleType>
        <xsd:restriction base="dms:Text"/>
      </xsd:simpleType>
    </xsd:element>
    <xsd:element name="MediaServiceSearchProperties" ma:index="37"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CFD7D8A-1DCD-49DB-A7A6-DDC8AF2AEA7F}">
  <ds:schemaRefs>
    <ds:schemaRef ds:uri="607f4f32-146b-442b-9d2c-c9fe55fe8736"/>
    <ds:schemaRef ds:uri="6f79de2f-d927-414f-9105-a1bb132abc6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2CEE421E-786D-4875-AE02-9EBDD00DDF6D}">
  <ds:schemaRefs>
    <ds:schemaRef ds:uri="http://schemas.microsoft.com/sharepoint/v3/contenttype/forms"/>
  </ds:schemaRefs>
</ds:datastoreItem>
</file>

<file path=customXml/itemProps3.xml><?xml version="1.0" encoding="utf-8"?>
<ds:datastoreItem xmlns:ds="http://schemas.openxmlformats.org/officeDocument/2006/customXml" ds:itemID="{68C8309B-10D4-4638-8B20-3AD7BBE54A89}">
  <ds:schemaRefs>
    <ds:schemaRef ds:uri="607f4f32-146b-442b-9d2c-c9fe55fe8736"/>
    <ds:schemaRef ds:uri="6f79de2f-d927-414f-9105-a1bb132abc6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4</TotalTime>
  <Words>1246</Words>
  <Application>Microsoft Office PowerPoint</Application>
  <PresentationFormat>Widescreen</PresentationFormat>
  <Paragraphs>163</Paragraphs>
  <Slides>11</Slides>
  <Notes>2</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11</vt:i4>
      </vt:variant>
    </vt:vector>
  </HeadingPairs>
  <TitlesOfParts>
    <vt:vector size="25" baseType="lpstr">
      <vt:lpstr>ＭＳ Ｐゴシック</vt:lpstr>
      <vt:lpstr>Arial</vt:lpstr>
      <vt:lpstr>Arial </vt:lpstr>
      <vt:lpstr>Bebas Neue</vt:lpstr>
      <vt:lpstr>Calibre Light</vt:lpstr>
      <vt:lpstr>Calibri</vt:lpstr>
      <vt:lpstr>Calibri Light</vt:lpstr>
      <vt:lpstr>Courier New</vt:lpstr>
      <vt:lpstr>Office Theme</vt:lpstr>
      <vt:lpstr>Office Theme</vt:lpstr>
      <vt:lpstr>Office Theme</vt:lpstr>
      <vt:lpstr>6_BLANK CONTENT SLIDES</vt:lpstr>
      <vt:lpstr>4_TITLE SLIDES</vt:lpstr>
      <vt:lpstr>think-cell Slide</vt:lpstr>
      <vt:lpstr>PowerPoint Presentation</vt:lpstr>
      <vt:lpstr>The Power of Cordence Worldwide</vt:lpstr>
      <vt:lpstr>The Power of Cordence Worldwide –  What our Consultants say</vt:lpstr>
      <vt:lpstr>For Clients that need Expertise and Global Reach</vt:lpstr>
      <vt:lpstr>Who We are – Our Promise</vt:lpstr>
      <vt:lpstr>Who We are – How we select our partners</vt:lpstr>
      <vt:lpstr>Who We are… Cordence Worldwide by the Numbers</vt:lpstr>
      <vt:lpstr>PowerPoint Presentation</vt:lpstr>
      <vt:lpstr>Member Firm Contact Information</vt:lpstr>
      <vt:lpstr>Cordence Worldwide Global Presence</vt:lpstr>
      <vt:lpstr>Cordence Worldwide Contact Information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WW at a Glance 6.2021</dc:title>
  <dc:creator>Andrew Keene</dc:creator>
  <cp:lastModifiedBy>Harsha Kamepalli</cp:lastModifiedBy>
  <cp:revision>250</cp:revision>
  <dcterms:created xsi:type="dcterms:W3CDTF">2019-05-03T12:57:15Z</dcterms:created>
  <dcterms:modified xsi:type="dcterms:W3CDTF">2024-09-17T10:41: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axKeyword">
    <vt:lpwstr/>
  </property>
  <property fmtid="{D5CDD505-2E9C-101B-9397-08002B2CF9AE}" pid="3" name="ContentTypeId">
    <vt:lpwstr>0x0101006339964822AD7F42BC097C69D6E960F5004B48182FCF0EC14199270A355F9C2D92</vt:lpwstr>
  </property>
  <property fmtid="{D5CDD505-2E9C-101B-9397-08002B2CF9AE}" pid="4" name="p0dc2d786d844b1fb2905c5637c7b03e">
    <vt:lpwstr/>
  </property>
  <property fmtid="{D5CDD505-2E9C-101B-9397-08002B2CF9AE}" pid="5" name="Client">
    <vt:lpwstr/>
  </property>
  <property fmtid="{D5CDD505-2E9C-101B-9397-08002B2CF9AE}" pid="6" name="MSIP_Label_7a908667-6606-4ab9-9a82-38569501aa5d_Enabled">
    <vt:lpwstr>true</vt:lpwstr>
  </property>
  <property fmtid="{D5CDD505-2E9C-101B-9397-08002B2CF9AE}" pid="7" name="MSIP_Label_7a908667-6606-4ab9-9a82-38569501aa5d_SetDate">
    <vt:lpwstr>2023-01-12T15:06:08Z</vt:lpwstr>
  </property>
  <property fmtid="{D5CDD505-2E9C-101B-9397-08002B2CF9AE}" pid="8" name="MSIP_Label_7a908667-6606-4ab9-9a82-38569501aa5d_Method">
    <vt:lpwstr>Standard</vt:lpwstr>
  </property>
  <property fmtid="{D5CDD505-2E9C-101B-9397-08002B2CF9AE}" pid="9" name="MSIP_Label_7a908667-6606-4ab9-9a82-38569501aa5d_Name">
    <vt:lpwstr>defa4170-0d19-0005-0004-bc88714345d2</vt:lpwstr>
  </property>
  <property fmtid="{D5CDD505-2E9C-101B-9397-08002B2CF9AE}" pid="10" name="MSIP_Label_7a908667-6606-4ab9-9a82-38569501aa5d_SiteId">
    <vt:lpwstr>5c572e77-1a4e-4518-b82d-617cad976e5f</vt:lpwstr>
  </property>
  <property fmtid="{D5CDD505-2E9C-101B-9397-08002B2CF9AE}" pid="11" name="MSIP_Label_7a908667-6606-4ab9-9a82-38569501aa5d_ActionId">
    <vt:lpwstr>a022f63a-4761-4964-8c5d-3237d6b27f36</vt:lpwstr>
  </property>
  <property fmtid="{D5CDD505-2E9C-101B-9397-08002B2CF9AE}" pid="12" name="MSIP_Label_7a908667-6606-4ab9-9a82-38569501aa5d_ContentBits">
    <vt:lpwstr>0</vt:lpwstr>
  </property>
  <property fmtid="{D5CDD505-2E9C-101B-9397-08002B2CF9AE}" pid="13" name="MediaServiceImageTags">
    <vt:lpwstr/>
  </property>
  <property fmtid="{D5CDD505-2E9C-101B-9397-08002B2CF9AE}" pid="14" name="MSIP_Label_c8f71722-66ba-4e11-a629-8ab19b9c644e_Enabled">
    <vt:lpwstr>true</vt:lpwstr>
  </property>
  <property fmtid="{D5CDD505-2E9C-101B-9397-08002B2CF9AE}" pid="15" name="MSIP_Label_c8f71722-66ba-4e11-a629-8ab19b9c644e_SetDate">
    <vt:lpwstr>2024-01-09T14:28:34Z</vt:lpwstr>
  </property>
  <property fmtid="{D5CDD505-2E9C-101B-9397-08002B2CF9AE}" pid="16" name="MSIP_Label_c8f71722-66ba-4e11-a629-8ab19b9c644e_Method">
    <vt:lpwstr>Standard</vt:lpwstr>
  </property>
  <property fmtid="{D5CDD505-2E9C-101B-9397-08002B2CF9AE}" pid="17" name="MSIP_Label_c8f71722-66ba-4e11-a629-8ab19b9c644e_Name">
    <vt:lpwstr>Confidential</vt:lpwstr>
  </property>
  <property fmtid="{D5CDD505-2E9C-101B-9397-08002B2CF9AE}" pid="18" name="MSIP_Label_c8f71722-66ba-4e11-a629-8ab19b9c644e_SiteId">
    <vt:lpwstr>b8fc25f6-8687-4690-aeb4-96fa17863136</vt:lpwstr>
  </property>
  <property fmtid="{D5CDD505-2E9C-101B-9397-08002B2CF9AE}" pid="19" name="MSIP_Label_c8f71722-66ba-4e11-a629-8ab19b9c644e_ActionId">
    <vt:lpwstr>41f9f458-e3a0-463d-9930-d2a78ff2906d</vt:lpwstr>
  </property>
  <property fmtid="{D5CDD505-2E9C-101B-9397-08002B2CF9AE}" pid="20" name="MSIP_Label_c8f71722-66ba-4e11-a629-8ab19b9c644e_ContentBits">
    <vt:lpwstr>2</vt:lpwstr>
  </property>
  <property fmtid="{D5CDD505-2E9C-101B-9397-08002B2CF9AE}" pid="21" name="ClassificationContentMarkingFooterLocations">
    <vt:lpwstr>Office Theme:7\Office Theme:7\Office Theme:5</vt:lpwstr>
  </property>
  <property fmtid="{D5CDD505-2E9C-101B-9397-08002B2CF9AE}" pid="22" name="ClassificationContentMarkingFooterText">
    <vt:lpwstr>- Confidential -</vt:lpwstr>
  </property>
</Properties>
</file>